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7.xml" ContentType="application/vnd.openxmlformats-officedocument.theme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theme/theme8.xml" ContentType="application/vnd.openxmlformats-officedocument.theme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theme/theme9.xml" ContentType="application/vnd.openxmlformats-officedocument.theme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theme/theme10.xml" ContentType="application/vnd.openxmlformats-officedocument.theme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theme/theme11.xml" ContentType="application/vnd.openxmlformats-officedocument.theme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theme/theme1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theme/theme13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theme/theme14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theme/theme15.xml" ContentType="application/vnd.openxmlformats-officedocument.theme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theme/theme16.xml" ContentType="application/vnd.openxmlformats-officedocument.theme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theme/theme17.xml" ContentType="application/vnd.openxmlformats-officedocument.theme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theme/theme18.xml" ContentType="application/vnd.openxmlformats-officedocument.theme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theme/theme19.xml" ContentType="application/vnd.openxmlformats-officedocument.theme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theme/theme20.xml" ContentType="application/vnd.openxmlformats-officedocument.them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theme/theme21.xml" ContentType="application/vnd.openxmlformats-officedocument.theme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theme/theme22.xml" ContentType="application/vnd.openxmlformats-officedocument.theme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theme/theme23.xml" ContentType="application/vnd.openxmlformats-officedocument.theme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theme/theme24.xml" ContentType="application/vnd.openxmlformats-officedocument.theme+xml"/>
  <Override PartName="/ppt/theme/theme25.xml" ContentType="application/vnd.openxmlformats-officedocument.theme+xml"/>
  <Override PartName="/ppt/notesSlides/notesSlide1.xml" ContentType="application/vnd.openxmlformats-officedocument.presentationml.notesSlide+xml"/>
  <Override PartName="/ppt/tags/tag66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67.xml" ContentType="application/vnd.openxmlformats-officedocument.presentationml.tag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68.xml" ContentType="application/vnd.openxmlformats-officedocument.presentationml.tags+xml"/>
  <Override PartName="/ppt/notesSlides/notesSlide4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drawings/drawing1.xml" ContentType="application/vnd.openxmlformats-officedocument.drawingml.chartshape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drawings/drawing2.xml" ContentType="application/vnd.openxmlformats-officedocument.drawingml.chartshapes+xml"/>
  <Override PartName="/ppt/tags/tag69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7.xml" ContentType="application/vnd.openxmlformats-officedocument.drawingml.chart+xml"/>
  <Override PartName="/ppt/drawings/drawing3.xml" ContentType="application/vnd.openxmlformats-officedocument.drawingml.chartshapes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70.xml" ContentType="application/vnd.openxmlformats-officedocument.presentationml.tags+xml"/>
  <Override PartName="/ppt/notesSlides/notesSlide7.xml" ContentType="application/vnd.openxmlformats-officedocument.presentationml.notesSlide+xml"/>
  <Override PartName="/ppt/tags/tag71.xml" ContentType="application/vnd.openxmlformats-officedocument.presentationml.tags+xml"/>
  <Override PartName="/ppt/notesSlides/notesSlide8.xml" ContentType="application/vnd.openxmlformats-officedocument.presentationml.notesSlide+xml"/>
  <Override PartName="/ppt/tags/tag72.xml" ContentType="application/vnd.openxmlformats-officedocument.presentationml.tags+xml"/>
  <Override PartName="/ppt/notesSlides/notesSlide9.xml" ContentType="application/vnd.openxmlformats-officedocument.presentationml.notesSlide+xml"/>
  <Override PartName="/ppt/charts/chart9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1.xml" ContentType="application/vnd.openxmlformats-officedocument.themeOverride+xml"/>
  <Override PartName="/ppt/tags/tag73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0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drawings/drawing4.xml" ContentType="application/vnd.openxmlformats-officedocument.drawingml.chartshapes+xml"/>
  <Override PartName="/ppt/notesSlides/notesSlide11.xml" ContentType="application/vnd.openxmlformats-officedocument.presentationml.notesSlide+xml"/>
  <Override PartName="/ppt/charts/chart11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74.xml" ContentType="application/vnd.openxmlformats-officedocument.presentationml.tags+xml"/>
  <Override PartName="/ppt/notesSlides/notesSlide12.xml" ContentType="application/vnd.openxmlformats-officedocument.presentationml.notesSlide+xml"/>
  <Override PartName="/ppt/tags/tag75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2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drawings/drawing5.xml" ContentType="application/vnd.openxmlformats-officedocument.drawingml.chartshapes+xml"/>
  <Override PartName="/ppt/tags/tag76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3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heme/themeOverride2.xml" ContentType="application/vnd.openxmlformats-officedocument.themeOverride+xml"/>
  <Override PartName="/ppt/charts/chart14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heme/themeOverride3.xml" ContentType="application/vnd.openxmlformats-officedocument.themeOverride+xml"/>
  <Override PartName="/ppt/tags/tag81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5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6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charts/chart17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8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9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20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notesSlides/notesSlide19.xml" ContentType="application/vnd.openxmlformats-officedocument.presentationml.notesSlid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notesSlides/notesSlide20.xml" ContentType="application/vnd.openxmlformats-officedocument.presentationml.notesSlide+xml"/>
  <Override PartName="/ppt/tags/tag89.xml" ContentType="application/vnd.openxmlformats-officedocument.presentationml.tags+xml"/>
  <Override PartName="/ppt/notesSlides/notesSlide21.xml" ContentType="application/vnd.openxmlformats-officedocument.presentationml.notesSlid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21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2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notesSlides/notesSlide23.xml" ContentType="application/vnd.openxmlformats-officedocument.presentationml.notesSlide+xml"/>
  <Override PartName="/ppt/tags/tag9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  <p:sldMasterId id="2147483675" r:id="rId6"/>
    <p:sldMasterId id="2147483715" r:id="rId7"/>
    <p:sldMasterId id="2147483740" r:id="rId8"/>
    <p:sldMasterId id="2147483765" r:id="rId9"/>
    <p:sldMasterId id="2147483791" r:id="rId10"/>
    <p:sldMasterId id="2147483803" r:id="rId11"/>
    <p:sldMasterId id="2147483817" r:id="rId12"/>
    <p:sldMasterId id="2147483830" r:id="rId13"/>
    <p:sldMasterId id="2147483844" r:id="rId14"/>
    <p:sldMasterId id="2147483861" r:id="rId15"/>
    <p:sldMasterId id="2147483872" r:id="rId16"/>
    <p:sldMasterId id="2147483884" r:id="rId17"/>
    <p:sldMasterId id="2147483897" r:id="rId18"/>
    <p:sldMasterId id="2147483909" r:id="rId19"/>
    <p:sldMasterId id="2147483921" r:id="rId20"/>
    <p:sldMasterId id="2147483927" r:id="rId21"/>
    <p:sldMasterId id="2147483940" r:id="rId22"/>
    <p:sldMasterId id="2147483954" r:id="rId23"/>
    <p:sldMasterId id="2147483968" r:id="rId24"/>
    <p:sldMasterId id="2147483980" r:id="rId25"/>
    <p:sldMasterId id="2147483998" r:id="rId26"/>
    <p:sldMasterId id="2147484010" r:id="rId27"/>
  </p:sldMasterIdLst>
  <p:notesMasterIdLst>
    <p:notesMasterId r:id="rId102"/>
  </p:notesMasterIdLst>
  <p:sldIdLst>
    <p:sldId id="2147196252" r:id="rId28"/>
    <p:sldId id="2147196251" r:id="rId29"/>
    <p:sldId id="2147196194" r:id="rId30"/>
    <p:sldId id="2147196268" r:id="rId31"/>
    <p:sldId id="2147196269" r:id="rId32"/>
    <p:sldId id="2147196243" r:id="rId33"/>
    <p:sldId id="2147196270" r:id="rId34"/>
    <p:sldId id="2147196266" r:id="rId35"/>
    <p:sldId id="2147196189" r:id="rId36"/>
    <p:sldId id="2147196190" r:id="rId37"/>
    <p:sldId id="2147196188" r:id="rId38"/>
    <p:sldId id="2147196215" r:id="rId39"/>
    <p:sldId id="432" r:id="rId40"/>
    <p:sldId id="455" r:id="rId41"/>
    <p:sldId id="532" r:id="rId42"/>
    <p:sldId id="479" r:id="rId43"/>
    <p:sldId id="2147196246" r:id="rId44"/>
    <p:sldId id="359" r:id="rId45"/>
    <p:sldId id="366" r:id="rId46"/>
    <p:sldId id="2147196273" r:id="rId47"/>
    <p:sldId id="2147196247" r:id="rId48"/>
    <p:sldId id="2147196272" r:id="rId49"/>
    <p:sldId id="2147196271" r:id="rId50"/>
    <p:sldId id="2147196191" r:id="rId51"/>
    <p:sldId id="2147196208" r:id="rId52"/>
    <p:sldId id="2147196263" r:id="rId53"/>
    <p:sldId id="2147196210" r:id="rId54"/>
    <p:sldId id="362" r:id="rId55"/>
    <p:sldId id="2147196274" r:id="rId56"/>
    <p:sldId id="514" r:id="rId57"/>
    <p:sldId id="26874" r:id="rId58"/>
    <p:sldId id="2147196253" r:id="rId59"/>
    <p:sldId id="26992" r:id="rId60"/>
    <p:sldId id="26925" r:id="rId61"/>
    <p:sldId id="26933" r:id="rId62"/>
    <p:sldId id="322" r:id="rId63"/>
    <p:sldId id="323" r:id="rId64"/>
    <p:sldId id="27000" r:id="rId65"/>
    <p:sldId id="26835" r:id="rId66"/>
    <p:sldId id="275" r:id="rId67"/>
    <p:sldId id="260" r:id="rId68"/>
    <p:sldId id="266" r:id="rId69"/>
    <p:sldId id="265" r:id="rId70"/>
    <p:sldId id="270" r:id="rId71"/>
    <p:sldId id="276" r:id="rId72"/>
    <p:sldId id="279" r:id="rId73"/>
    <p:sldId id="278" r:id="rId74"/>
    <p:sldId id="27176" r:id="rId75"/>
    <p:sldId id="27177" r:id="rId76"/>
    <p:sldId id="27178" r:id="rId77"/>
    <p:sldId id="27053" r:id="rId78"/>
    <p:sldId id="27152" r:id="rId79"/>
    <p:sldId id="27179" r:id="rId80"/>
    <p:sldId id="27180" r:id="rId81"/>
    <p:sldId id="27171" r:id="rId82"/>
    <p:sldId id="257" r:id="rId83"/>
    <p:sldId id="2147196256" r:id="rId84"/>
    <p:sldId id="2147196264" r:id="rId85"/>
    <p:sldId id="256" r:id="rId86"/>
    <p:sldId id="2147196254" r:id="rId87"/>
    <p:sldId id="258" r:id="rId88"/>
    <p:sldId id="2147196255" r:id="rId89"/>
    <p:sldId id="259" r:id="rId90"/>
    <p:sldId id="2147196261" r:id="rId91"/>
    <p:sldId id="2147196226" r:id="rId92"/>
    <p:sldId id="286" r:id="rId93"/>
    <p:sldId id="2147196260" r:id="rId94"/>
    <p:sldId id="284" r:id="rId95"/>
    <p:sldId id="288" r:id="rId96"/>
    <p:sldId id="2147196259" r:id="rId97"/>
    <p:sldId id="2147196262" r:id="rId98"/>
    <p:sldId id="2147196265" r:id="rId99"/>
    <p:sldId id="263" r:id="rId100"/>
    <p:sldId id="2147196275" r:id="rId101"/>
  </p:sldIdLst>
  <p:sldSz cx="12192000" cy="6858000"/>
  <p:notesSz cx="6858000" cy="9144000"/>
  <p:custDataLst>
    <p:tags r:id="rId103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1D21F4F-AC93-68EF-A9B5-19421268DF22}" name="Lars Kyte" initials="LK" userId="4ee2d28e0eac4e5c" providerId="Windows Live"/>
  <p188:author id="{E8899399-CD94-FE6E-6625-C7F4E222456C}" name="Lars Fredrik Kyte" initials="LFK" userId="S::Lars.Kyte@paretosec.com::21d3b073-b10f-4e73-ae83-e8a102ea527d" providerId="AD"/>
  <p188:author id="{52ED93D3-E43C-67AC-DAE0-1938965A4A11}" name="Lars M. Kyte" initials="LMK" userId="S::lars@kyte.no::be211766-9f61-4875-b4e8-bfe0c7620e15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ars Fredrik Kyte" initials="LFK" lastIdx="1" clrIdx="0">
    <p:extLst>
      <p:ext uri="{19B8F6BF-5375-455C-9EA6-DF929625EA0E}">
        <p15:presenceInfo xmlns:p15="http://schemas.microsoft.com/office/powerpoint/2012/main" userId="S::Lars.Kyte@paretosec.com::21d3b073-b10f-4e73-ae83-e8a102ea527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05B"/>
    <a:srgbClr val="4472C4"/>
    <a:srgbClr val="2F5597"/>
    <a:srgbClr val="FFFFFF"/>
    <a:srgbClr val="002060"/>
    <a:srgbClr val="B01F26"/>
    <a:srgbClr val="8FAADC"/>
    <a:srgbClr val="DEEBF7"/>
    <a:srgbClr val="BFBFBF"/>
    <a:srgbClr val="DBDB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A849FE1-2F02-4D1B-BD62-8493AB475660}" v="23" vWet="25" dt="2022-05-03T17:02:45.621"/>
    <p1510:client id="{B4DBC21F-2470-4FDF-A59C-955B12DF83B9}" v="1442" dt="2022-05-04T15:00:52.77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798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Master" Target="slideMasters/slideMaster23.xml"/><Relationship Id="rId21" Type="http://schemas.openxmlformats.org/officeDocument/2006/relationships/slideMaster" Target="slideMasters/slideMaster18.xml"/><Relationship Id="rId42" Type="http://schemas.openxmlformats.org/officeDocument/2006/relationships/slide" Target="slides/slide15.xml"/><Relationship Id="rId47" Type="http://schemas.openxmlformats.org/officeDocument/2006/relationships/slide" Target="slides/slide20.xml"/><Relationship Id="rId63" Type="http://schemas.openxmlformats.org/officeDocument/2006/relationships/slide" Target="slides/slide36.xml"/><Relationship Id="rId68" Type="http://schemas.openxmlformats.org/officeDocument/2006/relationships/slide" Target="slides/slide41.xml"/><Relationship Id="rId84" Type="http://schemas.openxmlformats.org/officeDocument/2006/relationships/slide" Target="slides/slide57.xml"/><Relationship Id="rId89" Type="http://schemas.openxmlformats.org/officeDocument/2006/relationships/slide" Target="slides/slide62.xml"/><Relationship Id="rId16" Type="http://schemas.openxmlformats.org/officeDocument/2006/relationships/slideMaster" Target="slideMasters/slideMaster13.xml"/><Relationship Id="rId107" Type="http://schemas.openxmlformats.org/officeDocument/2006/relationships/theme" Target="theme/theme1.xml"/><Relationship Id="rId11" Type="http://schemas.openxmlformats.org/officeDocument/2006/relationships/slideMaster" Target="slideMasters/slideMaster8.xml"/><Relationship Id="rId32" Type="http://schemas.openxmlformats.org/officeDocument/2006/relationships/slide" Target="slides/slide5.xml"/><Relationship Id="rId37" Type="http://schemas.openxmlformats.org/officeDocument/2006/relationships/slide" Target="slides/slide10.xml"/><Relationship Id="rId53" Type="http://schemas.openxmlformats.org/officeDocument/2006/relationships/slide" Target="slides/slide26.xml"/><Relationship Id="rId58" Type="http://schemas.openxmlformats.org/officeDocument/2006/relationships/slide" Target="slides/slide31.xml"/><Relationship Id="rId74" Type="http://schemas.openxmlformats.org/officeDocument/2006/relationships/slide" Target="slides/slide47.xml"/><Relationship Id="rId79" Type="http://schemas.openxmlformats.org/officeDocument/2006/relationships/slide" Target="slides/slide52.xml"/><Relationship Id="rId102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90" Type="http://schemas.openxmlformats.org/officeDocument/2006/relationships/slide" Target="slides/slide63.xml"/><Relationship Id="rId95" Type="http://schemas.openxmlformats.org/officeDocument/2006/relationships/slide" Target="slides/slide68.xml"/><Relationship Id="rId22" Type="http://schemas.openxmlformats.org/officeDocument/2006/relationships/slideMaster" Target="slideMasters/slideMaster19.xml"/><Relationship Id="rId27" Type="http://schemas.openxmlformats.org/officeDocument/2006/relationships/slideMaster" Target="slideMasters/slideMaster24.xml"/><Relationship Id="rId43" Type="http://schemas.openxmlformats.org/officeDocument/2006/relationships/slide" Target="slides/slide16.xml"/><Relationship Id="rId48" Type="http://schemas.openxmlformats.org/officeDocument/2006/relationships/slide" Target="slides/slide21.xml"/><Relationship Id="rId64" Type="http://schemas.openxmlformats.org/officeDocument/2006/relationships/slide" Target="slides/slide37.xml"/><Relationship Id="rId69" Type="http://schemas.openxmlformats.org/officeDocument/2006/relationships/slide" Target="slides/slide42.xml"/><Relationship Id="rId80" Type="http://schemas.openxmlformats.org/officeDocument/2006/relationships/slide" Target="slides/slide53.xml"/><Relationship Id="rId85" Type="http://schemas.openxmlformats.org/officeDocument/2006/relationships/slide" Target="slides/slide58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33" Type="http://schemas.openxmlformats.org/officeDocument/2006/relationships/slide" Target="slides/slide6.xml"/><Relationship Id="rId38" Type="http://schemas.openxmlformats.org/officeDocument/2006/relationships/slide" Target="slides/slide11.xml"/><Relationship Id="rId59" Type="http://schemas.openxmlformats.org/officeDocument/2006/relationships/slide" Target="slides/slide32.xml"/><Relationship Id="rId103" Type="http://schemas.openxmlformats.org/officeDocument/2006/relationships/tags" Target="tags/tag1.xml"/><Relationship Id="rId108" Type="http://schemas.openxmlformats.org/officeDocument/2006/relationships/tableStyles" Target="tableStyles.xml"/><Relationship Id="rId54" Type="http://schemas.openxmlformats.org/officeDocument/2006/relationships/slide" Target="slides/slide27.xml"/><Relationship Id="rId70" Type="http://schemas.openxmlformats.org/officeDocument/2006/relationships/slide" Target="slides/slide43.xml"/><Relationship Id="rId75" Type="http://schemas.openxmlformats.org/officeDocument/2006/relationships/slide" Target="slides/slide48.xml"/><Relationship Id="rId91" Type="http://schemas.openxmlformats.org/officeDocument/2006/relationships/slide" Target="slides/slide64.xml"/><Relationship Id="rId96" Type="http://schemas.openxmlformats.org/officeDocument/2006/relationships/slide" Target="slides/slide69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" Target="slides/slide1.xml"/><Relationship Id="rId36" Type="http://schemas.openxmlformats.org/officeDocument/2006/relationships/slide" Target="slides/slide9.xml"/><Relationship Id="rId49" Type="http://schemas.openxmlformats.org/officeDocument/2006/relationships/slide" Target="slides/slide22.xml"/><Relationship Id="rId57" Type="http://schemas.openxmlformats.org/officeDocument/2006/relationships/slide" Target="slides/slide30.xml"/><Relationship Id="rId106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4.xml"/><Relationship Id="rId44" Type="http://schemas.openxmlformats.org/officeDocument/2006/relationships/slide" Target="slides/slide17.xml"/><Relationship Id="rId52" Type="http://schemas.openxmlformats.org/officeDocument/2006/relationships/slide" Target="slides/slide25.xml"/><Relationship Id="rId60" Type="http://schemas.openxmlformats.org/officeDocument/2006/relationships/slide" Target="slides/slide33.xml"/><Relationship Id="rId65" Type="http://schemas.openxmlformats.org/officeDocument/2006/relationships/slide" Target="slides/slide38.xml"/><Relationship Id="rId73" Type="http://schemas.openxmlformats.org/officeDocument/2006/relationships/slide" Target="slides/slide46.xml"/><Relationship Id="rId78" Type="http://schemas.openxmlformats.org/officeDocument/2006/relationships/slide" Target="slides/slide51.xml"/><Relationship Id="rId81" Type="http://schemas.openxmlformats.org/officeDocument/2006/relationships/slide" Target="slides/slide54.xml"/><Relationship Id="rId86" Type="http://schemas.openxmlformats.org/officeDocument/2006/relationships/slide" Target="slides/slide59.xml"/><Relationship Id="rId94" Type="http://schemas.openxmlformats.org/officeDocument/2006/relationships/slide" Target="slides/slide67.xml"/><Relationship Id="rId99" Type="http://schemas.openxmlformats.org/officeDocument/2006/relationships/slide" Target="slides/slide72.xml"/><Relationship Id="rId101" Type="http://schemas.openxmlformats.org/officeDocument/2006/relationships/slide" Target="slides/slide74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39" Type="http://schemas.openxmlformats.org/officeDocument/2006/relationships/slide" Target="slides/slide12.xml"/><Relationship Id="rId109" Type="http://schemas.microsoft.com/office/2016/11/relationships/changesInfo" Target="changesInfos/changesInfo1.xml"/><Relationship Id="rId34" Type="http://schemas.openxmlformats.org/officeDocument/2006/relationships/slide" Target="slides/slide7.xml"/><Relationship Id="rId50" Type="http://schemas.openxmlformats.org/officeDocument/2006/relationships/slide" Target="slides/slide23.xml"/><Relationship Id="rId55" Type="http://schemas.openxmlformats.org/officeDocument/2006/relationships/slide" Target="slides/slide28.xml"/><Relationship Id="rId76" Type="http://schemas.openxmlformats.org/officeDocument/2006/relationships/slide" Target="slides/slide49.xml"/><Relationship Id="rId97" Type="http://schemas.openxmlformats.org/officeDocument/2006/relationships/slide" Target="slides/slide70.xml"/><Relationship Id="rId104" Type="http://schemas.openxmlformats.org/officeDocument/2006/relationships/commentAuthors" Target="commentAuthors.xml"/><Relationship Id="rId7" Type="http://schemas.openxmlformats.org/officeDocument/2006/relationships/slideMaster" Target="slideMasters/slideMaster4.xml"/><Relationship Id="rId71" Type="http://schemas.openxmlformats.org/officeDocument/2006/relationships/slide" Target="slides/slide44.xml"/><Relationship Id="rId92" Type="http://schemas.openxmlformats.org/officeDocument/2006/relationships/slide" Target="slides/slide65.xml"/><Relationship Id="rId2" Type="http://schemas.openxmlformats.org/officeDocument/2006/relationships/customXml" Target="../customXml/item2.xml"/><Relationship Id="rId29" Type="http://schemas.openxmlformats.org/officeDocument/2006/relationships/slide" Target="slides/slide2.xml"/><Relationship Id="rId24" Type="http://schemas.openxmlformats.org/officeDocument/2006/relationships/slideMaster" Target="slideMasters/slideMaster21.xml"/><Relationship Id="rId40" Type="http://schemas.openxmlformats.org/officeDocument/2006/relationships/slide" Target="slides/slide13.xml"/><Relationship Id="rId45" Type="http://schemas.openxmlformats.org/officeDocument/2006/relationships/slide" Target="slides/slide18.xml"/><Relationship Id="rId66" Type="http://schemas.openxmlformats.org/officeDocument/2006/relationships/slide" Target="slides/slide39.xml"/><Relationship Id="rId87" Type="http://schemas.openxmlformats.org/officeDocument/2006/relationships/slide" Target="slides/slide60.xml"/><Relationship Id="rId110" Type="http://schemas.microsoft.com/office/2015/10/relationships/revisionInfo" Target="revisionInfo.xml"/><Relationship Id="rId61" Type="http://schemas.openxmlformats.org/officeDocument/2006/relationships/slide" Target="slides/slide34.xml"/><Relationship Id="rId82" Type="http://schemas.openxmlformats.org/officeDocument/2006/relationships/slide" Target="slides/slide55.xml"/><Relationship Id="rId19" Type="http://schemas.openxmlformats.org/officeDocument/2006/relationships/slideMaster" Target="slideMasters/slideMaster16.xml"/><Relationship Id="rId14" Type="http://schemas.openxmlformats.org/officeDocument/2006/relationships/slideMaster" Target="slideMasters/slideMaster11.xml"/><Relationship Id="rId30" Type="http://schemas.openxmlformats.org/officeDocument/2006/relationships/slide" Target="slides/slide3.xml"/><Relationship Id="rId35" Type="http://schemas.openxmlformats.org/officeDocument/2006/relationships/slide" Target="slides/slide8.xml"/><Relationship Id="rId56" Type="http://schemas.openxmlformats.org/officeDocument/2006/relationships/slide" Target="slides/slide29.xml"/><Relationship Id="rId77" Type="http://schemas.openxmlformats.org/officeDocument/2006/relationships/slide" Target="slides/slide50.xml"/><Relationship Id="rId100" Type="http://schemas.openxmlformats.org/officeDocument/2006/relationships/slide" Target="slides/slide73.xml"/><Relationship Id="rId105" Type="http://schemas.openxmlformats.org/officeDocument/2006/relationships/presProps" Target="presProp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24.xml"/><Relationship Id="rId72" Type="http://schemas.openxmlformats.org/officeDocument/2006/relationships/slide" Target="slides/slide45.xml"/><Relationship Id="rId93" Type="http://schemas.openxmlformats.org/officeDocument/2006/relationships/slide" Target="slides/slide66.xml"/><Relationship Id="rId98" Type="http://schemas.openxmlformats.org/officeDocument/2006/relationships/slide" Target="slides/slide71.xml"/><Relationship Id="rId3" Type="http://schemas.openxmlformats.org/officeDocument/2006/relationships/customXml" Target="../customXml/item3.xml"/><Relationship Id="rId25" Type="http://schemas.openxmlformats.org/officeDocument/2006/relationships/slideMaster" Target="slideMasters/slideMaster22.xml"/><Relationship Id="rId46" Type="http://schemas.openxmlformats.org/officeDocument/2006/relationships/slide" Target="slides/slide19.xml"/><Relationship Id="rId67" Type="http://schemas.openxmlformats.org/officeDocument/2006/relationships/slide" Target="slides/slide40.xml"/><Relationship Id="rId20" Type="http://schemas.openxmlformats.org/officeDocument/2006/relationships/slideMaster" Target="slideMasters/slideMaster17.xml"/><Relationship Id="rId41" Type="http://schemas.openxmlformats.org/officeDocument/2006/relationships/slide" Target="slides/slide14.xml"/><Relationship Id="rId62" Type="http://schemas.openxmlformats.org/officeDocument/2006/relationships/slide" Target="slides/slide35.xml"/><Relationship Id="rId83" Type="http://schemas.openxmlformats.org/officeDocument/2006/relationships/slide" Target="slides/slide56.xml"/><Relationship Id="rId88" Type="http://schemas.openxmlformats.org/officeDocument/2006/relationships/slide" Target="slides/slide61.xml"/><Relationship Id="rId111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eir Nordstad" userId="5104b827-e3d0-4dae-99e7-15b02dd2905b" providerId="ADAL" clId="{B4DBC21F-2470-4FDF-A59C-955B12DF83B9}"/>
    <pc:docChg chg="undo custSel addSld delSld modSld sldOrd">
      <pc:chgData name="Geir Nordstad" userId="5104b827-e3d0-4dae-99e7-15b02dd2905b" providerId="ADAL" clId="{B4DBC21F-2470-4FDF-A59C-955B12DF83B9}" dt="2022-05-04T15:15:12.507" v="3677" actId="1076"/>
      <pc:docMkLst>
        <pc:docMk/>
      </pc:docMkLst>
      <pc:sldChg chg="delSp add mod">
        <pc:chgData name="Geir Nordstad" userId="5104b827-e3d0-4dae-99e7-15b02dd2905b" providerId="ADAL" clId="{B4DBC21F-2470-4FDF-A59C-955B12DF83B9}" dt="2022-05-03T17:14:01.259" v="1588" actId="478"/>
        <pc:sldMkLst>
          <pc:docMk/>
          <pc:sldMk cId="3050647434" sldId="256"/>
        </pc:sldMkLst>
        <pc:spChg chg="del">
          <ac:chgData name="Geir Nordstad" userId="5104b827-e3d0-4dae-99e7-15b02dd2905b" providerId="ADAL" clId="{B4DBC21F-2470-4FDF-A59C-955B12DF83B9}" dt="2022-05-03T17:14:01.259" v="1588" actId="478"/>
          <ac:spMkLst>
            <pc:docMk/>
            <pc:sldMk cId="3050647434" sldId="256"/>
            <ac:spMk id="3" creationId="{FB14283C-78E9-63E4-9FFD-CAEC57612111}"/>
          </ac:spMkLst>
        </pc:spChg>
      </pc:sldChg>
      <pc:sldChg chg="add">
        <pc:chgData name="Geir Nordstad" userId="5104b827-e3d0-4dae-99e7-15b02dd2905b" providerId="ADAL" clId="{B4DBC21F-2470-4FDF-A59C-955B12DF83B9}" dt="2022-05-02T17:31:25.630" v="419"/>
        <pc:sldMkLst>
          <pc:docMk/>
          <pc:sldMk cId="1046633334" sldId="257"/>
        </pc:sldMkLst>
      </pc:sldChg>
      <pc:sldChg chg="add">
        <pc:chgData name="Geir Nordstad" userId="5104b827-e3d0-4dae-99e7-15b02dd2905b" providerId="ADAL" clId="{B4DBC21F-2470-4FDF-A59C-955B12DF83B9}" dt="2022-05-02T17:31:54.354" v="420"/>
        <pc:sldMkLst>
          <pc:docMk/>
          <pc:sldMk cId="1158792635" sldId="258"/>
        </pc:sldMkLst>
      </pc:sldChg>
      <pc:sldChg chg="add">
        <pc:chgData name="Geir Nordstad" userId="5104b827-e3d0-4dae-99e7-15b02dd2905b" providerId="ADAL" clId="{B4DBC21F-2470-4FDF-A59C-955B12DF83B9}" dt="2022-05-02T17:31:54.354" v="420"/>
        <pc:sldMkLst>
          <pc:docMk/>
          <pc:sldMk cId="4149794970" sldId="259"/>
        </pc:sldMkLst>
      </pc:sldChg>
      <pc:sldChg chg="add del">
        <pc:chgData name="Geir Nordstad" userId="5104b827-e3d0-4dae-99e7-15b02dd2905b" providerId="ADAL" clId="{B4DBC21F-2470-4FDF-A59C-955B12DF83B9}" dt="2022-05-02T17:09:55.345" v="390"/>
        <pc:sldMkLst>
          <pc:docMk/>
          <pc:sldMk cId="1058036223" sldId="260"/>
        </pc:sldMkLst>
      </pc:sldChg>
      <pc:sldChg chg="add del">
        <pc:chgData name="Geir Nordstad" userId="5104b827-e3d0-4dae-99e7-15b02dd2905b" providerId="ADAL" clId="{B4DBC21F-2470-4FDF-A59C-955B12DF83B9}" dt="2022-05-03T13:31:31.642" v="1572" actId="47"/>
        <pc:sldMkLst>
          <pc:docMk/>
          <pc:sldMk cId="601971628" sldId="261"/>
        </pc:sldMkLst>
      </pc:sldChg>
      <pc:sldChg chg="modSp add mod">
        <pc:chgData name="Geir Nordstad" userId="5104b827-e3d0-4dae-99e7-15b02dd2905b" providerId="ADAL" clId="{B4DBC21F-2470-4FDF-A59C-955B12DF83B9}" dt="2022-05-03T17:57:23.065" v="1890" actId="1076"/>
        <pc:sldMkLst>
          <pc:docMk/>
          <pc:sldMk cId="198187644" sldId="263"/>
        </pc:sldMkLst>
        <pc:picChg chg="mod">
          <ac:chgData name="Geir Nordstad" userId="5104b827-e3d0-4dae-99e7-15b02dd2905b" providerId="ADAL" clId="{B4DBC21F-2470-4FDF-A59C-955B12DF83B9}" dt="2022-05-03T17:57:23.065" v="1890" actId="1076"/>
          <ac:picMkLst>
            <pc:docMk/>
            <pc:sldMk cId="198187644" sldId="263"/>
            <ac:picMk id="3" creationId="{7D40AD5F-CE38-4E2D-819B-31B648A12234}"/>
          </ac:picMkLst>
        </pc:picChg>
      </pc:sldChg>
      <pc:sldChg chg="add del">
        <pc:chgData name="Geir Nordstad" userId="5104b827-e3d0-4dae-99e7-15b02dd2905b" providerId="ADAL" clId="{B4DBC21F-2470-4FDF-A59C-955B12DF83B9}" dt="2022-05-02T17:09:55.345" v="390"/>
        <pc:sldMkLst>
          <pc:docMk/>
          <pc:sldMk cId="3695411682" sldId="265"/>
        </pc:sldMkLst>
      </pc:sldChg>
      <pc:sldChg chg="add del">
        <pc:chgData name="Geir Nordstad" userId="5104b827-e3d0-4dae-99e7-15b02dd2905b" providerId="ADAL" clId="{B4DBC21F-2470-4FDF-A59C-955B12DF83B9}" dt="2022-05-02T17:09:55.345" v="390"/>
        <pc:sldMkLst>
          <pc:docMk/>
          <pc:sldMk cId="3878375334" sldId="266"/>
        </pc:sldMkLst>
      </pc:sldChg>
      <pc:sldChg chg="add del">
        <pc:chgData name="Geir Nordstad" userId="5104b827-e3d0-4dae-99e7-15b02dd2905b" providerId="ADAL" clId="{B4DBC21F-2470-4FDF-A59C-955B12DF83B9}" dt="2022-05-02T17:09:55.345" v="390"/>
        <pc:sldMkLst>
          <pc:docMk/>
          <pc:sldMk cId="2984840775" sldId="270"/>
        </pc:sldMkLst>
      </pc:sldChg>
      <pc:sldChg chg="add del">
        <pc:chgData name="Geir Nordstad" userId="5104b827-e3d0-4dae-99e7-15b02dd2905b" providerId="ADAL" clId="{B4DBC21F-2470-4FDF-A59C-955B12DF83B9}" dt="2022-05-02T17:09:55.345" v="390"/>
        <pc:sldMkLst>
          <pc:docMk/>
          <pc:sldMk cId="2306858781" sldId="275"/>
        </pc:sldMkLst>
      </pc:sldChg>
      <pc:sldChg chg="modSp add del mod">
        <pc:chgData name="Geir Nordstad" userId="5104b827-e3d0-4dae-99e7-15b02dd2905b" providerId="ADAL" clId="{B4DBC21F-2470-4FDF-A59C-955B12DF83B9}" dt="2022-05-02T17:09:55.345" v="390"/>
        <pc:sldMkLst>
          <pc:docMk/>
          <pc:sldMk cId="583178833" sldId="276"/>
        </pc:sldMkLst>
        <pc:spChg chg="mod">
          <ac:chgData name="Geir Nordstad" userId="5104b827-e3d0-4dae-99e7-15b02dd2905b" providerId="ADAL" clId="{B4DBC21F-2470-4FDF-A59C-955B12DF83B9}" dt="2022-05-02T17:09:52.515" v="389"/>
          <ac:spMkLst>
            <pc:docMk/>
            <pc:sldMk cId="583178833" sldId="276"/>
            <ac:spMk id="4" creationId="{4581C366-39AA-4C65-8906-49B68216994F}"/>
          </ac:spMkLst>
        </pc:spChg>
      </pc:sldChg>
      <pc:sldChg chg="modSp add del mod">
        <pc:chgData name="Geir Nordstad" userId="5104b827-e3d0-4dae-99e7-15b02dd2905b" providerId="ADAL" clId="{B4DBC21F-2470-4FDF-A59C-955B12DF83B9}" dt="2022-05-03T13:35:50.015" v="1575" actId="115"/>
        <pc:sldMkLst>
          <pc:docMk/>
          <pc:sldMk cId="3970987471" sldId="278"/>
        </pc:sldMkLst>
        <pc:spChg chg="mod">
          <ac:chgData name="Geir Nordstad" userId="5104b827-e3d0-4dae-99e7-15b02dd2905b" providerId="ADAL" clId="{B4DBC21F-2470-4FDF-A59C-955B12DF83B9}" dt="2022-05-03T13:35:50.015" v="1575" actId="115"/>
          <ac:spMkLst>
            <pc:docMk/>
            <pc:sldMk cId="3970987471" sldId="278"/>
            <ac:spMk id="18" creationId="{4AE359C9-8B76-5357-0ABF-1EAE41901E9B}"/>
          </ac:spMkLst>
        </pc:spChg>
      </pc:sldChg>
      <pc:sldChg chg="addSp delSp modSp add del mod">
        <pc:chgData name="Geir Nordstad" userId="5104b827-e3d0-4dae-99e7-15b02dd2905b" providerId="ADAL" clId="{B4DBC21F-2470-4FDF-A59C-955B12DF83B9}" dt="2022-05-04T07:24:38.936" v="2241" actId="1076"/>
        <pc:sldMkLst>
          <pc:docMk/>
          <pc:sldMk cId="2285821227" sldId="279"/>
        </pc:sldMkLst>
        <pc:picChg chg="add mod">
          <ac:chgData name="Geir Nordstad" userId="5104b827-e3d0-4dae-99e7-15b02dd2905b" providerId="ADAL" clId="{B4DBC21F-2470-4FDF-A59C-955B12DF83B9}" dt="2022-05-04T07:24:38.936" v="2241" actId="1076"/>
          <ac:picMkLst>
            <pc:docMk/>
            <pc:sldMk cId="2285821227" sldId="279"/>
            <ac:picMk id="3" creationId="{6A903670-A87E-F845-4475-E36552914601}"/>
          </ac:picMkLst>
        </pc:picChg>
        <pc:picChg chg="add mod modCrop">
          <ac:chgData name="Geir Nordstad" userId="5104b827-e3d0-4dae-99e7-15b02dd2905b" providerId="ADAL" clId="{B4DBC21F-2470-4FDF-A59C-955B12DF83B9}" dt="2022-05-04T07:24:18.178" v="2240" actId="732"/>
          <ac:picMkLst>
            <pc:docMk/>
            <pc:sldMk cId="2285821227" sldId="279"/>
            <ac:picMk id="5" creationId="{93A6F1C1-72B6-4C48-388E-A5BEA9887222}"/>
          </ac:picMkLst>
        </pc:picChg>
        <pc:picChg chg="del">
          <ac:chgData name="Geir Nordstad" userId="5104b827-e3d0-4dae-99e7-15b02dd2905b" providerId="ADAL" clId="{B4DBC21F-2470-4FDF-A59C-955B12DF83B9}" dt="2022-05-04T07:22:49.286" v="2235" actId="478"/>
          <ac:picMkLst>
            <pc:docMk/>
            <pc:sldMk cId="2285821227" sldId="279"/>
            <ac:picMk id="11" creationId="{51B4853C-D311-4387-957B-D4C6EFFD1819}"/>
          </ac:picMkLst>
        </pc:picChg>
      </pc:sldChg>
      <pc:sldChg chg="addSp modSp add mod ord">
        <pc:chgData name="Geir Nordstad" userId="5104b827-e3d0-4dae-99e7-15b02dd2905b" providerId="ADAL" clId="{B4DBC21F-2470-4FDF-A59C-955B12DF83B9}" dt="2022-05-03T17:31:22.215" v="1808" actId="14100"/>
        <pc:sldMkLst>
          <pc:docMk/>
          <pc:sldMk cId="698943072" sldId="284"/>
        </pc:sldMkLst>
        <pc:spChg chg="add mod">
          <ac:chgData name="Geir Nordstad" userId="5104b827-e3d0-4dae-99e7-15b02dd2905b" providerId="ADAL" clId="{B4DBC21F-2470-4FDF-A59C-955B12DF83B9}" dt="2022-05-03T17:31:05.718" v="1806" actId="255"/>
          <ac:spMkLst>
            <pc:docMk/>
            <pc:sldMk cId="698943072" sldId="284"/>
            <ac:spMk id="3" creationId="{37CB5C0A-E085-E58D-6CDE-A6095D3A8749}"/>
          </ac:spMkLst>
        </pc:spChg>
        <pc:spChg chg="add mod">
          <ac:chgData name="Geir Nordstad" userId="5104b827-e3d0-4dae-99e7-15b02dd2905b" providerId="ADAL" clId="{B4DBC21F-2470-4FDF-A59C-955B12DF83B9}" dt="2022-05-03T17:31:22.215" v="1808" actId="14100"/>
          <ac:spMkLst>
            <pc:docMk/>
            <pc:sldMk cId="698943072" sldId="284"/>
            <ac:spMk id="5" creationId="{719B59BC-03DE-CBF6-4CA8-54D927FF805D}"/>
          </ac:spMkLst>
        </pc:spChg>
        <pc:picChg chg="mod">
          <ac:chgData name="Geir Nordstad" userId="5104b827-e3d0-4dae-99e7-15b02dd2905b" providerId="ADAL" clId="{B4DBC21F-2470-4FDF-A59C-955B12DF83B9}" dt="2022-05-02T18:27:03.522" v="460" actId="1076"/>
          <ac:picMkLst>
            <pc:docMk/>
            <pc:sldMk cId="698943072" sldId="284"/>
            <ac:picMk id="6" creationId="{7B42E493-BC8E-4EE0-BDE9-A136CEA5E237}"/>
          </ac:picMkLst>
        </pc:picChg>
      </pc:sldChg>
      <pc:sldChg chg="addSp modSp add mod ord">
        <pc:chgData name="Geir Nordstad" userId="5104b827-e3d0-4dae-99e7-15b02dd2905b" providerId="ADAL" clId="{B4DBC21F-2470-4FDF-A59C-955B12DF83B9}" dt="2022-05-04T15:15:12.507" v="3677" actId="1076"/>
        <pc:sldMkLst>
          <pc:docMk/>
          <pc:sldMk cId="613398533" sldId="286"/>
        </pc:sldMkLst>
        <pc:spChg chg="add mod">
          <ac:chgData name="Geir Nordstad" userId="5104b827-e3d0-4dae-99e7-15b02dd2905b" providerId="ADAL" clId="{B4DBC21F-2470-4FDF-A59C-955B12DF83B9}" dt="2022-05-03T17:24:21.652" v="1613" actId="255"/>
          <ac:spMkLst>
            <pc:docMk/>
            <pc:sldMk cId="613398533" sldId="286"/>
            <ac:spMk id="3" creationId="{65BEFE83-56BD-8753-44E8-FF2CCFCCED63}"/>
          </ac:spMkLst>
        </pc:spChg>
        <pc:picChg chg="mod">
          <ac:chgData name="Geir Nordstad" userId="5104b827-e3d0-4dae-99e7-15b02dd2905b" providerId="ADAL" clId="{B4DBC21F-2470-4FDF-A59C-955B12DF83B9}" dt="2022-05-04T15:15:12.507" v="3677" actId="1076"/>
          <ac:picMkLst>
            <pc:docMk/>
            <pc:sldMk cId="613398533" sldId="286"/>
            <ac:picMk id="2" creationId="{E037DE5B-5B74-4C55-935C-B783ED1120D4}"/>
          </ac:picMkLst>
        </pc:picChg>
      </pc:sldChg>
      <pc:sldChg chg="add">
        <pc:chgData name="Geir Nordstad" userId="5104b827-e3d0-4dae-99e7-15b02dd2905b" providerId="ADAL" clId="{B4DBC21F-2470-4FDF-A59C-955B12DF83B9}" dt="2022-05-02T17:33:11.534" v="422"/>
        <pc:sldMkLst>
          <pc:docMk/>
          <pc:sldMk cId="2057096033" sldId="288"/>
        </pc:sldMkLst>
      </pc:sldChg>
      <pc:sldChg chg="add">
        <pc:chgData name="Geir Nordstad" userId="5104b827-e3d0-4dae-99e7-15b02dd2905b" providerId="ADAL" clId="{B4DBC21F-2470-4FDF-A59C-955B12DF83B9}" dt="2022-05-02T17:11:39.650" v="391"/>
        <pc:sldMkLst>
          <pc:docMk/>
          <pc:sldMk cId="3956140184" sldId="322"/>
        </pc:sldMkLst>
      </pc:sldChg>
      <pc:sldChg chg="modSp add">
        <pc:chgData name="Geir Nordstad" userId="5104b827-e3d0-4dae-99e7-15b02dd2905b" providerId="ADAL" clId="{B4DBC21F-2470-4FDF-A59C-955B12DF83B9}" dt="2022-05-02T17:20:03.541" v="417" actId="20577"/>
        <pc:sldMkLst>
          <pc:docMk/>
          <pc:sldMk cId="947909903" sldId="323"/>
        </pc:sldMkLst>
        <pc:spChg chg="mod">
          <ac:chgData name="Geir Nordstad" userId="5104b827-e3d0-4dae-99e7-15b02dd2905b" providerId="ADAL" clId="{B4DBC21F-2470-4FDF-A59C-955B12DF83B9}" dt="2022-05-02T17:20:03.541" v="417" actId="20577"/>
          <ac:spMkLst>
            <pc:docMk/>
            <pc:sldMk cId="947909903" sldId="323"/>
            <ac:spMk id="3" creationId="{00000000-0000-0000-0000-000000000000}"/>
          </ac:spMkLst>
        </pc:spChg>
      </pc:sldChg>
      <pc:sldChg chg="modSp mod ord">
        <pc:chgData name="Geir Nordstad" userId="5104b827-e3d0-4dae-99e7-15b02dd2905b" providerId="ADAL" clId="{B4DBC21F-2470-4FDF-A59C-955B12DF83B9}" dt="2022-05-04T14:51:06.838" v="3635" actId="20577"/>
        <pc:sldMkLst>
          <pc:docMk/>
          <pc:sldMk cId="2416794996" sldId="359"/>
        </pc:sldMkLst>
        <pc:spChg chg="mod">
          <ac:chgData name="Geir Nordstad" userId="5104b827-e3d0-4dae-99e7-15b02dd2905b" providerId="ADAL" clId="{B4DBC21F-2470-4FDF-A59C-955B12DF83B9}" dt="2022-05-04T14:51:06.838" v="3635" actId="20577"/>
          <ac:spMkLst>
            <pc:docMk/>
            <pc:sldMk cId="2416794996" sldId="359"/>
            <ac:spMk id="52234" creationId="{00000000-0000-0000-0000-000000000000}"/>
          </ac:spMkLst>
        </pc:spChg>
      </pc:sldChg>
      <pc:sldChg chg="delSp modSp del mod">
        <pc:chgData name="Geir Nordstad" userId="5104b827-e3d0-4dae-99e7-15b02dd2905b" providerId="ADAL" clId="{B4DBC21F-2470-4FDF-A59C-955B12DF83B9}" dt="2022-05-02T16:06:20.644" v="50" actId="47"/>
        <pc:sldMkLst>
          <pc:docMk/>
          <pc:sldMk cId="1550204809" sldId="361"/>
        </pc:sldMkLst>
        <pc:spChg chg="del mod">
          <ac:chgData name="Geir Nordstad" userId="5104b827-e3d0-4dae-99e7-15b02dd2905b" providerId="ADAL" clId="{B4DBC21F-2470-4FDF-A59C-955B12DF83B9}" dt="2022-05-02T16:05:26.884" v="47" actId="478"/>
          <ac:spMkLst>
            <pc:docMk/>
            <pc:sldMk cId="1550204809" sldId="361"/>
            <ac:spMk id="3" creationId="{8CCF2A44-A71A-4101-913A-0CAADCDC412F}"/>
          </ac:spMkLst>
        </pc:spChg>
        <pc:spChg chg="del">
          <ac:chgData name="Geir Nordstad" userId="5104b827-e3d0-4dae-99e7-15b02dd2905b" providerId="ADAL" clId="{B4DBC21F-2470-4FDF-A59C-955B12DF83B9}" dt="2022-05-02T16:05:24.933" v="46" actId="478"/>
          <ac:spMkLst>
            <pc:docMk/>
            <pc:sldMk cId="1550204809" sldId="361"/>
            <ac:spMk id="4" creationId="{CC9B1C71-864A-42E3-A74B-8953A8F4CAB5}"/>
          </ac:spMkLst>
        </pc:spChg>
        <pc:graphicFrameChg chg="del">
          <ac:chgData name="Geir Nordstad" userId="5104b827-e3d0-4dae-99e7-15b02dd2905b" providerId="ADAL" clId="{B4DBC21F-2470-4FDF-A59C-955B12DF83B9}" dt="2022-05-02T16:05:22.027" v="45" actId="478"/>
          <ac:graphicFrameMkLst>
            <pc:docMk/>
            <pc:sldMk cId="1550204809" sldId="361"/>
            <ac:graphicFrameMk id="14" creationId="{00000000-0000-0000-0000-000000000000}"/>
          </ac:graphicFrameMkLst>
        </pc:graphicFrameChg>
      </pc:sldChg>
      <pc:sldChg chg="modSp add mod">
        <pc:chgData name="Geir Nordstad" userId="5104b827-e3d0-4dae-99e7-15b02dd2905b" providerId="ADAL" clId="{B4DBC21F-2470-4FDF-A59C-955B12DF83B9}" dt="2022-05-04T14:05:04.989" v="3559" actId="20577"/>
        <pc:sldMkLst>
          <pc:docMk/>
          <pc:sldMk cId="3182301138" sldId="362"/>
        </pc:sldMkLst>
        <pc:spChg chg="mod">
          <ac:chgData name="Geir Nordstad" userId="5104b827-e3d0-4dae-99e7-15b02dd2905b" providerId="ADAL" clId="{B4DBC21F-2470-4FDF-A59C-955B12DF83B9}" dt="2022-05-04T14:05:04.989" v="3559" actId="20577"/>
          <ac:spMkLst>
            <pc:docMk/>
            <pc:sldMk cId="3182301138" sldId="362"/>
            <ac:spMk id="6146" creationId="{00000000-0000-0000-0000-000000000000}"/>
          </ac:spMkLst>
        </pc:spChg>
        <pc:spChg chg="mod">
          <ac:chgData name="Geir Nordstad" userId="5104b827-e3d0-4dae-99e7-15b02dd2905b" providerId="ADAL" clId="{B4DBC21F-2470-4FDF-A59C-955B12DF83B9}" dt="2022-05-04T14:04:51.437" v="3534" actId="1076"/>
          <ac:spMkLst>
            <pc:docMk/>
            <pc:sldMk cId="3182301138" sldId="362"/>
            <ac:spMk id="7175" creationId="{00000000-0000-0000-0000-000000000000}"/>
          </ac:spMkLst>
        </pc:spChg>
      </pc:sldChg>
      <pc:sldChg chg="ord">
        <pc:chgData name="Geir Nordstad" userId="5104b827-e3d0-4dae-99e7-15b02dd2905b" providerId="ADAL" clId="{B4DBC21F-2470-4FDF-A59C-955B12DF83B9}" dt="2022-05-04T14:46:51.048" v="3572"/>
        <pc:sldMkLst>
          <pc:docMk/>
          <pc:sldMk cId="1077904912" sldId="366"/>
        </pc:sldMkLst>
      </pc:sldChg>
      <pc:sldChg chg="addSp delSp modSp del mod ord">
        <pc:chgData name="Geir Nordstad" userId="5104b827-e3d0-4dae-99e7-15b02dd2905b" providerId="ADAL" clId="{B4DBC21F-2470-4FDF-A59C-955B12DF83B9}" dt="2022-05-04T12:07:37.043" v="2263" actId="47"/>
        <pc:sldMkLst>
          <pc:docMk/>
          <pc:sldMk cId="1157723502" sldId="428"/>
        </pc:sldMkLst>
        <pc:spChg chg="mod">
          <ac:chgData name="Geir Nordstad" userId="5104b827-e3d0-4dae-99e7-15b02dd2905b" providerId="ADAL" clId="{B4DBC21F-2470-4FDF-A59C-955B12DF83B9}" dt="2022-05-03T07:47:44.213" v="745" actId="20577"/>
          <ac:spMkLst>
            <pc:docMk/>
            <pc:sldMk cId="1157723502" sldId="428"/>
            <ac:spMk id="2" creationId="{00000000-0000-0000-0000-000000000000}"/>
          </ac:spMkLst>
        </pc:spChg>
        <pc:spChg chg="mod">
          <ac:chgData name="Geir Nordstad" userId="5104b827-e3d0-4dae-99e7-15b02dd2905b" providerId="ADAL" clId="{B4DBC21F-2470-4FDF-A59C-955B12DF83B9}" dt="2022-05-03T07:43:31.132" v="655" actId="1076"/>
          <ac:spMkLst>
            <pc:docMk/>
            <pc:sldMk cId="1157723502" sldId="428"/>
            <ac:spMk id="4" creationId="{00000000-0000-0000-0000-000000000000}"/>
          </ac:spMkLst>
        </pc:spChg>
        <pc:picChg chg="add mod modCrop">
          <ac:chgData name="Geir Nordstad" userId="5104b827-e3d0-4dae-99e7-15b02dd2905b" providerId="ADAL" clId="{B4DBC21F-2470-4FDF-A59C-955B12DF83B9}" dt="2022-05-03T07:46:34.761" v="663" actId="1076"/>
          <ac:picMkLst>
            <pc:docMk/>
            <pc:sldMk cId="1157723502" sldId="428"/>
            <ac:picMk id="5" creationId="{17214E1E-8866-4302-935C-570C1223A853}"/>
          </ac:picMkLst>
        </pc:picChg>
        <pc:picChg chg="del mod">
          <ac:chgData name="Geir Nordstad" userId="5104b827-e3d0-4dae-99e7-15b02dd2905b" providerId="ADAL" clId="{B4DBC21F-2470-4FDF-A59C-955B12DF83B9}" dt="2022-05-03T07:45:59.756" v="657" actId="478"/>
          <ac:picMkLst>
            <pc:docMk/>
            <pc:sldMk cId="1157723502" sldId="428"/>
            <ac:picMk id="12" creationId="{9F006889-A768-FD18-3476-1FAB9336025C}"/>
          </ac:picMkLst>
        </pc:picChg>
      </pc:sldChg>
      <pc:sldChg chg="modSp mod ord">
        <pc:chgData name="Geir Nordstad" userId="5104b827-e3d0-4dae-99e7-15b02dd2905b" providerId="ADAL" clId="{B4DBC21F-2470-4FDF-A59C-955B12DF83B9}" dt="2022-05-04T14:24:03.975" v="3566" actId="27918"/>
        <pc:sldMkLst>
          <pc:docMk/>
          <pc:sldMk cId="1048179996" sldId="432"/>
        </pc:sldMkLst>
        <pc:spChg chg="mod">
          <ac:chgData name="Geir Nordstad" userId="5104b827-e3d0-4dae-99e7-15b02dd2905b" providerId="ADAL" clId="{B4DBC21F-2470-4FDF-A59C-955B12DF83B9}" dt="2022-05-04T12:16:19.112" v="2292" actId="20577"/>
          <ac:spMkLst>
            <pc:docMk/>
            <pc:sldMk cId="1048179996" sldId="432"/>
            <ac:spMk id="3" creationId="{F7BC85B0-4E50-E95D-DAF3-FA470EFC7139}"/>
          </ac:spMkLst>
        </pc:spChg>
        <pc:graphicFrameChg chg="mod">
          <ac:chgData name="Geir Nordstad" userId="5104b827-e3d0-4dae-99e7-15b02dd2905b" providerId="ADAL" clId="{B4DBC21F-2470-4FDF-A59C-955B12DF83B9}" dt="2022-05-04T12:16:27.768" v="2293" actId="1076"/>
          <ac:graphicFrameMkLst>
            <pc:docMk/>
            <pc:sldMk cId="1048179996" sldId="432"/>
            <ac:graphicFrameMk id="11" creationId="{00000000-0000-0000-0000-000000000000}"/>
          </ac:graphicFrameMkLst>
        </pc:graphicFrameChg>
      </pc:sldChg>
      <pc:sldChg chg="ord">
        <pc:chgData name="Geir Nordstad" userId="5104b827-e3d0-4dae-99e7-15b02dd2905b" providerId="ADAL" clId="{B4DBC21F-2470-4FDF-A59C-955B12DF83B9}" dt="2022-05-03T07:55:27.968" v="761"/>
        <pc:sldMkLst>
          <pc:docMk/>
          <pc:sldMk cId="1970506032" sldId="455"/>
        </pc:sldMkLst>
      </pc:sldChg>
      <pc:sldChg chg="del">
        <pc:chgData name="Geir Nordstad" userId="5104b827-e3d0-4dae-99e7-15b02dd2905b" providerId="ADAL" clId="{B4DBC21F-2470-4FDF-A59C-955B12DF83B9}" dt="2022-05-02T17:00:35.678" v="299" actId="47"/>
        <pc:sldMkLst>
          <pc:docMk/>
          <pc:sldMk cId="575332996" sldId="461"/>
        </pc:sldMkLst>
      </pc:sldChg>
      <pc:sldChg chg="del">
        <pc:chgData name="Geir Nordstad" userId="5104b827-e3d0-4dae-99e7-15b02dd2905b" providerId="ADAL" clId="{B4DBC21F-2470-4FDF-A59C-955B12DF83B9}" dt="2022-05-02T16:59:36.798" v="244" actId="47"/>
        <pc:sldMkLst>
          <pc:docMk/>
          <pc:sldMk cId="2068690993" sldId="476"/>
        </pc:sldMkLst>
      </pc:sldChg>
      <pc:sldChg chg="modSp del mod ord">
        <pc:chgData name="Geir Nordstad" userId="5104b827-e3d0-4dae-99e7-15b02dd2905b" providerId="ADAL" clId="{B4DBC21F-2470-4FDF-A59C-955B12DF83B9}" dt="2022-05-04T12:07:03.457" v="2261" actId="47"/>
        <pc:sldMkLst>
          <pc:docMk/>
          <pc:sldMk cId="886878545" sldId="477"/>
        </pc:sldMkLst>
        <pc:picChg chg="mod modCrop">
          <ac:chgData name="Geir Nordstad" userId="5104b827-e3d0-4dae-99e7-15b02dd2905b" providerId="ADAL" clId="{B4DBC21F-2470-4FDF-A59C-955B12DF83B9}" dt="2022-05-02T16:36:40.574" v="157" actId="732"/>
          <ac:picMkLst>
            <pc:docMk/>
            <pc:sldMk cId="886878545" sldId="477"/>
            <ac:picMk id="5" creationId="{DD2DE185-4C25-6B85-C27A-3A0916602569}"/>
          </ac:picMkLst>
        </pc:picChg>
      </pc:sldChg>
      <pc:sldChg chg="addSp delSp modSp add del mod ord">
        <pc:chgData name="Geir Nordstad" userId="5104b827-e3d0-4dae-99e7-15b02dd2905b" providerId="ADAL" clId="{B4DBC21F-2470-4FDF-A59C-955B12DF83B9}" dt="2022-05-02T18:36:22.461" v="551" actId="1076"/>
        <pc:sldMkLst>
          <pc:docMk/>
          <pc:sldMk cId="76920932" sldId="514"/>
        </pc:sldMkLst>
        <pc:spChg chg="add del mod">
          <ac:chgData name="Geir Nordstad" userId="5104b827-e3d0-4dae-99e7-15b02dd2905b" providerId="ADAL" clId="{B4DBC21F-2470-4FDF-A59C-955B12DF83B9}" dt="2022-05-02T17:05:40.633" v="369" actId="478"/>
          <ac:spMkLst>
            <pc:docMk/>
            <pc:sldMk cId="76920932" sldId="514"/>
            <ac:spMk id="2" creationId="{D444C90A-093E-45D6-A881-F7305574A14A}"/>
          </ac:spMkLst>
        </pc:spChg>
        <pc:spChg chg="add mod">
          <ac:chgData name="Geir Nordstad" userId="5104b827-e3d0-4dae-99e7-15b02dd2905b" providerId="ADAL" clId="{B4DBC21F-2470-4FDF-A59C-955B12DF83B9}" dt="2022-05-02T18:30:36.106" v="464" actId="207"/>
          <ac:spMkLst>
            <pc:docMk/>
            <pc:sldMk cId="76920932" sldId="514"/>
            <ac:spMk id="4" creationId="{0D723E4A-C5B3-4F2E-885C-177B9C92DD0E}"/>
          </ac:spMkLst>
        </pc:spChg>
        <pc:spChg chg="add mod">
          <ac:chgData name="Geir Nordstad" userId="5104b827-e3d0-4dae-99e7-15b02dd2905b" providerId="ADAL" clId="{B4DBC21F-2470-4FDF-A59C-955B12DF83B9}" dt="2022-05-02T17:03:33.683" v="353" actId="20577"/>
          <ac:spMkLst>
            <pc:docMk/>
            <pc:sldMk cId="76920932" sldId="514"/>
            <ac:spMk id="7" creationId="{E9D3CF37-DEB7-4158-984D-74C2673D03C8}"/>
          </ac:spMkLst>
        </pc:spChg>
        <pc:spChg chg="add del mod">
          <ac:chgData name="Geir Nordstad" userId="5104b827-e3d0-4dae-99e7-15b02dd2905b" providerId="ADAL" clId="{B4DBC21F-2470-4FDF-A59C-955B12DF83B9}" dt="2022-05-02T17:05:41.380" v="370" actId="478"/>
          <ac:spMkLst>
            <pc:docMk/>
            <pc:sldMk cId="76920932" sldId="514"/>
            <ac:spMk id="8" creationId="{7A117B44-2F7B-4937-9B1C-A4DABA3157D6}"/>
          </ac:spMkLst>
        </pc:spChg>
        <pc:spChg chg="add mod">
          <ac:chgData name="Geir Nordstad" userId="5104b827-e3d0-4dae-99e7-15b02dd2905b" providerId="ADAL" clId="{B4DBC21F-2470-4FDF-A59C-955B12DF83B9}" dt="2022-05-02T17:04:47.698" v="362" actId="1076"/>
          <ac:spMkLst>
            <pc:docMk/>
            <pc:sldMk cId="76920932" sldId="514"/>
            <ac:spMk id="9" creationId="{33EF4DC0-A091-420B-A9E3-C0C257D917D4}"/>
          </ac:spMkLst>
        </pc:spChg>
        <pc:spChg chg="add del mod">
          <ac:chgData name="Geir Nordstad" userId="5104b827-e3d0-4dae-99e7-15b02dd2905b" providerId="ADAL" clId="{B4DBC21F-2470-4FDF-A59C-955B12DF83B9}" dt="2022-05-02T17:05:39.466" v="368" actId="478"/>
          <ac:spMkLst>
            <pc:docMk/>
            <pc:sldMk cId="76920932" sldId="514"/>
            <ac:spMk id="10" creationId="{02ED4061-FF99-460B-BF74-E794A49B79C4}"/>
          </ac:spMkLst>
        </pc:spChg>
        <pc:spChg chg="add mod">
          <ac:chgData name="Geir Nordstad" userId="5104b827-e3d0-4dae-99e7-15b02dd2905b" providerId="ADAL" clId="{B4DBC21F-2470-4FDF-A59C-955B12DF83B9}" dt="2022-05-02T17:05:49.829" v="372" actId="1076"/>
          <ac:spMkLst>
            <pc:docMk/>
            <pc:sldMk cId="76920932" sldId="514"/>
            <ac:spMk id="11" creationId="{B157C895-2834-40D3-959D-EA9D4E4EC51C}"/>
          </ac:spMkLst>
        </pc:spChg>
        <pc:spChg chg="add mod">
          <ac:chgData name="Geir Nordstad" userId="5104b827-e3d0-4dae-99e7-15b02dd2905b" providerId="ADAL" clId="{B4DBC21F-2470-4FDF-A59C-955B12DF83B9}" dt="2022-05-02T17:05:58.895" v="374" actId="1076"/>
          <ac:spMkLst>
            <pc:docMk/>
            <pc:sldMk cId="76920932" sldId="514"/>
            <ac:spMk id="12" creationId="{91904AA6-6068-47EA-801F-1BF9F605CD75}"/>
          </ac:spMkLst>
        </pc:spChg>
        <pc:spChg chg="add mod">
          <ac:chgData name="Geir Nordstad" userId="5104b827-e3d0-4dae-99e7-15b02dd2905b" providerId="ADAL" clId="{B4DBC21F-2470-4FDF-A59C-955B12DF83B9}" dt="2022-05-02T17:06:06.596" v="376" actId="1076"/>
          <ac:spMkLst>
            <pc:docMk/>
            <pc:sldMk cId="76920932" sldId="514"/>
            <ac:spMk id="13" creationId="{96EBA3EF-6F4D-4ABC-9891-A003AEAFAA6D}"/>
          </ac:spMkLst>
        </pc:spChg>
        <pc:spChg chg="add mod">
          <ac:chgData name="Geir Nordstad" userId="5104b827-e3d0-4dae-99e7-15b02dd2905b" providerId="ADAL" clId="{B4DBC21F-2470-4FDF-A59C-955B12DF83B9}" dt="2022-05-02T18:31:15.517" v="472" actId="20577"/>
          <ac:spMkLst>
            <pc:docMk/>
            <pc:sldMk cId="76920932" sldId="514"/>
            <ac:spMk id="14" creationId="{DF180305-40F3-46E5-85FB-4D62D0C8EA52}"/>
          </ac:spMkLst>
        </pc:spChg>
        <pc:spChg chg="add mod">
          <ac:chgData name="Geir Nordstad" userId="5104b827-e3d0-4dae-99e7-15b02dd2905b" providerId="ADAL" clId="{B4DBC21F-2470-4FDF-A59C-955B12DF83B9}" dt="2022-05-02T18:31:19.428" v="474" actId="20577"/>
          <ac:spMkLst>
            <pc:docMk/>
            <pc:sldMk cId="76920932" sldId="514"/>
            <ac:spMk id="15" creationId="{8ABB600E-BFF4-4BAA-A334-6217266E4EA2}"/>
          </ac:spMkLst>
        </pc:spChg>
        <pc:spChg chg="add mod">
          <ac:chgData name="Geir Nordstad" userId="5104b827-e3d0-4dae-99e7-15b02dd2905b" providerId="ADAL" clId="{B4DBC21F-2470-4FDF-A59C-955B12DF83B9}" dt="2022-05-02T18:31:25.104" v="476" actId="20577"/>
          <ac:spMkLst>
            <pc:docMk/>
            <pc:sldMk cId="76920932" sldId="514"/>
            <ac:spMk id="16" creationId="{A6C61991-1952-4C74-AED3-7BA954371527}"/>
          </ac:spMkLst>
        </pc:spChg>
        <pc:spChg chg="add mod">
          <ac:chgData name="Geir Nordstad" userId="5104b827-e3d0-4dae-99e7-15b02dd2905b" providerId="ADAL" clId="{B4DBC21F-2470-4FDF-A59C-955B12DF83B9}" dt="2022-05-02T18:36:22.461" v="551" actId="1076"/>
          <ac:spMkLst>
            <pc:docMk/>
            <pc:sldMk cId="76920932" sldId="514"/>
            <ac:spMk id="17" creationId="{F66275CC-F80F-4DCE-8492-E13D9E01D161}"/>
          </ac:spMkLst>
        </pc:spChg>
        <pc:spChg chg="add mod">
          <ac:chgData name="Geir Nordstad" userId="5104b827-e3d0-4dae-99e7-15b02dd2905b" providerId="ADAL" clId="{B4DBC21F-2470-4FDF-A59C-955B12DF83B9}" dt="2022-05-02T18:36:22.461" v="551" actId="1076"/>
          <ac:spMkLst>
            <pc:docMk/>
            <pc:sldMk cId="76920932" sldId="514"/>
            <ac:spMk id="18" creationId="{47CE6B2C-EE92-45CF-B8A8-AED2CF666F81}"/>
          </ac:spMkLst>
        </pc:spChg>
        <pc:picChg chg="mod modCrop">
          <ac:chgData name="Geir Nordstad" userId="5104b827-e3d0-4dae-99e7-15b02dd2905b" providerId="ADAL" clId="{B4DBC21F-2470-4FDF-A59C-955B12DF83B9}" dt="2022-05-02T17:02:10.801" v="348" actId="732"/>
          <ac:picMkLst>
            <pc:docMk/>
            <pc:sldMk cId="76920932" sldId="514"/>
            <ac:picMk id="3" creationId="{E36106EB-6A41-4DAC-AD72-76AFD42689D2}"/>
          </ac:picMkLst>
        </pc:picChg>
      </pc:sldChg>
      <pc:sldChg chg="modSp add mod">
        <pc:chgData name="Geir Nordstad" userId="5104b827-e3d0-4dae-99e7-15b02dd2905b" providerId="ADAL" clId="{B4DBC21F-2470-4FDF-A59C-955B12DF83B9}" dt="2022-05-04T14:30:56.625" v="3568" actId="1076"/>
        <pc:sldMkLst>
          <pc:docMk/>
          <pc:sldMk cId="336866182" sldId="532"/>
        </pc:sldMkLst>
        <pc:spChg chg="mod">
          <ac:chgData name="Geir Nordstad" userId="5104b827-e3d0-4dae-99e7-15b02dd2905b" providerId="ADAL" clId="{B4DBC21F-2470-4FDF-A59C-955B12DF83B9}" dt="2022-05-04T13:50:22.930" v="3170" actId="6549"/>
          <ac:spMkLst>
            <pc:docMk/>
            <pc:sldMk cId="336866182" sldId="532"/>
            <ac:spMk id="7" creationId="{72A1FD12-E0CC-4D77-8A10-9DAC066B7320}"/>
          </ac:spMkLst>
        </pc:spChg>
        <pc:spChg chg="mod">
          <ac:chgData name="Geir Nordstad" userId="5104b827-e3d0-4dae-99e7-15b02dd2905b" providerId="ADAL" clId="{B4DBC21F-2470-4FDF-A59C-955B12DF83B9}" dt="2022-05-04T14:30:56.625" v="3568" actId="1076"/>
          <ac:spMkLst>
            <pc:docMk/>
            <pc:sldMk cId="336866182" sldId="532"/>
            <ac:spMk id="11" creationId="{68B2A47E-FB1A-4894-9556-28B3FEE2F2CF}"/>
          </ac:spMkLst>
        </pc:spChg>
      </pc:sldChg>
      <pc:sldChg chg="add">
        <pc:chgData name="Geir Nordstad" userId="5104b827-e3d0-4dae-99e7-15b02dd2905b" providerId="ADAL" clId="{B4DBC21F-2470-4FDF-A59C-955B12DF83B9}" dt="2022-05-02T17:11:39.650" v="391"/>
        <pc:sldMkLst>
          <pc:docMk/>
          <pc:sldMk cId="4280686391" sldId="26835"/>
        </pc:sldMkLst>
      </pc:sldChg>
      <pc:sldChg chg="addSp delSp modSp add mod">
        <pc:chgData name="Geir Nordstad" userId="5104b827-e3d0-4dae-99e7-15b02dd2905b" providerId="ADAL" clId="{B4DBC21F-2470-4FDF-A59C-955B12DF83B9}" dt="2022-05-04T15:00:52.772" v="3674"/>
        <pc:sldMkLst>
          <pc:docMk/>
          <pc:sldMk cId="3144740256" sldId="26874"/>
        </pc:sldMkLst>
        <pc:spChg chg="add mod">
          <ac:chgData name="Geir Nordstad" userId="5104b827-e3d0-4dae-99e7-15b02dd2905b" providerId="ADAL" clId="{B4DBC21F-2470-4FDF-A59C-955B12DF83B9}" dt="2022-05-04T15:00:52.772" v="3674"/>
          <ac:spMkLst>
            <pc:docMk/>
            <pc:sldMk cId="3144740256" sldId="26874"/>
            <ac:spMk id="5" creationId="{F5544FEF-4884-0949-C634-5FBAF107ADD2}"/>
          </ac:spMkLst>
        </pc:spChg>
        <pc:spChg chg="del">
          <ac:chgData name="Geir Nordstad" userId="5104b827-e3d0-4dae-99e7-15b02dd2905b" providerId="ADAL" clId="{B4DBC21F-2470-4FDF-A59C-955B12DF83B9}" dt="2022-05-02T17:13:36.477" v="394" actId="478"/>
          <ac:spMkLst>
            <pc:docMk/>
            <pc:sldMk cId="3144740256" sldId="26874"/>
            <ac:spMk id="37" creationId="{30776593-ED34-40BE-9361-876385760D56}"/>
          </ac:spMkLst>
        </pc:spChg>
        <pc:spChg chg="del">
          <ac:chgData name="Geir Nordstad" userId="5104b827-e3d0-4dae-99e7-15b02dd2905b" providerId="ADAL" clId="{B4DBC21F-2470-4FDF-A59C-955B12DF83B9}" dt="2022-05-02T17:13:34.287" v="393" actId="478"/>
          <ac:spMkLst>
            <pc:docMk/>
            <pc:sldMk cId="3144740256" sldId="26874"/>
            <ac:spMk id="40" creationId="{92621CFF-E107-4F45-A992-1B22FA4209E5}"/>
          </ac:spMkLst>
        </pc:spChg>
        <pc:spChg chg="del">
          <ac:chgData name="Geir Nordstad" userId="5104b827-e3d0-4dae-99e7-15b02dd2905b" providerId="ADAL" clId="{B4DBC21F-2470-4FDF-A59C-955B12DF83B9}" dt="2022-05-02T17:13:50.233" v="402" actId="478"/>
          <ac:spMkLst>
            <pc:docMk/>
            <pc:sldMk cId="3144740256" sldId="26874"/>
            <ac:spMk id="43" creationId="{DAC7F607-2AD5-4781-ADBE-2BB02D84F470}"/>
          </ac:spMkLst>
        </pc:spChg>
        <pc:spChg chg="del">
          <ac:chgData name="Geir Nordstad" userId="5104b827-e3d0-4dae-99e7-15b02dd2905b" providerId="ADAL" clId="{B4DBC21F-2470-4FDF-A59C-955B12DF83B9}" dt="2022-05-02T17:13:42.225" v="398" actId="478"/>
          <ac:spMkLst>
            <pc:docMk/>
            <pc:sldMk cId="3144740256" sldId="26874"/>
            <ac:spMk id="46" creationId="{29DC8DCB-810E-4CA6-95A6-E273C5481787}"/>
          </ac:spMkLst>
        </pc:spChg>
        <pc:spChg chg="del">
          <ac:chgData name="Geir Nordstad" userId="5104b827-e3d0-4dae-99e7-15b02dd2905b" providerId="ADAL" clId="{B4DBC21F-2470-4FDF-A59C-955B12DF83B9}" dt="2022-05-02T17:13:39.154" v="396" actId="478"/>
          <ac:spMkLst>
            <pc:docMk/>
            <pc:sldMk cId="3144740256" sldId="26874"/>
            <ac:spMk id="50" creationId="{1D232E1C-EB7D-4060-8C98-8F10737ABBE2}"/>
          </ac:spMkLst>
        </pc:spChg>
        <pc:spChg chg="del">
          <ac:chgData name="Geir Nordstad" userId="5104b827-e3d0-4dae-99e7-15b02dd2905b" providerId="ADAL" clId="{B4DBC21F-2470-4FDF-A59C-955B12DF83B9}" dt="2022-05-02T17:13:46.502" v="400" actId="478"/>
          <ac:spMkLst>
            <pc:docMk/>
            <pc:sldMk cId="3144740256" sldId="26874"/>
            <ac:spMk id="58" creationId="{F8625064-7923-4D73-81FC-BAA0FAC2015B}"/>
          </ac:spMkLst>
        </pc:spChg>
        <pc:picChg chg="add mod modCrop">
          <ac:chgData name="Geir Nordstad" userId="5104b827-e3d0-4dae-99e7-15b02dd2905b" providerId="ADAL" clId="{B4DBC21F-2470-4FDF-A59C-955B12DF83B9}" dt="2022-05-02T17:16:01.890" v="407" actId="1076"/>
          <ac:picMkLst>
            <pc:docMk/>
            <pc:sldMk cId="3144740256" sldId="26874"/>
            <ac:picMk id="4" creationId="{B881DACF-6ABC-4D34-A6C3-E937D5B2E65E}"/>
          </ac:picMkLst>
        </pc:picChg>
        <pc:picChg chg="del">
          <ac:chgData name="Geir Nordstad" userId="5104b827-e3d0-4dae-99e7-15b02dd2905b" providerId="ADAL" clId="{B4DBC21F-2470-4FDF-A59C-955B12DF83B9}" dt="2022-05-02T17:13:51.253" v="403" actId="478"/>
          <ac:picMkLst>
            <pc:docMk/>
            <pc:sldMk cId="3144740256" sldId="26874"/>
            <ac:picMk id="49" creationId="{2A3D21FA-10B6-4A1D-A5CA-B2CC036D02FF}"/>
          </ac:picMkLst>
        </pc:picChg>
        <pc:picChg chg="del">
          <ac:chgData name="Geir Nordstad" userId="5104b827-e3d0-4dae-99e7-15b02dd2905b" providerId="ADAL" clId="{B4DBC21F-2470-4FDF-A59C-955B12DF83B9}" dt="2022-05-02T17:13:47.618" v="401" actId="478"/>
          <ac:picMkLst>
            <pc:docMk/>
            <pc:sldMk cId="3144740256" sldId="26874"/>
            <ac:picMk id="51" creationId="{491DFD1B-0C7A-4390-B3D4-91FED1CA99B4}"/>
          </ac:picMkLst>
        </pc:picChg>
        <pc:picChg chg="del">
          <ac:chgData name="Geir Nordstad" userId="5104b827-e3d0-4dae-99e7-15b02dd2905b" providerId="ADAL" clId="{B4DBC21F-2470-4FDF-A59C-955B12DF83B9}" dt="2022-05-02T17:16:11.540" v="408" actId="478"/>
          <ac:picMkLst>
            <pc:docMk/>
            <pc:sldMk cId="3144740256" sldId="26874"/>
            <ac:picMk id="60" creationId="{17DF0FC0-D280-4D37-91DF-174F20DFC4E5}"/>
          </ac:picMkLst>
        </pc:picChg>
        <pc:picChg chg="del">
          <ac:chgData name="Geir Nordstad" userId="5104b827-e3d0-4dae-99e7-15b02dd2905b" providerId="ADAL" clId="{B4DBC21F-2470-4FDF-A59C-955B12DF83B9}" dt="2022-05-02T17:13:40.163" v="397" actId="478"/>
          <ac:picMkLst>
            <pc:docMk/>
            <pc:sldMk cId="3144740256" sldId="26874"/>
            <ac:picMk id="89092" creationId="{EE79EA96-CF11-4D65-B5D4-62B82F32A4B8}"/>
          </ac:picMkLst>
        </pc:picChg>
        <pc:picChg chg="del">
          <ac:chgData name="Geir Nordstad" userId="5104b827-e3d0-4dae-99e7-15b02dd2905b" providerId="ADAL" clId="{B4DBC21F-2470-4FDF-A59C-955B12DF83B9}" dt="2022-05-02T17:13:37.069" v="395" actId="478"/>
          <ac:picMkLst>
            <pc:docMk/>
            <pc:sldMk cId="3144740256" sldId="26874"/>
            <ac:picMk id="89094" creationId="{50B7BF8C-41DF-4298-A1B7-30C00D8B640B}"/>
          </ac:picMkLst>
        </pc:picChg>
        <pc:picChg chg="del">
          <ac:chgData name="Geir Nordstad" userId="5104b827-e3d0-4dae-99e7-15b02dd2905b" providerId="ADAL" clId="{B4DBC21F-2470-4FDF-A59C-955B12DF83B9}" dt="2022-05-02T17:13:43.814" v="399" actId="478"/>
          <ac:picMkLst>
            <pc:docMk/>
            <pc:sldMk cId="3144740256" sldId="26874"/>
            <ac:picMk id="172032" creationId="{49DE70C0-AB3A-4CDA-B5A6-F0470B8620EB}"/>
          </ac:picMkLst>
        </pc:picChg>
      </pc:sldChg>
      <pc:sldChg chg="add">
        <pc:chgData name="Geir Nordstad" userId="5104b827-e3d0-4dae-99e7-15b02dd2905b" providerId="ADAL" clId="{B4DBC21F-2470-4FDF-A59C-955B12DF83B9}" dt="2022-05-02T17:11:39.650" v="391"/>
        <pc:sldMkLst>
          <pc:docMk/>
          <pc:sldMk cId="2969268878" sldId="26925"/>
        </pc:sldMkLst>
      </pc:sldChg>
      <pc:sldChg chg="add">
        <pc:chgData name="Geir Nordstad" userId="5104b827-e3d0-4dae-99e7-15b02dd2905b" providerId="ADAL" clId="{B4DBC21F-2470-4FDF-A59C-955B12DF83B9}" dt="2022-05-02T17:11:39.650" v="391"/>
        <pc:sldMkLst>
          <pc:docMk/>
          <pc:sldMk cId="1797016773" sldId="26933"/>
        </pc:sldMkLst>
      </pc:sldChg>
      <pc:sldChg chg="add">
        <pc:chgData name="Geir Nordstad" userId="5104b827-e3d0-4dae-99e7-15b02dd2905b" providerId="ADAL" clId="{B4DBC21F-2470-4FDF-A59C-955B12DF83B9}" dt="2022-05-02T17:11:39.650" v="391"/>
        <pc:sldMkLst>
          <pc:docMk/>
          <pc:sldMk cId="3273258340" sldId="26992"/>
        </pc:sldMkLst>
      </pc:sldChg>
      <pc:sldChg chg="add del">
        <pc:chgData name="Geir Nordstad" userId="5104b827-e3d0-4dae-99e7-15b02dd2905b" providerId="ADAL" clId="{B4DBC21F-2470-4FDF-A59C-955B12DF83B9}" dt="2022-05-02T17:24:50.116" v="418" actId="47"/>
        <pc:sldMkLst>
          <pc:docMk/>
          <pc:sldMk cId="2920394324" sldId="26999"/>
        </pc:sldMkLst>
      </pc:sldChg>
      <pc:sldChg chg="add">
        <pc:chgData name="Geir Nordstad" userId="5104b827-e3d0-4dae-99e7-15b02dd2905b" providerId="ADAL" clId="{B4DBC21F-2470-4FDF-A59C-955B12DF83B9}" dt="2022-05-02T17:11:39.650" v="391"/>
        <pc:sldMkLst>
          <pc:docMk/>
          <pc:sldMk cId="763812076" sldId="27000"/>
        </pc:sldMkLst>
      </pc:sldChg>
      <pc:sldChg chg="modSp add mod">
        <pc:chgData name="Geir Nordstad" userId="5104b827-e3d0-4dae-99e7-15b02dd2905b" providerId="ADAL" clId="{B4DBC21F-2470-4FDF-A59C-955B12DF83B9}" dt="2022-05-03T17:04:26.202" v="1577" actId="1036"/>
        <pc:sldMkLst>
          <pc:docMk/>
          <pc:sldMk cId="613825266" sldId="27053"/>
        </pc:sldMkLst>
        <pc:spChg chg="mod">
          <ac:chgData name="Geir Nordstad" userId="5104b827-e3d0-4dae-99e7-15b02dd2905b" providerId="ADAL" clId="{B4DBC21F-2470-4FDF-A59C-955B12DF83B9}" dt="2022-05-03T17:04:22.276" v="1576" actId="207"/>
          <ac:spMkLst>
            <pc:docMk/>
            <pc:sldMk cId="613825266" sldId="27053"/>
            <ac:spMk id="40" creationId="{92621CFF-E107-4F45-A992-1B22FA4209E5}"/>
          </ac:spMkLst>
        </pc:spChg>
        <pc:spChg chg="mod">
          <ac:chgData name="Geir Nordstad" userId="5104b827-e3d0-4dae-99e7-15b02dd2905b" providerId="ADAL" clId="{B4DBC21F-2470-4FDF-A59C-955B12DF83B9}" dt="2022-05-03T17:04:26.202" v="1577" actId="1036"/>
          <ac:spMkLst>
            <pc:docMk/>
            <pc:sldMk cId="613825266" sldId="27053"/>
            <ac:spMk id="43" creationId="{DAC7F607-2AD5-4781-ADBE-2BB02D84F470}"/>
          </ac:spMkLst>
        </pc:spChg>
      </pc:sldChg>
      <pc:sldChg chg="add">
        <pc:chgData name="Geir Nordstad" userId="5104b827-e3d0-4dae-99e7-15b02dd2905b" providerId="ADAL" clId="{B4DBC21F-2470-4FDF-A59C-955B12DF83B9}" dt="2022-05-02T17:31:25.630" v="419"/>
        <pc:sldMkLst>
          <pc:docMk/>
          <pc:sldMk cId="3356086078" sldId="27152"/>
        </pc:sldMkLst>
      </pc:sldChg>
      <pc:sldChg chg="modSp add mod">
        <pc:chgData name="Geir Nordstad" userId="5104b827-e3d0-4dae-99e7-15b02dd2905b" providerId="ADAL" clId="{B4DBC21F-2470-4FDF-A59C-955B12DF83B9}" dt="2022-05-03T17:07:22.635" v="1578" actId="1076"/>
        <pc:sldMkLst>
          <pc:docMk/>
          <pc:sldMk cId="3532685509" sldId="27171"/>
        </pc:sldMkLst>
        <pc:picChg chg="mod">
          <ac:chgData name="Geir Nordstad" userId="5104b827-e3d0-4dae-99e7-15b02dd2905b" providerId="ADAL" clId="{B4DBC21F-2470-4FDF-A59C-955B12DF83B9}" dt="2022-05-03T17:07:22.635" v="1578" actId="1076"/>
          <ac:picMkLst>
            <pc:docMk/>
            <pc:sldMk cId="3532685509" sldId="27171"/>
            <ac:picMk id="3" creationId="{34E4D922-9C41-4DCF-9999-101009CB81F6}"/>
          </ac:picMkLst>
        </pc:picChg>
      </pc:sldChg>
      <pc:sldChg chg="add">
        <pc:chgData name="Geir Nordstad" userId="5104b827-e3d0-4dae-99e7-15b02dd2905b" providerId="ADAL" clId="{B4DBC21F-2470-4FDF-A59C-955B12DF83B9}" dt="2022-05-02T17:31:25.630" v="419"/>
        <pc:sldMkLst>
          <pc:docMk/>
          <pc:sldMk cId="2705293914" sldId="27176"/>
        </pc:sldMkLst>
      </pc:sldChg>
      <pc:sldChg chg="add">
        <pc:chgData name="Geir Nordstad" userId="5104b827-e3d0-4dae-99e7-15b02dd2905b" providerId="ADAL" clId="{B4DBC21F-2470-4FDF-A59C-955B12DF83B9}" dt="2022-05-02T17:31:25.630" v="419"/>
        <pc:sldMkLst>
          <pc:docMk/>
          <pc:sldMk cId="2599534606" sldId="27177"/>
        </pc:sldMkLst>
      </pc:sldChg>
      <pc:sldChg chg="add">
        <pc:chgData name="Geir Nordstad" userId="5104b827-e3d0-4dae-99e7-15b02dd2905b" providerId="ADAL" clId="{B4DBC21F-2470-4FDF-A59C-955B12DF83B9}" dt="2022-05-02T17:31:25.630" v="419"/>
        <pc:sldMkLst>
          <pc:docMk/>
          <pc:sldMk cId="107814239" sldId="27178"/>
        </pc:sldMkLst>
      </pc:sldChg>
      <pc:sldChg chg="add">
        <pc:chgData name="Geir Nordstad" userId="5104b827-e3d0-4dae-99e7-15b02dd2905b" providerId="ADAL" clId="{B4DBC21F-2470-4FDF-A59C-955B12DF83B9}" dt="2022-05-02T17:31:25.630" v="419"/>
        <pc:sldMkLst>
          <pc:docMk/>
          <pc:sldMk cId="2857787926" sldId="27179"/>
        </pc:sldMkLst>
      </pc:sldChg>
      <pc:sldChg chg="add">
        <pc:chgData name="Geir Nordstad" userId="5104b827-e3d0-4dae-99e7-15b02dd2905b" providerId="ADAL" clId="{B4DBC21F-2470-4FDF-A59C-955B12DF83B9}" dt="2022-05-02T17:31:25.630" v="419"/>
        <pc:sldMkLst>
          <pc:docMk/>
          <pc:sldMk cId="2391443334" sldId="27180"/>
        </pc:sldMkLst>
      </pc:sldChg>
      <pc:sldChg chg="add del">
        <pc:chgData name="Geir Nordstad" userId="5104b827-e3d0-4dae-99e7-15b02dd2905b" providerId="ADAL" clId="{B4DBC21F-2470-4FDF-A59C-955B12DF83B9}" dt="2022-05-02T18:00:35.940" v="427" actId="47"/>
        <pc:sldMkLst>
          <pc:docMk/>
          <pc:sldMk cId="324218883" sldId="27181"/>
        </pc:sldMkLst>
      </pc:sldChg>
      <pc:sldChg chg="add del">
        <pc:chgData name="Geir Nordstad" userId="5104b827-e3d0-4dae-99e7-15b02dd2905b" providerId="ADAL" clId="{B4DBC21F-2470-4FDF-A59C-955B12DF83B9}" dt="2022-05-02T18:00:40.206" v="428" actId="47"/>
        <pc:sldMkLst>
          <pc:docMk/>
          <pc:sldMk cId="3566871077" sldId="27183"/>
        </pc:sldMkLst>
      </pc:sldChg>
      <pc:sldChg chg="ord">
        <pc:chgData name="Geir Nordstad" userId="5104b827-e3d0-4dae-99e7-15b02dd2905b" providerId="ADAL" clId="{B4DBC21F-2470-4FDF-A59C-955B12DF83B9}" dt="2022-05-03T07:55:04.751" v="755"/>
        <pc:sldMkLst>
          <pc:docMk/>
          <pc:sldMk cId="2114640603" sldId="2147196188"/>
        </pc:sldMkLst>
      </pc:sldChg>
      <pc:sldChg chg="modSp ord">
        <pc:chgData name="Geir Nordstad" userId="5104b827-e3d0-4dae-99e7-15b02dd2905b" providerId="ADAL" clId="{B4DBC21F-2470-4FDF-A59C-955B12DF83B9}" dt="2022-05-03T12:26:40.133" v="1553" actId="208"/>
        <pc:sldMkLst>
          <pc:docMk/>
          <pc:sldMk cId="2624904205" sldId="2147196189"/>
        </pc:sldMkLst>
        <pc:picChg chg="mod">
          <ac:chgData name="Geir Nordstad" userId="5104b827-e3d0-4dae-99e7-15b02dd2905b" providerId="ADAL" clId="{B4DBC21F-2470-4FDF-A59C-955B12DF83B9}" dt="2022-05-03T12:26:40.133" v="1553" actId="208"/>
          <ac:picMkLst>
            <pc:docMk/>
            <pc:sldMk cId="2624904205" sldId="2147196189"/>
            <ac:picMk id="17" creationId="{4C767A11-35C7-4813-87A6-C6C3A016C137}"/>
          </ac:picMkLst>
        </pc:picChg>
      </pc:sldChg>
      <pc:sldChg chg="modSp mod ord">
        <pc:chgData name="Geir Nordstad" userId="5104b827-e3d0-4dae-99e7-15b02dd2905b" providerId="ADAL" clId="{B4DBC21F-2470-4FDF-A59C-955B12DF83B9}" dt="2022-05-03T12:26:47.997" v="1554" actId="2085"/>
        <pc:sldMkLst>
          <pc:docMk/>
          <pc:sldMk cId="782662090" sldId="2147196190"/>
        </pc:sldMkLst>
        <pc:picChg chg="mod">
          <ac:chgData name="Geir Nordstad" userId="5104b827-e3d0-4dae-99e7-15b02dd2905b" providerId="ADAL" clId="{B4DBC21F-2470-4FDF-A59C-955B12DF83B9}" dt="2022-05-03T12:26:47.997" v="1554" actId="2085"/>
          <ac:picMkLst>
            <pc:docMk/>
            <pc:sldMk cId="782662090" sldId="2147196190"/>
            <ac:picMk id="21" creationId="{8D2121E6-D4E6-4C0C-8344-32693F2E4C3C}"/>
          </ac:picMkLst>
        </pc:picChg>
      </pc:sldChg>
      <pc:sldChg chg="add mod">
        <pc:chgData name="Geir Nordstad" userId="5104b827-e3d0-4dae-99e7-15b02dd2905b" providerId="ADAL" clId="{B4DBC21F-2470-4FDF-A59C-955B12DF83B9}" dt="2022-05-04T08:58:59.492" v="2248" actId="27918"/>
        <pc:sldMkLst>
          <pc:docMk/>
          <pc:sldMk cId="4066663810" sldId="2147196191"/>
        </pc:sldMkLst>
      </pc:sldChg>
      <pc:sldChg chg="add">
        <pc:chgData name="Geir Nordstad" userId="5104b827-e3d0-4dae-99e7-15b02dd2905b" providerId="ADAL" clId="{B4DBC21F-2470-4FDF-A59C-955B12DF83B9}" dt="2022-05-02T16:28:11.858" v="141"/>
        <pc:sldMkLst>
          <pc:docMk/>
          <pc:sldMk cId="2456511476" sldId="2147196194"/>
        </pc:sldMkLst>
      </pc:sldChg>
      <pc:sldChg chg="modSp del mod">
        <pc:chgData name="Geir Nordstad" userId="5104b827-e3d0-4dae-99e7-15b02dd2905b" providerId="ADAL" clId="{B4DBC21F-2470-4FDF-A59C-955B12DF83B9}" dt="2022-05-04T13:06:23.518" v="2520" actId="47"/>
        <pc:sldMkLst>
          <pc:docMk/>
          <pc:sldMk cId="1528708216" sldId="2147196200"/>
        </pc:sldMkLst>
        <pc:spChg chg="mod">
          <ac:chgData name="Geir Nordstad" userId="5104b827-e3d0-4dae-99e7-15b02dd2905b" providerId="ADAL" clId="{B4DBC21F-2470-4FDF-A59C-955B12DF83B9}" dt="2022-05-03T08:26:28.053" v="1541" actId="6549"/>
          <ac:spMkLst>
            <pc:docMk/>
            <pc:sldMk cId="1528708216" sldId="2147196200"/>
            <ac:spMk id="34" creationId="{476F891B-B5A6-4A05-BA4F-DE4B89EFA002}"/>
          </ac:spMkLst>
        </pc:spChg>
      </pc:sldChg>
      <pc:sldChg chg="addSp delSp modSp del mod">
        <pc:chgData name="Geir Nordstad" userId="5104b827-e3d0-4dae-99e7-15b02dd2905b" providerId="ADAL" clId="{B4DBC21F-2470-4FDF-A59C-955B12DF83B9}" dt="2022-05-04T12:08:39.797" v="2267" actId="47"/>
        <pc:sldMkLst>
          <pc:docMk/>
          <pc:sldMk cId="768496380" sldId="2147196203"/>
        </pc:sldMkLst>
        <pc:spChg chg="mod">
          <ac:chgData name="Geir Nordstad" userId="5104b827-e3d0-4dae-99e7-15b02dd2905b" providerId="ADAL" clId="{B4DBC21F-2470-4FDF-A59C-955B12DF83B9}" dt="2022-05-03T18:30:51.950" v="2070" actId="20577"/>
          <ac:spMkLst>
            <pc:docMk/>
            <pc:sldMk cId="768496380" sldId="2147196203"/>
            <ac:spMk id="2" creationId="{00000000-0000-0000-0000-000000000000}"/>
          </ac:spMkLst>
        </pc:spChg>
        <pc:spChg chg="mod">
          <ac:chgData name="Geir Nordstad" userId="5104b827-e3d0-4dae-99e7-15b02dd2905b" providerId="ADAL" clId="{B4DBC21F-2470-4FDF-A59C-955B12DF83B9}" dt="2022-05-02T16:13:56.583" v="139" actId="1076"/>
          <ac:spMkLst>
            <pc:docMk/>
            <pc:sldMk cId="768496380" sldId="2147196203"/>
            <ac:spMk id="3" creationId="{00000000-0000-0000-0000-000000000000}"/>
          </ac:spMkLst>
        </pc:spChg>
        <pc:spChg chg="del">
          <ac:chgData name="Geir Nordstad" userId="5104b827-e3d0-4dae-99e7-15b02dd2905b" providerId="ADAL" clId="{B4DBC21F-2470-4FDF-A59C-955B12DF83B9}" dt="2022-05-03T18:39:11.022" v="2086" actId="478"/>
          <ac:spMkLst>
            <pc:docMk/>
            <pc:sldMk cId="768496380" sldId="2147196203"/>
            <ac:spMk id="10" creationId="{BB355196-F804-9099-1DA0-18B7D13A4920}"/>
          </ac:spMkLst>
        </pc:spChg>
        <pc:spChg chg="add mod">
          <ac:chgData name="Geir Nordstad" userId="5104b827-e3d0-4dae-99e7-15b02dd2905b" providerId="ADAL" clId="{B4DBC21F-2470-4FDF-A59C-955B12DF83B9}" dt="2022-05-03T18:39:06.883" v="2085"/>
          <ac:spMkLst>
            <pc:docMk/>
            <pc:sldMk cId="768496380" sldId="2147196203"/>
            <ac:spMk id="12" creationId="{882C25EA-2902-D59E-894F-9C1B259CE423}"/>
          </ac:spMkLst>
        </pc:spChg>
      </pc:sldChg>
      <pc:sldChg chg="modSp del mod">
        <pc:chgData name="Geir Nordstad" userId="5104b827-e3d0-4dae-99e7-15b02dd2905b" providerId="ADAL" clId="{B4DBC21F-2470-4FDF-A59C-955B12DF83B9}" dt="2022-05-03T18:41:28.259" v="2089" actId="47"/>
        <pc:sldMkLst>
          <pc:docMk/>
          <pc:sldMk cId="1324509074" sldId="2147196204"/>
        </pc:sldMkLst>
        <pc:spChg chg="mod">
          <ac:chgData name="Geir Nordstad" userId="5104b827-e3d0-4dae-99e7-15b02dd2905b" providerId="ADAL" clId="{B4DBC21F-2470-4FDF-A59C-955B12DF83B9}" dt="2022-05-03T12:16:38.179" v="1552" actId="255"/>
          <ac:spMkLst>
            <pc:docMk/>
            <pc:sldMk cId="1324509074" sldId="2147196204"/>
            <ac:spMk id="2" creationId="{DF5F7E0C-B02D-0DCC-34FB-9AE9BEF1F665}"/>
          </ac:spMkLst>
        </pc:spChg>
        <pc:spChg chg="mod">
          <ac:chgData name="Geir Nordstad" userId="5104b827-e3d0-4dae-99e7-15b02dd2905b" providerId="ADAL" clId="{B4DBC21F-2470-4FDF-A59C-955B12DF83B9}" dt="2022-05-03T08:20:49.380" v="1184" actId="6549"/>
          <ac:spMkLst>
            <pc:docMk/>
            <pc:sldMk cId="1324509074" sldId="2147196204"/>
            <ac:spMk id="22" creationId="{E316BF56-2A87-42BD-8307-2EA6B45E5B72}"/>
          </ac:spMkLst>
        </pc:spChg>
        <pc:spChg chg="mod">
          <ac:chgData name="Geir Nordstad" userId="5104b827-e3d0-4dae-99e7-15b02dd2905b" providerId="ADAL" clId="{B4DBC21F-2470-4FDF-A59C-955B12DF83B9}" dt="2022-05-02T16:31:02.371" v="147" actId="20577"/>
          <ac:spMkLst>
            <pc:docMk/>
            <pc:sldMk cId="1324509074" sldId="2147196204"/>
            <ac:spMk id="64" creationId="{EC5F1702-0421-4D60-830E-0954E4C90901}"/>
          </ac:spMkLst>
        </pc:spChg>
      </pc:sldChg>
      <pc:sldChg chg="addSp delSp modSp add del mod">
        <pc:chgData name="Geir Nordstad" userId="5104b827-e3d0-4dae-99e7-15b02dd2905b" providerId="ADAL" clId="{B4DBC21F-2470-4FDF-A59C-955B12DF83B9}" dt="2022-05-04T12:24:27.247" v="2305" actId="47"/>
        <pc:sldMkLst>
          <pc:docMk/>
          <pc:sldMk cId="648490563" sldId="2147196207"/>
        </pc:sldMkLst>
        <pc:spChg chg="mod">
          <ac:chgData name="Geir Nordstad" userId="5104b827-e3d0-4dae-99e7-15b02dd2905b" providerId="ADAL" clId="{B4DBC21F-2470-4FDF-A59C-955B12DF83B9}" dt="2022-05-03T07:56:38.762" v="824" actId="20577"/>
          <ac:spMkLst>
            <pc:docMk/>
            <pc:sldMk cId="648490563" sldId="2147196207"/>
            <ac:spMk id="31" creationId="{C692D4E1-AD4D-4373-8B4D-465CF75A4D1A}"/>
          </ac:spMkLst>
        </pc:spChg>
        <pc:cxnChg chg="add del">
          <ac:chgData name="Geir Nordstad" userId="5104b827-e3d0-4dae-99e7-15b02dd2905b" providerId="ADAL" clId="{B4DBC21F-2470-4FDF-A59C-955B12DF83B9}" dt="2022-05-04T12:22:44.959" v="2301" actId="478"/>
          <ac:cxnSpMkLst>
            <pc:docMk/>
            <pc:sldMk cId="648490563" sldId="2147196207"/>
            <ac:cxnSpMk id="37" creationId="{54CA5088-C6F7-4585-9DB4-C0D914637428}"/>
          </ac:cxnSpMkLst>
        </pc:cxnChg>
        <pc:cxnChg chg="add del">
          <ac:chgData name="Geir Nordstad" userId="5104b827-e3d0-4dae-99e7-15b02dd2905b" providerId="ADAL" clId="{B4DBC21F-2470-4FDF-A59C-955B12DF83B9}" dt="2022-05-04T12:22:44.336" v="2300" actId="478"/>
          <ac:cxnSpMkLst>
            <pc:docMk/>
            <pc:sldMk cId="648490563" sldId="2147196207"/>
            <ac:cxnSpMk id="41" creationId="{C3DD2C20-4A55-4105-A64C-42D94D0CDECC}"/>
          </ac:cxnSpMkLst>
        </pc:cxnChg>
      </pc:sldChg>
      <pc:sldChg chg="addSp delSp modSp mod">
        <pc:chgData name="Geir Nordstad" userId="5104b827-e3d0-4dae-99e7-15b02dd2905b" providerId="ADAL" clId="{B4DBC21F-2470-4FDF-A59C-955B12DF83B9}" dt="2022-05-04T12:37:23.195" v="2510" actId="1076"/>
        <pc:sldMkLst>
          <pc:docMk/>
          <pc:sldMk cId="498108127" sldId="2147196208"/>
        </pc:sldMkLst>
        <pc:spChg chg="mod">
          <ac:chgData name="Geir Nordstad" userId="5104b827-e3d0-4dae-99e7-15b02dd2905b" providerId="ADAL" clId="{B4DBC21F-2470-4FDF-A59C-955B12DF83B9}" dt="2022-05-04T12:37:23.195" v="2510" actId="1076"/>
          <ac:spMkLst>
            <pc:docMk/>
            <pc:sldMk cId="498108127" sldId="2147196208"/>
            <ac:spMk id="7" creationId="{7C4F2F4C-C25F-4B29-B826-1F6AD4C64F68}"/>
          </ac:spMkLst>
        </pc:spChg>
        <pc:spChg chg="add mod">
          <ac:chgData name="Geir Nordstad" userId="5104b827-e3d0-4dae-99e7-15b02dd2905b" providerId="ADAL" clId="{B4DBC21F-2470-4FDF-A59C-955B12DF83B9}" dt="2022-05-04T12:36:47.782" v="2509" actId="20577"/>
          <ac:spMkLst>
            <pc:docMk/>
            <pc:sldMk cId="498108127" sldId="2147196208"/>
            <ac:spMk id="12" creationId="{B4C495C1-5FF7-1D57-0983-318788187D31}"/>
          </ac:spMkLst>
        </pc:spChg>
        <pc:spChg chg="mod">
          <ac:chgData name="Geir Nordstad" userId="5104b827-e3d0-4dae-99e7-15b02dd2905b" providerId="ADAL" clId="{B4DBC21F-2470-4FDF-A59C-955B12DF83B9}" dt="2022-05-04T12:37:23.195" v="2510" actId="1076"/>
          <ac:spMkLst>
            <pc:docMk/>
            <pc:sldMk cId="498108127" sldId="2147196208"/>
            <ac:spMk id="13" creationId="{279FB8AD-4DDC-4C84-BE7F-D6DC68A28EA2}"/>
          </ac:spMkLst>
        </pc:spChg>
        <pc:spChg chg="mod">
          <ac:chgData name="Geir Nordstad" userId="5104b827-e3d0-4dae-99e7-15b02dd2905b" providerId="ADAL" clId="{B4DBC21F-2470-4FDF-A59C-955B12DF83B9}" dt="2022-05-03T08:03:20.321" v="971" actId="255"/>
          <ac:spMkLst>
            <pc:docMk/>
            <pc:sldMk cId="498108127" sldId="2147196208"/>
            <ac:spMk id="23" creationId="{730753E9-0BC9-4D3D-AA10-1C54159585F4}"/>
          </ac:spMkLst>
        </pc:spChg>
        <pc:spChg chg="mod">
          <ac:chgData name="Geir Nordstad" userId="5104b827-e3d0-4dae-99e7-15b02dd2905b" providerId="ADAL" clId="{B4DBC21F-2470-4FDF-A59C-955B12DF83B9}" dt="2022-05-03T08:04:20.057" v="1025" actId="20577"/>
          <ac:spMkLst>
            <pc:docMk/>
            <pc:sldMk cId="498108127" sldId="2147196208"/>
            <ac:spMk id="31" creationId="{C692D4E1-AD4D-4373-8B4D-465CF75A4D1A}"/>
          </ac:spMkLst>
        </pc:spChg>
        <pc:cxnChg chg="del">
          <ac:chgData name="Geir Nordstad" userId="5104b827-e3d0-4dae-99e7-15b02dd2905b" providerId="ADAL" clId="{B4DBC21F-2470-4FDF-A59C-955B12DF83B9}" dt="2022-05-03T08:02:39.290" v="965" actId="478"/>
          <ac:cxnSpMkLst>
            <pc:docMk/>
            <pc:sldMk cId="498108127" sldId="2147196208"/>
            <ac:cxnSpMk id="12" creationId="{472C9B95-DB97-4101-AFBD-025979E0F91E}"/>
          </ac:cxnSpMkLst>
        </pc:cxnChg>
        <pc:cxnChg chg="del">
          <ac:chgData name="Geir Nordstad" userId="5104b827-e3d0-4dae-99e7-15b02dd2905b" providerId="ADAL" clId="{B4DBC21F-2470-4FDF-A59C-955B12DF83B9}" dt="2022-05-03T08:02:55.793" v="968" actId="478"/>
          <ac:cxnSpMkLst>
            <pc:docMk/>
            <pc:sldMk cId="498108127" sldId="2147196208"/>
            <ac:cxnSpMk id="22" creationId="{EA72E233-D022-41D6-B9E4-59764E89F461}"/>
          </ac:cxnSpMkLst>
        </pc:cxnChg>
      </pc:sldChg>
      <pc:sldChg chg="modSp mod ord">
        <pc:chgData name="Geir Nordstad" userId="5104b827-e3d0-4dae-99e7-15b02dd2905b" providerId="ADAL" clId="{B4DBC21F-2470-4FDF-A59C-955B12DF83B9}" dt="2022-05-04T14:41:19.506" v="3570"/>
        <pc:sldMkLst>
          <pc:docMk/>
          <pc:sldMk cId="1002292167" sldId="2147196210"/>
        </pc:sldMkLst>
        <pc:spChg chg="mod">
          <ac:chgData name="Geir Nordstad" userId="5104b827-e3d0-4dae-99e7-15b02dd2905b" providerId="ADAL" clId="{B4DBC21F-2470-4FDF-A59C-955B12DF83B9}" dt="2022-05-03T07:58:36.085" v="946" actId="1076"/>
          <ac:spMkLst>
            <pc:docMk/>
            <pc:sldMk cId="1002292167" sldId="2147196210"/>
            <ac:spMk id="26" creationId="{7D6DA938-2294-487C-81AA-1345BB48C76A}"/>
          </ac:spMkLst>
        </pc:spChg>
        <pc:spChg chg="mod">
          <ac:chgData name="Geir Nordstad" userId="5104b827-e3d0-4dae-99e7-15b02dd2905b" providerId="ADAL" clId="{B4DBC21F-2470-4FDF-A59C-955B12DF83B9}" dt="2022-05-03T07:57:36.544" v="934" actId="6549"/>
          <ac:spMkLst>
            <pc:docMk/>
            <pc:sldMk cId="1002292167" sldId="2147196210"/>
            <ac:spMk id="31" creationId="{C692D4E1-AD4D-4373-8B4D-465CF75A4D1A}"/>
          </ac:spMkLst>
        </pc:spChg>
        <pc:picChg chg="mod">
          <ac:chgData name="Geir Nordstad" userId="5104b827-e3d0-4dae-99e7-15b02dd2905b" providerId="ADAL" clId="{B4DBC21F-2470-4FDF-A59C-955B12DF83B9}" dt="2022-05-03T07:58:39.033" v="947" actId="1076"/>
          <ac:picMkLst>
            <pc:docMk/>
            <pc:sldMk cId="1002292167" sldId="2147196210"/>
            <ac:picMk id="10" creationId="{01734EC1-A497-4BF0-8131-2BA9F9D07DFB}"/>
          </ac:picMkLst>
        </pc:picChg>
        <pc:picChg chg="mod">
          <ac:chgData name="Geir Nordstad" userId="5104b827-e3d0-4dae-99e7-15b02dd2905b" providerId="ADAL" clId="{B4DBC21F-2470-4FDF-A59C-955B12DF83B9}" dt="2022-05-03T07:58:41.712" v="948" actId="1076"/>
          <ac:picMkLst>
            <pc:docMk/>
            <pc:sldMk cId="1002292167" sldId="2147196210"/>
            <ac:picMk id="25608" creationId="{7A294B63-D1DC-402D-98DE-8FDFC29C3D85}"/>
          </ac:picMkLst>
        </pc:picChg>
      </pc:sldChg>
      <pc:sldChg chg="del">
        <pc:chgData name="Geir Nordstad" userId="5104b827-e3d0-4dae-99e7-15b02dd2905b" providerId="ADAL" clId="{B4DBC21F-2470-4FDF-A59C-955B12DF83B9}" dt="2022-05-02T17:00:41.899" v="300" actId="47"/>
        <pc:sldMkLst>
          <pc:docMk/>
          <pc:sldMk cId="4292719905" sldId="2147196212"/>
        </pc:sldMkLst>
      </pc:sldChg>
      <pc:sldChg chg="modSp del mod">
        <pc:chgData name="Geir Nordstad" userId="5104b827-e3d0-4dae-99e7-15b02dd2905b" providerId="ADAL" clId="{B4DBC21F-2470-4FDF-A59C-955B12DF83B9}" dt="2022-05-03T12:03:12.329" v="1546" actId="47"/>
        <pc:sldMkLst>
          <pc:docMk/>
          <pc:sldMk cId="2769529924" sldId="2147196213"/>
        </pc:sldMkLst>
        <pc:spChg chg="mod">
          <ac:chgData name="Geir Nordstad" userId="5104b827-e3d0-4dae-99e7-15b02dd2905b" providerId="ADAL" clId="{B4DBC21F-2470-4FDF-A59C-955B12DF83B9}" dt="2022-05-03T08:22:26.589" v="1262" actId="6549"/>
          <ac:spMkLst>
            <pc:docMk/>
            <pc:sldMk cId="2769529924" sldId="2147196213"/>
            <ac:spMk id="31" creationId="{C692D4E1-AD4D-4373-8B4D-465CF75A4D1A}"/>
          </ac:spMkLst>
        </pc:spChg>
      </pc:sldChg>
      <pc:sldChg chg="delSp modSp del mod ord">
        <pc:chgData name="Geir Nordstad" userId="5104b827-e3d0-4dae-99e7-15b02dd2905b" providerId="ADAL" clId="{B4DBC21F-2470-4FDF-A59C-955B12DF83B9}" dt="2022-05-04T14:30:45.956" v="3567" actId="47"/>
        <pc:sldMkLst>
          <pc:docMk/>
          <pc:sldMk cId="301597509" sldId="2147196214"/>
        </pc:sldMkLst>
        <pc:spChg chg="mod">
          <ac:chgData name="Geir Nordstad" userId="5104b827-e3d0-4dae-99e7-15b02dd2905b" providerId="ADAL" clId="{B4DBC21F-2470-4FDF-A59C-955B12DF83B9}" dt="2022-05-04T13:39:20.434" v="2710" actId="20577"/>
          <ac:spMkLst>
            <pc:docMk/>
            <pc:sldMk cId="301597509" sldId="2147196214"/>
            <ac:spMk id="10" creationId="{1EF40B98-EADF-4A3B-9B26-00BA20CF4DFA}"/>
          </ac:spMkLst>
        </pc:spChg>
        <pc:spChg chg="mod">
          <ac:chgData name="Geir Nordstad" userId="5104b827-e3d0-4dae-99e7-15b02dd2905b" providerId="ADAL" clId="{B4DBC21F-2470-4FDF-A59C-955B12DF83B9}" dt="2022-05-03T08:21:32.524" v="1230" actId="6549"/>
          <ac:spMkLst>
            <pc:docMk/>
            <pc:sldMk cId="301597509" sldId="2147196214"/>
            <ac:spMk id="31" creationId="{C692D4E1-AD4D-4373-8B4D-465CF75A4D1A}"/>
          </ac:spMkLst>
        </pc:spChg>
        <pc:picChg chg="del">
          <ac:chgData name="Geir Nordstad" userId="5104b827-e3d0-4dae-99e7-15b02dd2905b" providerId="ADAL" clId="{B4DBC21F-2470-4FDF-A59C-955B12DF83B9}" dt="2022-05-04T13:37:27.519" v="2573" actId="478"/>
          <ac:picMkLst>
            <pc:docMk/>
            <pc:sldMk cId="301597509" sldId="2147196214"/>
            <ac:picMk id="11" creationId="{A6546746-DDEC-4E8F-9FEC-60B057ACD5F4}"/>
          </ac:picMkLst>
        </pc:picChg>
      </pc:sldChg>
      <pc:sldChg chg="addSp delSp modSp mod ord">
        <pc:chgData name="Geir Nordstad" userId="5104b827-e3d0-4dae-99e7-15b02dd2905b" providerId="ADAL" clId="{B4DBC21F-2470-4FDF-A59C-955B12DF83B9}" dt="2022-05-03T12:39:02.335" v="1563" actId="27918"/>
        <pc:sldMkLst>
          <pc:docMk/>
          <pc:sldMk cId="2808503116" sldId="2147196215"/>
        </pc:sldMkLst>
        <pc:spChg chg="del">
          <ac:chgData name="Geir Nordstad" userId="5104b827-e3d0-4dae-99e7-15b02dd2905b" providerId="ADAL" clId="{B4DBC21F-2470-4FDF-A59C-955B12DF83B9}" dt="2022-05-02T16:39:17.146" v="158" actId="478"/>
          <ac:spMkLst>
            <pc:docMk/>
            <pc:sldMk cId="2808503116" sldId="2147196215"/>
            <ac:spMk id="2" creationId="{4ABA3586-3D1E-5954-5DEA-4A9B61DA3AE0}"/>
          </ac:spMkLst>
        </pc:spChg>
        <pc:spChg chg="add mod">
          <ac:chgData name="Geir Nordstad" userId="5104b827-e3d0-4dae-99e7-15b02dd2905b" providerId="ADAL" clId="{B4DBC21F-2470-4FDF-A59C-955B12DF83B9}" dt="2022-05-03T12:33:13.127" v="1556" actId="1076"/>
          <ac:spMkLst>
            <pc:docMk/>
            <pc:sldMk cId="2808503116" sldId="2147196215"/>
            <ac:spMk id="11" creationId="{8A0A9B99-4738-2035-94A1-C817D78A1E01}"/>
          </ac:spMkLst>
        </pc:spChg>
        <pc:spChg chg="mod">
          <ac:chgData name="Geir Nordstad" userId="5104b827-e3d0-4dae-99e7-15b02dd2905b" providerId="ADAL" clId="{B4DBC21F-2470-4FDF-A59C-955B12DF83B9}" dt="2022-05-03T08:21:18.988" v="1206" actId="20577"/>
          <ac:spMkLst>
            <pc:docMk/>
            <pc:sldMk cId="2808503116" sldId="2147196215"/>
            <ac:spMk id="31" creationId="{C692D4E1-AD4D-4373-8B4D-465CF75A4D1A}"/>
          </ac:spMkLst>
        </pc:spChg>
      </pc:sldChg>
      <pc:sldChg chg="del">
        <pc:chgData name="Geir Nordstad" userId="5104b827-e3d0-4dae-99e7-15b02dd2905b" providerId="ADAL" clId="{B4DBC21F-2470-4FDF-A59C-955B12DF83B9}" dt="2022-05-02T16:28:15.486" v="142" actId="47"/>
        <pc:sldMkLst>
          <pc:docMk/>
          <pc:sldMk cId="2111843527" sldId="2147196216"/>
        </pc:sldMkLst>
      </pc:sldChg>
      <pc:sldChg chg="del">
        <pc:chgData name="Geir Nordstad" userId="5104b827-e3d0-4dae-99e7-15b02dd2905b" providerId="ADAL" clId="{B4DBC21F-2470-4FDF-A59C-955B12DF83B9}" dt="2022-05-02T16:28:21.064" v="143" actId="47"/>
        <pc:sldMkLst>
          <pc:docMk/>
          <pc:sldMk cId="1408094819" sldId="2147196217"/>
        </pc:sldMkLst>
      </pc:sldChg>
      <pc:sldChg chg="del">
        <pc:chgData name="Geir Nordstad" userId="5104b827-e3d0-4dae-99e7-15b02dd2905b" providerId="ADAL" clId="{B4DBC21F-2470-4FDF-A59C-955B12DF83B9}" dt="2022-05-02T16:49:50.403" v="222" actId="47"/>
        <pc:sldMkLst>
          <pc:docMk/>
          <pc:sldMk cId="1666900345" sldId="2147196218"/>
        </pc:sldMkLst>
      </pc:sldChg>
      <pc:sldChg chg="del">
        <pc:chgData name="Geir Nordstad" userId="5104b827-e3d0-4dae-99e7-15b02dd2905b" providerId="ADAL" clId="{B4DBC21F-2470-4FDF-A59C-955B12DF83B9}" dt="2022-05-02T16:50:09.052" v="223" actId="47"/>
        <pc:sldMkLst>
          <pc:docMk/>
          <pc:sldMk cId="130825800" sldId="2147196221"/>
        </pc:sldMkLst>
      </pc:sldChg>
      <pc:sldChg chg="del">
        <pc:chgData name="Geir Nordstad" userId="5104b827-e3d0-4dae-99e7-15b02dd2905b" providerId="ADAL" clId="{B4DBC21F-2470-4FDF-A59C-955B12DF83B9}" dt="2022-05-02T16:50:11.497" v="224" actId="47"/>
        <pc:sldMkLst>
          <pc:docMk/>
          <pc:sldMk cId="1950087777" sldId="2147196222"/>
        </pc:sldMkLst>
      </pc:sldChg>
      <pc:sldChg chg="del">
        <pc:chgData name="Geir Nordstad" userId="5104b827-e3d0-4dae-99e7-15b02dd2905b" providerId="ADAL" clId="{B4DBC21F-2470-4FDF-A59C-955B12DF83B9}" dt="2022-05-02T16:50:37.105" v="228" actId="47"/>
        <pc:sldMkLst>
          <pc:docMk/>
          <pc:sldMk cId="3674155204" sldId="2147196223"/>
        </pc:sldMkLst>
      </pc:sldChg>
      <pc:sldChg chg="del">
        <pc:chgData name="Geir Nordstad" userId="5104b827-e3d0-4dae-99e7-15b02dd2905b" providerId="ADAL" clId="{B4DBC21F-2470-4FDF-A59C-955B12DF83B9}" dt="2022-05-02T16:51:21.919" v="233" actId="47"/>
        <pc:sldMkLst>
          <pc:docMk/>
          <pc:sldMk cId="3478150113" sldId="2147196224"/>
        </pc:sldMkLst>
      </pc:sldChg>
      <pc:sldChg chg="add del">
        <pc:chgData name="Geir Nordstad" userId="5104b827-e3d0-4dae-99e7-15b02dd2905b" providerId="ADAL" clId="{B4DBC21F-2470-4FDF-A59C-955B12DF83B9}" dt="2022-05-02T18:20:54.114" v="453"/>
        <pc:sldMkLst>
          <pc:docMk/>
          <pc:sldMk cId="4122810837" sldId="2147196226"/>
        </pc:sldMkLst>
      </pc:sldChg>
      <pc:sldChg chg="del">
        <pc:chgData name="Geir Nordstad" userId="5104b827-e3d0-4dae-99e7-15b02dd2905b" providerId="ADAL" clId="{B4DBC21F-2470-4FDF-A59C-955B12DF83B9}" dt="2022-05-02T16:51:30.974" v="236" actId="47"/>
        <pc:sldMkLst>
          <pc:docMk/>
          <pc:sldMk cId="521780835" sldId="2147196227"/>
        </pc:sldMkLst>
      </pc:sldChg>
      <pc:sldChg chg="del">
        <pc:chgData name="Geir Nordstad" userId="5104b827-e3d0-4dae-99e7-15b02dd2905b" providerId="ADAL" clId="{B4DBC21F-2470-4FDF-A59C-955B12DF83B9}" dt="2022-05-02T16:51:34.348" v="238" actId="47"/>
        <pc:sldMkLst>
          <pc:docMk/>
          <pc:sldMk cId="116538608" sldId="2147196228"/>
        </pc:sldMkLst>
      </pc:sldChg>
      <pc:sldChg chg="del">
        <pc:chgData name="Geir Nordstad" userId="5104b827-e3d0-4dae-99e7-15b02dd2905b" providerId="ADAL" clId="{B4DBC21F-2470-4FDF-A59C-955B12DF83B9}" dt="2022-05-02T16:51:38.014" v="240" actId="47"/>
        <pc:sldMkLst>
          <pc:docMk/>
          <pc:sldMk cId="4140028381" sldId="2147196229"/>
        </pc:sldMkLst>
      </pc:sldChg>
      <pc:sldChg chg="del">
        <pc:chgData name="Geir Nordstad" userId="5104b827-e3d0-4dae-99e7-15b02dd2905b" providerId="ADAL" clId="{B4DBC21F-2470-4FDF-A59C-955B12DF83B9}" dt="2022-05-02T16:50:22.300" v="225" actId="47"/>
        <pc:sldMkLst>
          <pc:docMk/>
          <pc:sldMk cId="1115513394" sldId="2147196231"/>
        </pc:sldMkLst>
      </pc:sldChg>
      <pc:sldChg chg="del">
        <pc:chgData name="Geir Nordstad" userId="5104b827-e3d0-4dae-99e7-15b02dd2905b" providerId="ADAL" clId="{B4DBC21F-2470-4FDF-A59C-955B12DF83B9}" dt="2022-05-04T14:05:10.756" v="3560" actId="47"/>
        <pc:sldMkLst>
          <pc:docMk/>
          <pc:sldMk cId="4210096822" sldId="2147196233"/>
        </pc:sldMkLst>
      </pc:sldChg>
      <pc:sldChg chg="del">
        <pc:chgData name="Geir Nordstad" userId="5104b827-e3d0-4dae-99e7-15b02dd2905b" providerId="ADAL" clId="{B4DBC21F-2470-4FDF-A59C-955B12DF83B9}" dt="2022-05-02T16:50:28.139" v="226" actId="47"/>
        <pc:sldMkLst>
          <pc:docMk/>
          <pc:sldMk cId="3346224459" sldId="2147196234"/>
        </pc:sldMkLst>
      </pc:sldChg>
      <pc:sldChg chg="del">
        <pc:chgData name="Geir Nordstad" userId="5104b827-e3d0-4dae-99e7-15b02dd2905b" providerId="ADAL" clId="{B4DBC21F-2470-4FDF-A59C-955B12DF83B9}" dt="2022-05-02T16:50:32.054" v="227" actId="47"/>
        <pc:sldMkLst>
          <pc:docMk/>
          <pc:sldMk cId="4199334800" sldId="2147196235"/>
        </pc:sldMkLst>
      </pc:sldChg>
      <pc:sldChg chg="add del">
        <pc:chgData name="Geir Nordstad" userId="5104b827-e3d0-4dae-99e7-15b02dd2905b" providerId="ADAL" clId="{B4DBC21F-2470-4FDF-A59C-955B12DF83B9}" dt="2022-05-02T16:51:16.957" v="231" actId="47"/>
        <pc:sldMkLst>
          <pc:docMk/>
          <pc:sldMk cId="3754492971" sldId="2147196236"/>
        </pc:sldMkLst>
      </pc:sldChg>
      <pc:sldChg chg="del">
        <pc:chgData name="Geir Nordstad" userId="5104b827-e3d0-4dae-99e7-15b02dd2905b" providerId="ADAL" clId="{B4DBC21F-2470-4FDF-A59C-955B12DF83B9}" dt="2022-05-02T16:51:19.767" v="232" actId="47"/>
        <pc:sldMkLst>
          <pc:docMk/>
          <pc:sldMk cId="2882218198" sldId="2147196237"/>
        </pc:sldMkLst>
      </pc:sldChg>
      <pc:sldChg chg="modSp del mod">
        <pc:chgData name="Geir Nordstad" userId="5104b827-e3d0-4dae-99e7-15b02dd2905b" providerId="ADAL" clId="{B4DBC21F-2470-4FDF-A59C-955B12DF83B9}" dt="2022-05-04T14:57:29.033" v="3671" actId="47"/>
        <pc:sldMkLst>
          <pc:docMk/>
          <pc:sldMk cId="1065117073" sldId="2147196238"/>
        </pc:sldMkLst>
        <pc:spChg chg="mod">
          <ac:chgData name="Geir Nordstad" userId="5104b827-e3d0-4dae-99e7-15b02dd2905b" providerId="ADAL" clId="{B4DBC21F-2470-4FDF-A59C-955B12DF83B9}" dt="2022-05-03T08:22:57.457" v="1302" actId="6549"/>
          <ac:spMkLst>
            <pc:docMk/>
            <pc:sldMk cId="1065117073" sldId="2147196238"/>
            <ac:spMk id="31" creationId="{C692D4E1-AD4D-4373-8B4D-465CF75A4D1A}"/>
          </ac:spMkLst>
        </pc:spChg>
      </pc:sldChg>
      <pc:sldChg chg="modSp del mod">
        <pc:chgData name="Geir Nordstad" userId="5104b827-e3d0-4dae-99e7-15b02dd2905b" providerId="ADAL" clId="{B4DBC21F-2470-4FDF-A59C-955B12DF83B9}" dt="2022-05-03T07:32:59.215" v="599" actId="47"/>
        <pc:sldMkLst>
          <pc:docMk/>
          <pc:sldMk cId="1382654282" sldId="2147196239"/>
        </pc:sldMkLst>
        <pc:picChg chg="mod">
          <ac:chgData name="Geir Nordstad" userId="5104b827-e3d0-4dae-99e7-15b02dd2905b" providerId="ADAL" clId="{B4DBC21F-2470-4FDF-A59C-955B12DF83B9}" dt="2022-05-03T07:32:35.622" v="598" actId="14100"/>
          <ac:picMkLst>
            <pc:docMk/>
            <pc:sldMk cId="1382654282" sldId="2147196239"/>
            <ac:picMk id="3" creationId="{48287D02-0860-426F-9C2F-A922E475BD8E}"/>
          </ac:picMkLst>
        </pc:picChg>
      </pc:sldChg>
      <pc:sldChg chg="del">
        <pc:chgData name="Geir Nordstad" userId="5104b827-e3d0-4dae-99e7-15b02dd2905b" providerId="ADAL" clId="{B4DBC21F-2470-4FDF-A59C-955B12DF83B9}" dt="2022-05-02T16:51:32.356" v="237" actId="47"/>
        <pc:sldMkLst>
          <pc:docMk/>
          <pc:sldMk cId="3336570298" sldId="2147196240"/>
        </pc:sldMkLst>
      </pc:sldChg>
      <pc:sldChg chg="del">
        <pc:chgData name="Geir Nordstad" userId="5104b827-e3d0-4dae-99e7-15b02dd2905b" providerId="ADAL" clId="{B4DBC21F-2470-4FDF-A59C-955B12DF83B9}" dt="2022-05-02T16:51:35.494" v="239" actId="47"/>
        <pc:sldMkLst>
          <pc:docMk/>
          <pc:sldMk cId="1429734828" sldId="2147196241"/>
        </pc:sldMkLst>
      </pc:sldChg>
      <pc:sldChg chg="del">
        <pc:chgData name="Geir Nordstad" userId="5104b827-e3d0-4dae-99e7-15b02dd2905b" providerId="ADAL" clId="{B4DBC21F-2470-4FDF-A59C-955B12DF83B9}" dt="2022-05-02T16:51:24.666" v="234" actId="47"/>
        <pc:sldMkLst>
          <pc:docMk/>
          <pc:sldMk cId="1351002504" sldId="2147196242"/>
        </pc:sldMkLst>
      </pc:sldChg>
      <pc:sldChg chg="addSp delSp modSp mod ord">
        <pc:chgData name="Geir Nordstad" userId="5104b827-e3d0-4dae-99e7-15b02dd2905b" providerId="ADAL" clId="{B4DBC21F-2470-4FDF-A59C-955B12DF83B9}" dt="2022-05-04T14:14:18.969" v="3562"/>
        <pc:sldMkLst>
          <pc:docMk/>
          <pc:sldMk cId="971756349" sldId="2147196243"/>
        </pc:sldMkLst>
        <pc:spChg chg="mod">
          <ac:chgData name="Geir Nordstad" userId="5104b827-e3d0-4dae-99e7-15b02dd2905b" providerId="ADAL" clId="{B4DBC21F-2470-4FDF-A59C-955B12DF83B9}" dt="2022-05-03T18:31:28.830" v="2074" actId="6549"/>
          <ac:spMkLst>
            <pc:docMk/>
            <pc:sldMk cId="971756349" sldId="2147196243"/>
            <ac:spMk id="22" creationId="{E316BF56-2A87-42BD-8307-2EA6B45E5B72}"/>
          </ac:spMkLst>
        </pc:spChg>
        <pc:picChg chg="add del mod">
          <ac:chgData name="Geir Nordstad" userId="5104b827-e3d0-4dae-99e7-15b02dd2905b" providerId="ADAL" clId="{B4DBC21F-2470-4FDF-A59C-955B12DF83B9}" dt="2022-05-03T18:33:21.034" v="2080" actId="478"/>
          <ac:picMkLst>
            <pc:docMk/>
            <pc:sldMk cId="971756349" sldId="2147196243"/>
            <ac:picMk id="2" creationId="{C85F3C23-BE3B-4B93-2463-B9C8B078756C}"/>
          </ac:picMkLst>
        </pc:picChg>
        <pc:picChg chg="add mod">
          <ac:chgData name="Geir Nordstad" userId="5104b827-e3d0-4dae-99e7-15b02dd2905b" providerId="ADAL" clId="{B4DBC21F-2470-4FDF-A59C-955B12DF83B9}" dt="2022-05-03T18:33:51.131" v="2084" actId="1076"/>
          <ac:picMkLst>
            <pc:docMk/>
            <pc:sldMk cId="971756349" sldId="2147196243"/>
            <ac:picMk id="3" creationId="{C111AB1A-C2C4-205B-8224-5B01FD629585}"/>
          </ac:picMkLst>
        </pc:picChg>
        <pc:cxnChg chg="del">
          <ac:chgData name="Geir Nordstad" userId="5104b827-e3d0-4dae-99e7-15b02dd2905b" providerId="ADAL" clId="{B4DBC21F-2470-4FDF-A59C-955B12DF83B9}" dt="2022-05-03T18:31:35.710" v="2075" actId="478"/>
          <ac:cxnSpMkLst>
            <pc:docMk/>
            <pc:sldMk cId="971756349" sldId="2147196243"/>
            <ac:cxnSpMk id="12" creationId="{2E3A7A09-B4A0-A012-520A-8FB6ACF0F9A4}"/>
          </ac:cxnSpMkLst>
        </pc:cxnChg>
      </pc:sldChg>
      <pc:sldChg chg="modSp del ord">
        <pc:chgData name="Geir Nordstad" userId="5104b827-e3d0-4dae-99e7-15b02dd2905b" providerId="ADAL" clId="{B4DBC21F-2470-4FDF-A59C-955B12DF83B9}" dt="2022-05-03T07:37:24.720" v="604" actId="47"/>
        <pc:sldMkLst>
          <pc:docMk/>
          <pc:sldMk cId="4226998001" sldId="2147196244"/>
        </pc:sldMkLst>
        <pc:graphicFrameChg chg="mod">
          <ac:chgData name="Geir Nordstad" userId="5104b827-e3d0-4dae-99e7-15b02dd2905b" providerId="ADAL" clId="{B4DBC21F-2470-4FDF-A59C-955B12DF83B9}" dt="2022-05-03T07:34:51.824" v="601" actId="6549"/>
          <ac:graphicFrameMkLst>
            <pc:docMk/>
            <pc:sldMk cId="4226998001" sldId="2147196244"/>
            <ac:graphicFrameMk id="4" creationId="{9E08FEE5-8AF3-C573-C325-405828B07BAC}"/>
          </ac:graphicFrameMkLst>
        </pc:graphicFrameChg>
      </pc:sldChg>
      <pc:sldChg chg="del">
        <pc:chgData name="Geir Nordstad" userId="5104b827-e3d0-4dae-99e7-15b02dd2905b" providerId="ADAL" clId="{B4DBC21F-2470-4FDF-A59C-955B12DF83B9}" dt="2022-05-03T19:07:16.511" v="2219" actId="47"/>
        <pc:sldMkLst>
          <pc:docMk/>
          <pc:sldMk cId="449661084" sldId="2147196245"/>
        </pc:sldMkLst>
      </pc:sldChg>
      <pc:sldChg chg="addSp delSp modSp mod ord">
        <pc:chgData name="Geir Nordstad" userId="5104b827-e3d0-4dae-99e7-15b02dd2905b" providerId="ADAL" clId="{B4DBC21F-2470-4FDF-A59C-955B12DF83B9}" dt="2022-05-04T14:51:01.943" v="3633" actId="20577"/>
        <pc:sldMkLst>
          <pc:docMk/>
          <pc:sldMk cId="1431080190" sldId="2147196246"/>
        </pc:sldMkLst>
        <pc:spChg chg="add mod">
          <ac:chgData name="Geir Nordstad" userId="5104b827-e3d0-4dae-99e7-15b02dd2905b" providerId="ADAL" clId="{B4DBC21F-2470-4FDF-A59C-955B12DF83B9}" dt="2022-05-03T18:53:27.752" v="2149" actId="113"/>
          <ac:spMkLst>
            <pc:docMk/>
            <pc:sldMk cId="1431080190" sldId="2147196246"/>
            <ac:spMk id="10" creationId="{D2D6D0C2-8D3B-0786-C01D-236DB76CB640}"/>
          </ac:spMkLst>
        </pc:spChg>
        <pc:spChg chg="mod">
          <ac:chgData name="Geir Nordstad" userId="5104b827-e3d0-4dae-99e7-15b02dd2905b" providerId="ADAL" clId="{B4DBC21F-2470-4FDF-A59C-955B12DF83B9}" dt="2022-05-04T14:51:01.943" v="3633" actId="20577"/>
          <ac:spMkLst>
            <pc:docMk/>
            <pc:sldMk cId="1431080190" sldId="2147196246"/>
            <ac:spMk id="31" creationId="{C692D4E1-AD4D-4373-8B4D-465CF75A4D1A}"/>
          </ac:spMkLst>
        </pc:spChg>
        <pc:picChg chg="add del mod">
          <ac:chgData name="Geir Nordstad" userId="5104b827-e3d0-4dae-99e7-15b02dd2905b" providerId="ADAL" clId="{B4DBC21F-2470-4FDF-A59C-955B12DF83B9}" dt="2022-05-03T18:52:44.750" v="2146" actId="478"/>
          <ac:picMkLst>
            <pc:docMk/>
            <pc:sldMk cId="1431080190" sldId="2147196246"/>
            <ac:picMk id="2" creationId="{99A9ED1C-9238-8FE8-618B-4BEBAEC95C7F}"/>
          </ac:picMkLst>
        </pc:picChg>
        <pc:picChg chg="add mod">
          <ac:chgData name="Geir Nordstad" userId="5104b827-e3d0-4dae-99e7-15b02dd2905b" providerId="ADAL" clId="{B4DBC21F-2470-4FDF-A59C-955B12DF83B9}" dt="2022-05-03T18:50:33.378" v="2143" actId="1076"/>
          <ac:picMkLst>
            <pc:docMk/>
            <pc:sldMk cId="1431080190" sldId="2147196246"/>
            <ac:picMk id="7" creationId="{DF74E65A-83DA-B0E3-758B-E01AB0C7272F}"/>
          </ac:picMkLst>
        </pc:picChg>
        <pc:picChg chg="add mod">
          <ac:chgData name="Geir Nordstad" userId="5104b827-e3d0-4dae-99e7-15b02dd2905b" providerId="ADAL" clId="{B4DBC21F-2470-4FDF-A59C-955B12DF83B9}" dt="2022-05-03T18:50:20.457" v="2142"/>
          <ac:picMkLst>
            <pc:docMk/>
            <pc:sldMk cId="1431080190" sldId="2147196246"/>
            <ac:picMk id="8" creationId="{ABCA882D-70EF-80D3-9F7F-242A30C2749C}"/>
          </ac:picMkLst>
        </pc:picChg>
      </pc:sldChg>
      <pc:sldChg chg="modSp mod ord">
        <pc:chgData name="Geir Nordstad" userId="5104b827-e3d0-4dae-99e7-15b02dd2905b" providerId="ADAL" clId="{B4DBC21F-2470-4FDF-A59C-955B12DF83B9}" dt="2022-05-04T14:55:32.049" v="3659" actId="20577"/>
        <pc:sldMkLst>
          <pc:docMk/>
          <pc:sldMk cId="3420989441" sldId="2147196247"/>
        </pc:sldMkLst>
        <pc:spChg chg="mod">
          <ac:chgData name="Geir Nordstad" userId="5104b827-e3d0-4dae-99e7-15b02dd2905b" providerId="ADAL" clId="{B4DBC21F-2470-4FDF-A59C-955B12DF83B9}" dt="2022-05-04T14:55:32.049" v="3659" actId="20577"/>
          <ac:spMkLst>
            <pc:docMk/>
            <pc:sldMk cId="3420989441" sldId="2147196247"/>
            <ac:spMk id="2" creationId="{66A08D96-6033-EBAB-CBA7-E55E58C89DF5}"/>
          </ac:spMkLst>
        </pc:spChg>
        <pc:spChg chg="mod">
          <ac:chgData name="Geir Nordstad" userId="5104b827-e3d0-4dae-99e7-15b02dd2905b" providerId="ADAL" clId="{B4DBC21F-2470-4FDF-A59C-955B12DF83B9}" dt="2022-05-03T18:54:19.086" v="2183" actId="20577"/>
          <ac:spMkLst>
            <pc:docMk/>
            <pc:sldMk cId="3420989441" sldId="2147196247"/>
            <ac:spMk id="31" creationId="{C692D4E1-AD4D-4373-8B4D-465CF75A4D1A}"/>
          </ac:spMkLst>
        </pc:spChg>
      </pc:sldChg>
      <pc:sldChg chg="modSp del mod">
        <pc:chgData name="Geir Nordstad" userId="5104b827-e3d0-4dae-99e7-15b02dd2905b" providerId="ADAL" clId="{B4DBC21F-2470-4FDF-A59C-955B12DF83B9}" dt="2022-05-04T13:05:38.494" v="2518" actId="47"/>
        <pc:sldMkLst>
          <pc:docMk/>
          <pc:sldMk cId="3326754309" sldId="2147196248"/>
        </pc:sldMkLst>
        <pc:spChg chg="mod">
          <ac:chgData name="Geir Nordstad" userId="5104b827-e3d0-4dae-99e7-15b02dd2905b" providerId="ADAL" clId="{B4DBC21F-2470-4FDF-A59C-955B12DF83B9}" dt="2022-05-03T13:10:36.038" v="1570" actId="20577"/>
          <ac:spMkLst>
            <pc:docMk/>
            <pc:sldMk cId="3326754309" sldId="2147196248"/>
            <ac:spMk id="4" creationId="{0E0EC8EC-A68C-C0E5-8979-6AF2406E3A11}"/>
          </ac:spMkLst>
        </pc:spChg>
        <pc:spChg chg="mod">
          <ac:chgData name="Geir Nordstad" userId="5104b827-e3d0-4dae-99e7-15b02dd2905b" providerId="ADAL" clId="{B4DBC21F-2470-4FDF-A59C-955B12DF83B9}" dt="2022-05-03T18:57:17.983" v="2212" actId="20577"/>
          <ac:spMkLst>
            <pc:docMk/>
            <pc:sldMk cId="3326754309" sldId="2147196248"/>
            <ac:spMk id="8" creationId="{48DF41C5-C755-F7DB-B515-508722C7106A}"/>
          </ac:spMkLst>
        </pc:spChg>
        <pc:spChg chg="mod">
          <ac:chgData name="Geir Nordstad" userId="5104b827-e3d0-4dae-99e7-15b02dd2905b" providerId="ADAL" clId="{B4DBC21F-2470-4FDF-A59C-955B12DF83B9}" dt="2022-05-03T19:02:15.682" v="2218" actId="20577"/>
          <ac:spMkLst>
            <pc:docMk/>
            <pc:sldMk cId="3326754309" sldId="2147196248"/>
            <ac:spMk id="12" creationId="{2368D344-2ACE-280D-DD59-D37E15D895F4}"/>
          </ac:spMkLst>
        </pc:spChg>
        <pc:spChg chg="mod">
          <ac:chgData name="Geir Nordstad" userId="5104b827-e3d0-4dae-99e7-15b02dd2905b" providerId="ADAL" clId="{B4DBC21F-2470-4FDF-A59C-955B12DF83B9}" dt="2022-05-03T18:55:10.423" v="2210" actId="20577"/>
          <ac:spMkLst>
            <pc:docMk/>
            <pc:sldMk cId="3326754309" sldId="2147196248"/>
            <ac:spMk id="31" creationId="{C692D4E1-AD4D-4373-8B4D-465CF75A4D1A}"/>
          </ac:spMkLst>
        </pc:spChg>
      </pc:sldChg>
      <pc:sldChg chg="addSp modSp del mod">
        <pc:chgData name="Geir Nordstad" userId="5104b827-e3d0-4dae-99e7-15b02dd2905b" providerId="ADAL" clId="{B4DBC21F-2470-4FDF-A59C-955B12DF83B9}" dt="2022-05-04T13:29:57.627" v="2571" actId="47"/>
        <pc:sldMkLst>
          <pc:docMk/>
          <pc:sldMk cId="2314851114" sldId="2147196249"/>
        </pc:sldMkLst>
        <pc:spChg chg="add mod">
          <ac:chgData name="Geir Nordstad" userId="5104b827-e3d0-4dae-99e7-15b02dd2905b" providerId="ADAL" clId="{B4DBC21F-2470-4FDF-A59C-955B12DF83B9}" dt="2022-05-03T18:10:28.768" v="2005" actId="1076"/>
          <ac:spMkLst>
            <pc:docMk/>
            <pc:sldMk cId="2314851114" sldId="2147196249"/>
            <ac:spMk id="2" creationId="{AE0D76A1-42E2-862E-124D-C5E09F8BD323}"/>
          </ac:spMkLst>
        </pc:spChg>
        <pc:spChg chg="add mod">
          <ac:chgData name="Geir Nordstad" userId="5104b827-e3d0-4dae-99e7-15b02dd2905b" providerId="ADAL" clId="{B4DBC21F-2470-4FDF-A59C-955B12DF83B9}" dt="2022-05-03T18:12:27.299" v="2054" actId="1076"/>
          <ac:spMkLst>
            <pc:docMk/>
            <pc:sldMk cId="2314851114" sldId="2147196249"/>
            <ac:spMk id="10" creationId="{F4844A0D-48F8-E9A6-1EA6-78EEEC863BF6}"/>
          </ac:spMkLst>
        </pc:spChg>
        <pc:spChg chg="add mod">
          <ac:chgData name="Geir Nordstad" userId="5104b827-e3d0-4dae-99e7-15b02dd2905b" providerId="ADAL" clId="{B4DBC21F-2470-4FDF-A59C-955B12DF83B9}" dt="2022-05-03T18:13:22.912" v="2068" actId="1076"/>
          <ac:spMkLst>
            <pc:docMk/>
            <pc:sldMk cId="2314851114" sldId="2147196249"/>
            <ac:spMk id="11" creationId="{B7ADFD12-2832-5359-38D4-B18A98552FCC}"/>
          </ac:spMkLst>
        </pc:spChg>
        <pc:spChg chg="add mod">
          <ac:chgData name="Geir Nordstad" userId="5104b827-e3d0-4dae-99e7-15b02dd2905b" providerId="ADAL" clId="{B4DBC21F-2470-4FDF-A59C-955B12DF83B9}" dt="2022-05-03T18:13:01.664" v="2063" actId="20577"/>
          <ac:spMkLst>
            <pc:docMk/>
            <pc:sldMk cId="2314851114" sldId="2147196249"/>
            <ac:spMk id="12" creationId="{DF8820EE-A9BA-498C-D824-B86CF9227D7B}"/>
          </ac:spMkLst>
        </pc:spChg>
        <pc:spChg chg="mod">
          <ac:chgData name="Geir Nordstad" userId="5104b827-e3d0-4dae-99e7-15b02dd2905b" providerId="ADAL" clId="{B4DBC21F-2470-4FDF-A59C-955B12DF83B9}" dt="2022-05-03T18:12:03.381" v="2050" actId="6549"/>
          <ac:spMkLst>
            <pc:docMk/>
            <pc:sldMk cId="2314851114" sldId="2147196249"/>
            <ac:spMk id="31" creationId="{C692D4E1-AD4D-4373-8B4D-465CF75A4D1A}"/>
          </ac:spMkLst>
        </pc:spChg>
      </pc:sldChg>
      <pc:sldChg chg="add del">
        <pc:chgData name="Geir Nordstad" userId="5104b827-e3d0-4dae-99e7-15b02dd2905b" providerId="ADAL" clId="{B4DBC21F-2470-4FDF-A59C-955B12DF83B9}" dt="2022-05-03T07:56:54.958" v="825" actId="47"/>
        <pc:sldMkLst>
          <pc:docMk/>
          <pc:sldMk cId="3983563802" sldId="2147196250"/>
        </pc:sldMkLst>
      </pc:sldChg>
      <pc:sldChg chg="addSp delSp modSp add mod">
        <pc:chgData name="Geir Nordstad" userId="5104b827-e3d0-4dae-99e7-15b02dd2905b" providerId="ADAL" clId="{B4DBC21F-2470-4FDF-A59C-955B12DF83B9}" dt="2022-05-04T12:05:51.570" v="2259" actId="478"/>
        <pc:sldMkLst>
          <pc:docMk/>
          <pc:sldMk cId="2236505598" sldId="2147196251"/>
        </pc:sldMkLst>
        <pc:spChg chg="mod">
          <ac:chgData name="Geir Nordstad" userId="5104b827-e3d0-4dae-99e7-15b02dd2905b" providerId="ADAL" clId="{B4DBC21F-2470-4FDF-A59C-955B12DF83B9}" dt="2022-05-02T17:00:17.741" v="297" actId="20577"/>
          <ac:spMkLst>
            <pc:docMk/>
            <pc:sldMk cId="2236505598" sldId="2147196251"/>
            <ac:spMk id="7" creationId="{72A1FD12-E0CC-4D77-8A10-9DAC066B7320}"/>
          </ac:spMkLst>
        </pc:spChg>
        <pc:spChg chg="mod">
          <ac:chgData name="Geir Nordstad" userId="5104b827-e3d0-4dae-99e7-15b02dd2905b" providerId="ADAL" clId="{B4DBC21F-2470-4FDF-A59C-955B12DF83B9}" dt="2022-05-02T16:59:57.176" v="259" actId="20577"/>
          <ac:spMkLst>
            <pc:docMk/>
            <pc:sldMk cId="2236505598" sldId="2147196251"/>
            <ac:spMk id="10" creationId="{576DB04B-8921-4E78-B07E-2A282377B871}"/>
          </ac:spMkLst>
        </pc:spChg>
        <pc:picChg chg="add del mod">
          <ac:chgData name="Geir Nordstad" userId="5104b827-e3d0-4dae-99e7-15b02dd2905b" providerId="ADAL" clId="{B4DBC21F-2470-4FDF-A59C-955B12DF83B9}" dt="2022-05-04T12:05:51.570" v="2259" actId="478"/>
          <ac:picMkLst>
            <pc:docMk/>
            <pc:sldMk cId="2236505598" sldId="2147196251"/>
            <ac:picMk id="3" creationId="{AB3EB173-7622-63BA-728F-6E228B3ED0D3}"/>
          </ac:picMkLst>
        </pc:picChg>
      </pc:sldChg>
      <pc:sldChg chg="addSp delSp modSp add mod">
        <pc:chgData name="Geir Nordstad" userId="5104b827-e3d0-4dae-99e7-15b02dd2905b" providerId="ADAL" clId="{B4DBC21F-2470-4FDF-A59C-955B12DF83B9}" dt="2022-05-04T12:05:18.356" v="2251" actId="478"/>
        <pc:sldMkLst>
          <pc:docMk/>
          <pc:sldMk cId="471461739" sldId="2147196252"/>
        </pc:sldMkLst>
        <pc:picChg chg="add del mod">
          <ac:chgData name="Geir Nordstad" userId="5104b827-e3d0-4dae-99e7-15b02dd2905b" providerId="ADAL" clId="{B4DBC21F-2470-4FDF-A59C-955B12DF83B9}" dt="2022-05-04T12:05:18.356" v="2251" actId="478"/>
          <ac:picMkLst>
            <pc:docMk/>
            <pc:sldMk cId="471461739" sldId="2147196252"/>
            <ac:picMk id="3" creationId="{ABC78AF5-17B2-864D-7771-7ABC232F6566}"/>
          </ac:picMkLst>
        </pc:picChg>
      </pc:sldChg>
      <pc:sldChg chg="add">
        <pc:chgData name="Geir Nordstad" userId="5104b827-e3d0-4dae-99e7-15b02dd2905b" providerId="ADAL" clId="{B4DBC21F-2470-4FDF-A59C-955B12DF83B9}" dt="2022-05-02T17:13:30.500" v="392" actId="2890"/>
        <pc:sldMkLst>
          <pc:docMk/>
          <pc:sldMk cId="1766984553" sldId="2147196253"/>
        </pc:sldMkLst>
      </pc:sldChg>
      <pc:sldChg chg="modSp add del mod">
        <pc:chgData name="Geir Nordstad" userId="5104b827-e3d0-4dae-99e7-15b02dd2905b" providerId="ADAL" clId="{B4DBC21F-2470-4FDF-A59C-955B12DF83B9}" dt="2022-05-02T17:07:35.872" v="377" actId="47"/>
        <pc:sldMkLst>
          <pc:docMk/>
          <pc:sldMk cId="3032625063" sldId="2147196253"/>
        </pc:sldMkLst>
        <pc:spChg chg="mod">
          <ac:chgData name="Geir Nordstad" userId="5104b827-e3d0-4dae-99e7-15b02dd2905b" providerId="ADAL" clId="{B4DBC21F-2470-4FDF-A59C-955B12DF83B9}" dt="2022-05-02T17:01:21.466" v="346" actId="122"/>
          <ac:spMkLst>
            <pc:docMk/>
            <pc:sldMk cId="3032625063" sldId="2147196253"/>
            <ac:spMk id="9" creationId="{00000000-0000-0000-0000-000000000000}"/>
          </ac:spMkLst>
        </pc:spChg>
      </pc:sldChg>
      <pc:sldChg chg="modSp add mod ord">
        <pc:chgData name="Geir Nordstad" userId="5104b827-e3d0-4dae-99e7-15b02dd2905b" providerId="ADAL" clId="{B4DBC21F-2470-4FDF-A59C-955B12DF83B9}" dt="2022-05-02T18:11:25.757" v="434"/>
        <pc:sldMkLst>
          <pc:docMk/>
          <pc:sldMk cId="2372989755" sldId="2147196254"/>
        </pc:sldMkLst>
        <pc:picChg chg="mod">
          <ac:chgData name="Geir Nordstad" userId="5104b827-e3d0-4dae-99e7-15b02dd2905b" providerId="ADAL" clId="{B4DBC21F-2470-4FDF-A59C-955B12DF83B9}" dt="2022-05-02T18:11:18.258" v="432" actId="1076"/>
          <ac:picMkLst>
            <pc:docMk/>
            <pc:sldMk cId="2372989755" sldId="2147196254"/>
            <ac:picMk id="4" creationId="{2371AB28-D0B8-6AB1-4A06-05C9C32A05EC}"/>
          </ac:picMkLst>
        </pc:picChg>
      </pc:sldChg>
      <pc:sldChg chg="delSp modSp add mod ord">
        <pc:chgData name="Geir Nordstad" userId="5104b827-e3d0-4dae-99e7-15b02dd2905b" providerId="ADAL" clId="{B4DBC21F-2470-4FDF-A59C-955B12DF83B9}" dt="2022-05-03T17:19:25.662" v="1591" actId="122"/>
        <pc:sldMkLst>
          <pc:docMk/>
          <pc:sldMk cId="3065538589" sldId="2147196255"/>
        </pc:sldMkLst>
        <pc:spChg chg="mod">
          <ac:chgData name="Geir Nordstad" userId="5104b827-e3d0-4dae-99e7-15b02dd2905b" providerId="ADAL" clId="{B4DBC21F-2470-4FDF-A59C-955B12DF83B9}" dt="2022-05-03T17:19:25.662" v="1591" actId="122"/>
          <ac:spMkLst>
            <pc:docMk/>
            <pc:sldMk cId="3065538589" sldId="2147196255"/>
            <ac:spMk id="5" creationId="{00000000-0000-0000-0000-000000000000}"/>
          </ac:spMkLst>
        </pc:spChg>
        <pc:spChg chg="del">
          <ac:chgData name="Geir Nordstad" userId="5104b827-e3d0-4dae-99e7-15b02dd2905b" providerId="ADAL" clId="{B4DBC21F-2470-4FDF-A59C-955B12DF83B9}" dt="2022-05-02T18:09:26.942" v="431" actId="478"/>
          <ac:spMkLst>
            <pc:docMk/>
            <pc:sldMk cId="3065538589" sldId="2147196255"/>
            <ac:spMk id="8" creationId="{00000000-0000-0000-0000-000000000000}"/>
          </ac:spMkLst>
        </pc:spChg>
      </pc:sldChg>
      <pc:sldChg chg="add ord">
        <pc:chgData name="Geir Nordstad" userId="5104b827-e3d0-4dae-99e7-15b02dd2905b" providerId="ADAL" clId="{B4DBC21F-2470-4FDF-A59C-955B12DF83B9}" dt="2022-05-02T18:01:24.527" v="430"/>
        <pc:sldMkLst>
          <pc:docMk/>
          <pc:sldMk cId="3844050153" sldId="2147196256"/>
        </pc:sldMkLst>
      </pc:sldChg>
      <pc:sldChg chg="add del ord">
        <pc:chgData name="Geir Nordstad" userId="5104b827-e3d0-4dae-99e7-15b02dd2905b" providerId="ADAL" clId="{B4DBC21F-2470-4FDF-A59C-955B12DF83B9}" dt="2022-05-03T17:13:43.960" v="1587" actId="47"/>
        <pc:sldMkLst>
          <pc:docMk/>
          <pc:sldMk cId="346452442" sldId="2147196257"/>
        </pc:sldMkLst>
      </pc:sldChg>
      <pc:sldChg chg="delSp modSp add del mod">
        <pc:chgData name="Geir Nordstad" userId="5104b827-e3d0-4dae-99e7-15b02dd2905b" providerId="ADAL" clId="{B4DBC21F-2470-4FDF-A59C-955B12DF83B9}" dt="2022-05-02T18:15:43.630" v="452" actId="47"/>
        <pc:sldMkLst>
          <pc:docMk/>
          <pc:sldMk cId="798108055" sldId="2147196258"/>
        </pc:sldMkLst>
        <pc:spChg chg="del mod">
          <ac:chgData name="Geir Nordstad" userId="5104b827-e3d0-4dae-99e7-15b02dd2905b" providerId="ADAL" clId="{B4DBC21F-2470-4FDF-A59C-955B12DF83B9}" dt="2022-05-02T18:14:20.647" v="439" actId="478"/>
          <ac:spMkLst>
            <pc:docMk/>
            <pc:sldMk cId="798108055" sldId="2147196258"/>
            <ac:spMk id="2" creationId="{F928B3C2-0DB0-4E47-9CC7-A4904D16FBB1}"/>
          </ac:spMkLst>
        </pc:spChg>
        <pc:spChg chg="del">
          <ac:chgData name="Geir Nordstad" userId="5104b827-e3d0-4dae-99e7-15b02dd2905b" providerId="ADAL" clId="{B4DBC21F-2470-4FDF-A59C-955B12DF83B9}" dt="2022-05-02T18:14:24.575" v="443" actId="478"/>
          <ac:spMkLst>
            <pc:docMk/>
            <pc:sldMk cId="798108055" sldId="2147196258"/>
            <ac:spMk id="3" creationId="{FB37B245-142B-405C-AB8E-A64506DDD4FA}"/>
          </ac:spMkLst>
        </pc:spChg>
        <pc:spChg chg="del mod">
          <ac:chgData name="Geir Nordstad" userId="5104b827-e3d0-4dae-99e7-15b02dd2905b" providerId="ADAL" clId="{B4DBC21F-2470-4FDF-A59C-955B12DF83B9}" dt="2022-05-02T18:14:23.734" v="442" actId="478"/>
          <ac:spMkLst>
            <pc:docMk/>
            <pc:sldMk cId="798108055" sldId="2147196258"/>
            <ac:spMk id="8" creationId="{E1BDA10F-FFDB-4B84-9F33-146BA976A59E}"/>
          </ac:spMkLst>
        </pc:spChg>
        <pc:picChg chg="del">
          <ac:chgData name="Geir Nordstad" userId="5104b827-e3d0-4dae-99e7-15b02dd2905b" providerId="ADAL" clId="{B4DBC21F-2470-4FDF-A59C-955B12DF83B9}" dt="2022-05-02T18:14:21.303" v="440" actId="478"/>
          <ac:picMkLst>
            <pc:docMk/>
            <pc:sldMk cId="798108055" sldId="2147196258"/>
            <ac:picMk id="5" creationId="{D0CE7FA7-CFD1-4B4A-BE11-69873ED9F795}"/>
          </ac:picMkLst>
        </pc:picChg>
      </pc:sldChg>
      <pc:sldChg chg="add">
        <pc:chgData name="Geir Nordstad" userId="5104b827-e3d0-4dae-99e7-15b02dd2905b" providerId="ADAL" clId="{B4DBC21F-2470-4FDF-A59C-955B12DF83B9}" dt="2022-05-02T17:33:11.534" v="422"/>
        <pc:sldMkLst>
          <pc:docMk/>
          <pc:sldMk cId="2905310168" sldId="2147196259"/>
        </pc:sldMkLst>
      </pc:sldChg>
      <pc:sldChg chg="add">
        <pc:chgData name="Geir Nordstad" userId="5104b827-e3d0-4dae-99e7-15b02dd2905b" providerId="ADAL" clId="{B4DBC21F-2470-4FDF-A59C-955B12DF83B9}" dt="2022-05-02T18:14:15.022" v="437" actId="2890"/>
        <pc:sldMkLst>
          <pc:docMk/>
          <pc:sldMk cId="324002355" sldId="2147196260"/>
        </pc:sldMkLst>
      </pc:sldChg>
      <pc:sldChg chg="addSp delSp modSp add mod">
        <pc:chgData name="Geir Nordstad" userId="5104b827-e3d0-4dae-99e7-15b02dd2905b" providerId="ADAL" clId="{B4DBC21F-2470-4FDF-A59C-955B12DF83B9}" dt="2022-05-02T18:15:38.412" v="451" actId="1076"/>
        <pc:sldMkLst>
          <pc:docMk/>
          <pc:sldMk cId="4037188055" sldId="2147196261"/>
        </pc:sldMkLst>
        <pc:spChg chg="del">
          <ac:chgData name="Geir Nordstad" userId="5104b827-e3d0-4dae-99e7-15b02dd2905b" providerId="ADAL" clId="{B4DBC21F-2470-4FDF-A59C-955B12DF83B9}" dt="2022-05-02T18:15:26.359" v="447" actId="478"/>
          <ac:spMkLst>
            <pc:docMk/>
            <pc:sldMk cId="4037188055" sldId="2147196261"/>
            <ac:spMk id="2" creationId="{1FC1E417-D6E6-91D1-04DA-596DA9038045}"/>
          </ac:spMkLst>
        </pc:spChg>
        <pc:spChg chg="add del mod">
          <ac:chgData name="Geir Nordstad" userId="5104b827-e3d0-4dae-99e7-15b02dd2905b" providerId="ADAL" clId="{B4DBC21F-2470-4FDF-A59C-955B12DF83B9}" dt="2022-05-02T18:15:24.289" v="446" actId="478"/>
          <ac:spMkLst>
            <pc:docMk/>
            <pc:sldMk cId="4037188055" sldId="2147196261"/>
            <ac:spMk id="5" creationId="{EFA8A23D-4F06-41FF-85B4-40AD316C0013}"/>
          </ac:spMkLst>
        </pc:spChg>
        <pc:spChg chg="add del mod">
          <ac:chgData name="Geir Nordstad" userId="5104b827-e3d0-4dae-99e7-15b02dd2905b" providerId="ADAL" clId="{B4DBC21F-2470-4FDF-A59C-955B12DF83B9}" dt="2022-05-02T18:15:27.940" v="448" actId="478"/>
          <ac:spMkLst>
            <pc:docMk/>
            <pc:sldMk cId="4037188055" sldId="2147196261"/>
            <ac:spMk id="7" creationId="{4DCFB47B-77C9-49F2-92A1-F9B4360630FC}"/>
          </ac:spMkLst>
        </pc:spChg>
        <pc:picChg chg="del">
          <ac:chgData name="Geir Nordstad" userId="5104b827-e3d0-4dae-99e7-15b02dd2905b" providerId="ADAL" clId="{B4DBC21F-2470-4FDF-A59C-955B12DF83B9}" dt="2022-05-02T18:15:21.862" v="445" actId="478"/>
          <ac:picMkLst>
            <pc:docMk/>
            <pc:sldMk cId="4037188055" sldId="2147196261"/>
            <ac:picMk id="4" creationId="{CA7CC173-D381-61AE-8339-5EE185FF6B21}"/>
          </ac:picMkLst>
        </pc:picChg>
        <pc:picChg chg="add mod">
          <ac:chgData name="Geir Nordstad" userId="5104b827-e3d0-4dae-99e7-15b02dd2905b" providerId="ADAL" clId="{B4DBC21F-2470-4FDF-A59C-955B12DF83B9}" dt="2022-05-02T18:15:38.412" v="451" actId="1076"/>
          <ac:picMkLst>
            <pc:docMk/>
            <pc:sldMk cId="4037188055" sldId="2147196261"/>
            <ac:picMk id="8" creationId="{D85E8624-9C1A-44FA-8AC3-AB2AD4392D85}"/>
          </ac:picMkLst>
        </pc:picChg>
      </pc:sldChg>
      <pc:sldChg chg="addSp delSp modSp mod">
        <pc:chgData name="Geir Nordstad" userId="5104b827-e3d0-4dae-99e7-15b02dd2905b" providerId="ADAL" clId="{B4DBC21F-2470-4FDF-A59C-955B12DF83B9}" dt="2022-05-03T17:54:44.365" v="1887" actId="478"/>
        <pc:sldMkLst>
          <pc:docMk/>
          <pc:sldMk cId="2083447068" sldId="2147196262"/>
        </pc:sldMkLst>
        <pc:spChg chg="del">
          <ac:chgData name="Geir Nordstad" userId="5104b827-e3d0-4dae-99e7-15b02dd2905b" providerId="ADAL" clId="{B4DBC21F-2470-4FDF-A59C-955B12DF83B9}" dt="2022-05-02T18:53:31.957" v="555" actId="478"/>
          <ac:spMkLst>
            <pc:docMk/>
            <pc:sldMk cId="2083447068" sldId="2147196262"/>
            <ac:spMk id="2" creationId="{47575D2D-1A88-4EF2-99A5-5B356FA99E44}"/>
          </ac:spMkLst>
        </pc:spChg>
        <pc:spChg chg="del mod">
          <ac:chgData name="Geir Nordstad" userId="5104b827-e3d0-4dae-99e7-15b02dd2905b" providerId="ADAL" clId="{B4DBC21F-2470-4FDF-A59C-955B12DF83B9}" dt="2022-05-03T17:41:53.077" v="1811" actId="478"/>
          <ac:spMkLst>
            <pc:docMk/>
            <pc:sldMk cId="2083447068" sldId="2147196262"/>
            <ac:spMk id="7" creationId="{72A1FD12-E0CC-4D77-8A10-9DAC066B7320}"/>
          </ac:spMkLst>
        </pc:spChg>
        <pc:spChg chg="add del mod">
          <ac:chgData name="Geir Nordstad" userId="5104b827-e3d0-4dae-99e7-15b02dd2905b" providerId="ADAL" clId="{B4DBC21F-2470-4FDF-A59C-955B12DF83B9}" dt="2022-05-03T17:41:57.217" v="1812" actId="478"/>
          <ac:spMkLst>
            <pc:docMk/>
            <pc:sldMk cId="2083447068" sldId="2147196262"/>
            <ac:spMk id="9" creationId="{2F21AC88-3EC6-717F-C6C1-3EB8EDCF8EDA}"/>
          </ac:spMkLst>
        </pc:spChg>
        <pc:spChg chg="add mod">
          <ac:chgData name="Geir Nordstad" userId="5104b827-e3d0-4dae-99e7-15b02dd2905b" providerId="ADAL" clId="{B4DBC21F-2470-4FDF-A59C-955B12DF83B9}" dt="2022-05-03T17:43:03.636" v="1872" actId="20577"/>
          <ac:spMkLst>
            <pc:docMk/>
            <pc:sldMk cId="2083447068" sldId="2147196262"/>
            <ac:spMk id="10" creationId="{B98195FC-53DF-9B3D-3877-437702F2536D}"/>
          </ac:spMkLst>
        </pc:spChg>
        <pc:spChg chg="del">
          <ac:chgData name="Geir Nordstad" userId="5104b827-e3d0-4dae-99e7-15b02dd2905b" providerId="ADAL" clId="{B4DBC21F-2470-4FDF-A59C-955B12DF83B9}" dt="2022-05-02T18:53:31.250" v="554" actId="478"/>
          <ac:spMkLst>
            <pc:docMk/>
            <pc:sldMk cId="2083447068" sldId="2147196262"/>
            <ac:spMk id="20" creationId="{D435AAB2-692E-450C-B1B2-DD89E91CE3E9}"/>
          </ac:spMkLst>
        </pc:spChg>
        <pc:picChg chg="add mod">
          <ac:chgData name="Geir Nordstad" userId="5104b827-e3d0-4dae-99e7-15b02dd2905b" providerId="ADAL" clId="{B4DBC21F-2470-4FDF-A59C-955B12DF83B9}" dt="2022-05-03T12:08:27.703" v="1551" actId="1076"/>
          <ac:picMkLst>
            <pc:docMk/>
            <pc:sldMk cId="2083447068" sldId="2147196262"/>
            <ac:picMk id="2" creationId="{58918B9B-E689-3A5B-DFBD-94CB1DBB9808}"/>
          </ac:picMkLst>
        </pc:picChg>
        <pc:picChg chg="add mod">
          <ac:chgData name="Geir Nordstad" userId="5104b827-e3d0-4dae-99e7-15b02dd2905b" providerId="ADAL" clId="{B4DBC21F-2470-4FDF-A59C-955B12DF83B9}" dt="2022-05-03T12:08:24.617" v="1550" actId="1076"/>
          <ac:picMkLst>
            <pc:docMk/>
            <pc:sldMk cId="2083447068" sldId="2147196262"/>
            <ac:picMk id="3" creationId="{1ED5C11B-1780-C05C-584A-830D4C88D90B}"/>
          </ac:picMkLst>
        </pc:picChg>
        <pc:picChg chg="del">
          <ac:chgData name="Geir Nordstad" userId="5104b827-e3d0-4dae-99e7-15b02dd2905b" providerId="ADAL" clId="{B4DBC21F-2470-4FDF-A59C-955B12DF83B9}" dt="2022-05-02T18:53:33.362" v="556" actId="478"/>
          <ac:picMkLst>
            <pc:docMk/>
            <pc:sldMk cId="2083447068" sldId="2147196262"/>
            <ac:picMk id="8" creationId="{92D91291-94C9-486D-BD00-416CA4582E89}"/>
          </ac:picMkLst>
        </pc:picChg>
        <pc:picChg chg="add del mod">
          <ac:chgData name="Geir Nordstad" userId="5104b827-e3d0-4dae-99e7-15b02dd2905b" providerId="ADAL" clId="{B4DBC21F-2470-4FDF-A59C-955B12DF83B9}" dt="2022-05-03T17:54:43.217" v="1886" actId="478"/>
          <ac:picMkLst>
            <pc:docMk/>
            <pc:sldMk cId="2083447068" sldId="2147196262"/>
            <ac:picMk id="11" creationId="{FC259B5F-2C78-8CCC-3908-4E2E1CD12DAF}"/>
          </ac:picMkLst>
        </pc:picChg>
        <pc:picChg chg="add del">
          <ac:chgData name="Geir Nordstad" userId="5104b827-e3d0-4dae-99e7-15b02dd2905b" providerId="ADAL" clId="{B4DBC21F-2470-4FDF-A59C-955B12DF83B9}" dt="2022-05-03T17:54:44.365" v="1887" actId="478"/>
          <ac:picMkLst>
            <pc:docMk/>
            <pc:sldMk cId="2083447068" sldId="2147196262"/>
            <ac:picMk id="12" creationId="{E83E4330-36A4-171F-9C8D-783832149F83}"/>
          </ac:picMkLst>
        </pc:picChg>
      </pc:sldChg>
      <pc:sldChg chg="addSp delSp modSp mod">
        <pc:chgData name="Geir Nordstad" userId="5104b827-e3d0-4dae-99e7-15b02dd2905b" providerId="ADAL" clId="{B4DBC21F-2470-4FDF-A59C-955B12DF83B9}" dt="2022-05-03T12:47:17.230" v="1569" actId="27918"/>
        <pc:sldMkLst>
          <pc:docMk/>
          <pc:sldMk cId="1249023861" sldId="2147196263"/>
        </pc:sldMkLst>
        <pc:spChg chg="add mod">
          <ac:chgData name="Geir Nordstad" userId="5104b827-e3d0-4dae-99e7-15b02dd2905b" providerId="ADAL" clId="{B4DBC21F-2470-4FDF-A59C-955B12DF83B9}" dt="2022-05-03T12:02:54.808" v="1545" actId="1076"/>
          <ac:spMkLst>
            <pc:docMk/>
            <pc:sldMk cId="1249023861" sldId="2147196263"/>
            <ac:spMk id="10" creationId="{C0437016-4863-133C-C7CE-FB8077779492}"/>
          </ac:spMkLst>
        </pc:spChg>
        <pc:spChg chg="del">
          <ac:chgData name="Geir Nordstad" userId="5104b827-e3d0-4dae-99e7-15b02dd2905b" providerId="ADAL" clId="{B4DBC21F-2470-4FDF-A59C-955B12DF83B9}" dt="2022-05-03T12:02:51.373" v="1544" actId="478"/>
          <ac:spMkLst>
            <pc:docMk/>
            <pc:sldMk cId="1249023861" sldId="2147196263"/>
            <ac:spMk id="31" creationId="{C692D4E1-AD4D-4373-8B4D-465CF75A4D1A}"/>
          </ac:spMkLst>
        </pc:spChg>
      </pc:sldChg>
      <pc:sldChg chg="del">
        <pc:chgData name="Geir Nordstad" userId="5104b827-e3d0-4dae-99e7-15b02dd2905b" providerId="ADAL" clId="{B4DBC21F-2470-4FDF-A59C-955B12DF83B9}" dt="2022-05-03T13:12:18.263" v="1571" actId="47"/>
        <pc:sldMkLst>
          <pc:docMk/>
          <pc:sldMk cId="1056106499" sldId="2147196264"/>
        </pc:sldMkLst>
      </pc:sldChg>
      <pc:sldChg chg="addSp delSp modSp add mod">
        <pc:chgData name="Geir Nordstad" userId="5104b827-e3d0-4dae-99e7-15b02dd2905b" providerId="ADAL" clId="{B4DBC21F-2470-4FDF-A59C-955B12DF83B9}" dt="2022-05-03T17:13:31.879" v="1586" actId="14100"/>
        <pc:sldMkLst>
          <pc:docMk/>
          <pc:sldMk cId="2681962288" sldId="2147196264"/>
        </pc:sldMkLst>
        <pc:spChg chg="del">
          <ac:chgData name="Geir Nordstad" userId="5104b827-e3d0-4dae-99e7-15b02dd2905b" providerId="ADAL" clId="{B4DBC21F-2470-4FDF-A59C-955B12DF83B9}" dt="2022-05-03T17:13:03.904" v="1580" actId="478"/>
          <ac:spMkLst>
            <pc:docMk/>
            <pc:sldMk cId="2681962288" sldId="2147196264"/>
            <ac:spMk id="6" creationId="{365EF9B3-3AE3-4A3E-B46A-7135DC41F921}"/>
          </ac:spMkLst>
        </pc:spChg>
        <pc:spChg chg="del">
          <ac:chgData name="Geir Nordstad" userId="5104b827-e3d0-4dae-99e7-15b02dd2905b" providerId="ADAL" clId="{B4DBC21F-2470-4FDF-A59C-955B12DF83B9}" dt="2022-05-03T17:13:06.487" v="1581" actId="478"/>
          <ac:spMkLst>
            <pc:docMk/>
            <pc:sldMk cId="2681962288" sldId="2147196264"/>
            <ac:spMk id="10" creationId="{A2864A4C-6D17-4619-B312-3C54F71BD012}"/>
          </ac:spMkLst>
        </pc:spChg>
        <pc:spChg chg="mod">
          <ac:chgData name="Geir Nordstad" userId="5104b827-e3d0-4dae-99e7-15b02dd2905b" providerId="ADAL" clId="{B4DBC21F-2470-4FDF-A59C-955B12DF83B9}" dt="2022-05-03T17:13:31.879" v="1586" actId="14100"/>
          <ac:spMkLst>
            <pc:docMk/>
            <pc:sldMk cId="2681962288" sldId="2147196264"/>
            <ac:spMk id="12" creationId="{DEFEF560-176A-4EA9-BD53-3C2D290957BE}"/>
          </ac:spMkLst>
        </pc:spChg>
        <pc:picChg chg="add mod">
          <ac:chgData name="Geir Nordstad" userId="5104b827-e3d0-4dae-99e7-15b02dd2905b" providerId="ADAL" clId="{B4DBC21F-2470-4FDF-A59C-955B12DF83B9}" dt="2022-05-03T17:13:20.448" v="1583" actId="1076"/>
          <ac:picMkLst>
            <pc:docMk/>
            <pc:sldMk cId="2681962288" sldId="2147196264"/>
            <ac:picMk id="2" creationId="{B736825A-C04F-859B-F851-38ED6ADEB602}"/>
          </ac:picMkLst>
        </pc:picChg>
      </pc:sldChg>
      <pc:sldChg chg="addSp delSp modSp add mod">
        <pc:chgData name="Geir Nordstad" userId="5104b827-e3d0-4dae-99e7-15b02dd2905b" providerId="ADAL" clId="{B4DBC21F-2470-4FDF-A59C-955B12DF83B9}" dt="2022-05-03T18:05:15.069" v="1991" actId="20577"/>
        <pc:sldMkLst>
          <pc:docMk/>
          <pc:sldMk cId="3277688024" sldId="2147196265"/>
        </pc:sldMkLst>
        <pc:spChg chg="add mod">
          <ac:chgData name="Geir Nordstad" userId="5104b827-e3d0-4dae-99e7-15b02dd2905b" providerId="ADAL" clId="{B4DBC21F-2470-4FDF-A59C-955B12DF83B9}" dt="2022-05-03T18:05:15.069" v="1991" actId="20577"/>
          <ac:spMkLst>
            <pc:docMk/>
            <pc:sldMk cId="3277688024" sldId="2147196265"/>
            <ac:spMk id="13" creationId="{86E5A131-8083-2D4D-059C-1E778D485D17}"/>
          </ac:spMkLst>
        </pc:spChg>
        <pc:picChg chg="del">
          <ac:chgData name="Geir Nordstad" userId="5104b827-e3d0-4dae-99e7-15b02dd2905b" providerId="ADAL" clId="{B4DBC21F-2470-4FDF-A59C-955B12DF83B9}" dt="2022-05-03T17:51:12.816" v="1878" actId="478"/>
          <ac:picMkLst>
            <pc:docMk/>
            <pc:sldMk cId="3277688024" sldId="2147196265"/>
            <ac:picMk id="2" creationId="{58918B9B-E689-3A5B-DFBD-94CB1DBB9808}"/>
          </ac:picMkLst>
        </pc:picChg>
        <pc:picChg chg="del">
          <ac:chgData name="Geir Nordstad" userId="5104b827-e3d0-4dae-99e7-15b02dd2905b" providerId="ADAL" clId="{B4DBC21F-2470-4FDF-A59C-955B12DF83B9}" dt="2022-05-03T17:51:14.306" v="1879" actId="478"/>
          <ac:picMkLst>
            <pc:docMk/>
            <pc:sldMk cId="3277688024" sldId="2147196265"/>
            <ac:picMk id="3" creationId="{1ED5C11B-1780-C05C-584A-830D4C88D90B}"/>
          </ac:picMkLst>
        </pc:picChg>
        <pc:picChg chg="add del">
          <ac:chgData name="Geir Nordstad" userId="5104b827-e3d0-4dae-99e7-15b02dd2905b" providerId="ADAL" clId="{B4DBC21F-2470-4FDF-A59C-955B12DF83B9}" dt="2022-05-03T17:51:56.571" v="1885" actId="478"/>
          <ac:picMkLst>
            <pc:docMk/>
            <pc:sldMk cId="3277688024" sldId="2147196265"/>
            <ac:picMk id="7" creationId="{47C37F11-59E4-CB2F-E7A9-87A4DFB2BAB2}"/>
          </ac:picMkLst>
        </pc:picChg>
        <pc:picChg chg="mod">
          <ac:chgData name="Geir Nordstad" userId="5104b827-e3d0-4dae-99e7-15b02dd2905b" providerId="ADAL" clId="{B4DBC21F-2470-4FDF-A59C-955B12DF83B9}" dt="2022-05-03T17:51:26.951" v="1883" actId="14100"/>
          <ac:picMkLst>
            <pc:docMk/>
            <pc:sldMk cId="3277688024" sldId="2147196265"/>
            <ac:picMk id="11" creationId="{FC259B5F-2C78-8CCC-3908-4E2E1CD12DAF}"/>
          </ac:picMkLst>
        </pc:picChg>
        <pc:picChg chg="mod">
          <ac:chgData name="Geir Nordstad" userId="5104b827-e3d0-4dae-99e7-15b02dd2905b" providerId="ADAL" clId="{B4DBC21F-2470-4FDF-A59C-955B12DF83B9}" dt="2022-05-03T17:51:23.361" v="1882" actId="14100"/>
          <ac:picMkLst>
            <pc:docMk/>
            <pc:sldMk cId="3277688024" sldId="2147196265"/>
            <ac:picMk id="12" creationId="{E83E4330-36A4-171F-9C8D-783832149F83}"/>
          </ac:picMkLst>
        </pc:picChg>
      </pc:sldChg>
      <pc:sldChg chg="modSp add mod">
        <pc:chgData name="Geir Nordstad" userId="5104b827-e3d0-4dae-99e7-15b02dd2905b" providerId="ADAL" clId="{B4DBC21F-2470-4FDF-A59C-955B12DF83B9}" dt="2022-05-03T18:40:44.417" v="2088" actId="255"/>
        <pc:sldMkLst>
          <pc:docMk/>
          <pc:sldMk cId="3170646866" sldId="2147196266"/>
        </pc:sldMkLst>
        <pc:spChg chg="mod">
          <ac:chgData name="Geir Nordstad" userId="5104b827-e3d0-4dae-99e7-15b02dd2905b" providerId="ADAL" clId="{B4DBC21F-2470-4FDF-A59C-955B12DF83B9}" dt="2022-05-03T18:40:44.417" v="2088" actId="255"/>
          <ac:spMkLst>
            <pc:docMk/>
            <pc:sldMk cId="3170646866" sldId="2147196266"/>
            <ac:spMk id="2" creationId="{DF5F7E0C-B02D-0DCC-34FB-9AE9BEF1F665}"/>
          </ac:spMkLst>
        </pc:spChg>
      </pc:sldChg>
      <pc:sldChg chg="add del">
        <pc:chgData name="Geir Nordstad" userId="5104b827-e3d0-4dae-99e7-15b02dd2905b" providerId="ADAL" clId="{B4DBC21F-2470-4FDF-A59C-955B12DF83B9}" dt="2022-05-03T18:46:05.418" v="2091"/>
        <pc:sldMkLst>
          <pc:docMk/>
          <pc:sldMk cId="930388532" sldId="2147196267"/>
        </pc:sldMkLst>
      </pc:sldChg>
      <pc:sldChg chg="modSp add del mod">
        <pc:chgData name="Geir Nordstad" userId="5104b827-e3d0-4dae-99e7-15b02dd2905b" providerId="ADAL" clId="{B4DBC21F-2470-4FDF-A59C-955B12DF83B9}" dt="2022-05-03T18:47:56.897" v="2097" actId="47"/>
        <pc:sldMkLst>
          <pc:docMk/>
          <pc:sldMk cId="1417789613" sldId="2147196267"/>
        </pc:sldMkLst>
        <pc:spChg chg="mod">
          <ac:chgData name="Geir Nordstad" userId="5104b827-e3d0-4dae-99e7-15b02dd2905b" providerId="ADAL" clId="{B4DBC21F-2470-4FDF-A59C-955B12DF83B9}" dt="2022-05-03T18:47:47.665" v="2096" actId="1076"/>
          <ac:spMkLst>
            <pc:docMk/>
            <pc:sldMk cId="1417789613" sldId="2147196267"/>
            <ac:spMk id="40" creationId="{27922180-0D58-46E8-B8D2-5C81AC0498C5}"/>
          </ac:spMkLst>
        </pc:spChg>
        <pc:cxnChg chg="mod">
          <ac:chgData name="Geir Nordstad" userId="5104b827-e3d0-4dae-99e7-15b02dd2905b" providerId="ADAL" clId="{B4DBC21F-2470-4FDF-A59C-955B12DF83B9}" dt="2022-05-03T18:47:47.665" v="2096" actId="1076"/>
          <ac:cxnSpMkLst>
            <pc:docMk/>
            <pc:sldMk cId="1417789613" sldId="2147196267"/>
            <ac:cxnSpMk id="37" creationId="{54CA5088-C6F7-4585-9DB4-C0D914637428}"/>
          </ac:cxnSpMkLst>
        </pc:cxnChg>
        <pc:cxnChg chg="mod">
          <ac:chgData name="Geir Nordstad" userId="5104b827-e3d0-4dae-99e7-15b02dd2905b" providerId="ADAL" clId="{B4DBC21F-2470-4FDF-A59C-955B12DF83B9}" dt="2022-05-03T18:47:47.665" v="2096" actId="1076"/>
          <ac:cxnSpMkLst>
            <pc:docMk/>
            <pc:sldMk cId="1417789613" sldId="2147196267"/>
            <ac:cxnSpMk id="41" creationId="{C3DD2C20-4A55-4105-A64C-42D94D0CDECC}"/>
          </ac:cxnSpMkLst>
        </pc:cxnChg>
      </pc:sldChg>
      <pc:sldChg chg="add del">
        <pc:chgData name="Geir Nordstad" userId="5104b827-e3d0-4dae-99e7-15b02dd2905b" providerId="ADAL" clId="{B4DBC21F-2470-4FDF-A59C-955B12DF83B9}" dt="2022-05-04T15:05:17.470" v="3675" actId="47"/>
        <pc:sldMkLst>
          <pc:docMk/>
          <pc:sldMk cId="1707180931" sldId="2147196267"/>
        </pc:sldMkLst>
      </pc:sldChg>
      <pc:sldChg chg="add">
        <pc:chgData name="Geir Nordstad" userId="5104b827-e3d0-4dae-99e7-15b02dd2905b" providerId="ADAL" clId="{B4DBC21F-2470-4FDF-A59C-955B12DF83B9}" dt="2022-05-04T12:06:41.177" v="2260"/>
        <pc:sldMkLst>
          <pc:docMk/>
          <pc:sldMk cId="2730836879" sldId="2147196268"/>
        </pc:sldMkLst>
      </pc:sldChg>
      <pc:sldChg chg="add">
        <pc:chgData name="Geir Nordstad" userId="5104b827-e3d0-4dae-99e7-15b02dd2905b" providerId="ADAL" clId="{B4DBC21F-2470-4FDF-A59C-955B12DF83B9}" dt="2022-05-04T12:07:18.488" v="2262"/>
        <pc:sldMkLst>
          <pc:docMk/>
          <pc:sldMk cId="1182133225" sldId="2147196269"/>
        </pc:sldMkLst>
      </pc:sldChg>
      <pc:sldChg chg="modSp add mod">
        <pc:chgData name="Geir Nordstad" userId="5104b827-e3d0-4dae-99e7-15b02dd2905b" providerId="ADAL" clId="{B4DBC21F-2470-4FDF-A59C-955B12DF83B9}" dt="2022-05-04T12:08:30.882" v="2266" actId="20577"/>
        <pc:sldMkLst>
          <pc:docMk/>
          <pc:sldMk cId="2461878183" sldId="2147196270"/>
        </pc:sldMkLst>
        <pc:spChg chg="mod">
          <ac:chgData name="Geir Nordstad" userId="5104b827-e3d0-4dae-99e7-15b02dd2905b" providerId="ADAL" clId="{B4DBC21F-2470-4FDF-A59C-955B12DF83B9}" dt="2022-05-04T12:08:30.882" v="2266" actId="20577"/>
          <ac:spMkLst>
            <pc:docMk/>
            <pc:sldMk cId="2461878183" sldId="2147196270"/>
            <ac:spMk id="2" creationId="{00000000-0000-0000-0000-000000000000}"/>
          </ac:spMkLst>
        </pc:spChg>
      </pc:sldChg>
      <pc:sldChg chg="delSp modSp add mod">
        <pc:chgData name="Geir Nordstad" userId="5104b827-e3d0-4dae-99e7-15b02dd2905b" providerId="ADAL" clId="{B4DBC21F-2470-4FDF-A59C-955B12DF83B9}" dt="2022-05-04T14:56:28.410" v="3670" actId="20577"/>
        <pc:sldMkLst>
          <pc:docMk/>
          <pc:sldMk cId="1237584705" sldId="2147196271"/>
        </pc:sldMkLst>
        <pc:spChg chg="del">
          <ac:chgData name="Geir Nordstad" userId="5104b827-e3d0-4dae-99e7-15b02dd2905b" providerId="ADAL" clId="{B4DBC21F-2470-4FDF-A59C-955B12DF83B9}" dt="2022-05-04T12:24:15.217" v="2304" actId="478"/>
          <ac:spMkLst>
            <pc:docMk/>
            <pc:sldMk cId="1237584705" sldId="2147196271"/>
            <ac:spMk id="16" creationId="{99123B10-B995-4854-BB18-684E7BDFE095}"/>
          </ac:spMkLst>
        </pc:spChg>
        <pc:spChg chg="mod">
          <ac:chgData name="Geir Nordstad" userId="5104b827-e3d0-4dae-99e7-15b02dd2905b" providerId="ADAL" clId="{B4DBC21F-2470-4FDF-A59C-955B12DF83B9}" dt="2022-05-04T14:56:28.410" v="3670" actId="20577"/>
          <ac:spMkLst>
            <pc:docMk/>
            <pc:sldMk cId="1237584705" sldId="2147196271"/>
            <ac:spMk id="31" creationId="{C692D4E1-AD4D-4373-8B4D-465CF75A4D1A}"/>
          </ac:spMkLst>
        </pc:spChg>
      </pc:sldChg>
      <pc:sldChg chg="modSp add del mod">
        <pc:chgData name="Geir Nordstad" userId="5104b827-e3d0-4dae-99e7-15b02dd2905b" providerId="ADAL" clId="{B4DBC21F-2470-4FDF-A59C-955B12DF83B9}" dt="2022-05-04T12:23:54.978" v="2302" actId="47"/>
        <pc:sldMkLst>
          <pc:docMk/>
          <pc:sldMk cId="2690161122" sldId="2147196271"/>
        </pc:sldMkLst>
        <pc:graphicFrameChg chg="mod">
          <ac:chgData name="Geir Nordstad" userId="5104b827-e3d0-4dae-99e7-15b02dd2905b" providerId="ADAL" clId="{B4DBC21F-2470-4FDF-A59C-955B12DF83B9}" dt="2022-05-04T12:19:46.182" v="2297" actId="2085"/>
          <ac:graphicFrameMkLst>
            <pc:docMk/>
            <pc:sldMk cId="2690161122" sldId="2147196271"/>
            <ac:graphicFrameMk id="8" creationId="{2F2BF20D-BADB-4DFB-AC97-AA6585D0EE1F}"/>
          </ac:graphicFrameMkLst>
        </pc:graphicFrameChg>
      </pc:sldChg>
      <pc:sldChg chg="addSp delSp modSp add mod ord">
        <pc:chgData name="Geir Nordstad" userId="5104b827-e3d0-4dae-99e7-15b02dd2905b" providerId="ADAL" clId="{B4DBC21F-2470-4FDF-A59C-955B12DF83B9}" dt="2022-05-04T14:46:51.048" v="3572"/>
        <pc:sldMkLst>
          <pc:docMk/>
          <pc:sldMk cId="1107227499" sldId="2147196272"/>
        </pc:sldMkLst>
        <pc:spChg chg="add mod">
          <ac:chgData name="Geir Nordstad" userId="5104b827-e3d0-4dae-99e7-15b02dd2905b" providerId="ADAL" clId="{B4DBC21F-2470-4FDF-A59C-955B12DF83B9}" dt="2022-05-04T13:29:16.837" v="2563" actId="1076"/>
          <ac:spMkLst>
            <pc:docMk/>
            <pc:sldMk cId="1107227499" sldId="2147196272"/>
            <ac:spMk id="2" creationId="{E4555CB1-D8FB-BAB9-E5C4-52D8D8D25C71}"/>
          </ac:spMkLst>
        </pc:spChg>
        <pc:spChg chg="add mod">
          <ac:chgData name="Geir Nordstad" userId="5104b827-e3d0-4dae-99e7-15b02dd2905b" providerId="ADAL" clId="{B4DBC21F-2470-4FDF-A59C-955B12DF83B9}" dt="2022-05-04T13:26:12.563" v="2521"/>
          <ac:spMkLst>
            <pc:docMk/>
            <pc:sldMk cId="1107227499" sldId="2147196272"/>
            <ac:spMk id="10" creationId="{BC47A2BE-DE82-E2B5-0303-9D7B35391D39}"/>
          </ac:spMkLst>
        </pc:spChg>
        <pc:spChg chg="add mod">
          <ac:chgData name="Geir Nordstad" userId="5104b827-e3d0-4dae-99e7-15b02dd2905b" providerId="ADAL" clId="{B4DBC21F-2470-4FDF-A59C-955B12DF83B9}" dt="2022-05-04T13:26:48.360" v="2535" actId="20577"/>
          <ac:spMkLst>
            <pc:docMk/>
            <pc:sldMk cId="1107227499" sldId="2147196272"/>
            <ac:spMk id="11" creationId="{B7180DEC-8903-ADEB-53B3-B8563782B62D}"/>
          </ac:spMkLst>
        </pc:spChg>
        <pc:spChg chg="add mod">
          <ac:chgData name="Geir Nordstad" userId="5104b827-e3d0-4dae-99e7-15b02dd2905b" providerId="ADAL" clId="{B4DBC21F-2470-4FDF-A59C-955B12DF83B9}" dt="2022-05-04T13:27:34.600" v="2542" actId="20577"/>
          <ac:spMkLst>
            <pc:docMk/>
            <pc:sldMk cId="1107227499" sldId="2147196272"/>
            <ac:spMk id="12" creationId="{0FC2A648-8A9D-D4DC-E81E-580E05A7D458}"/>
          </ac:spMkLst>
        </pc:spChg>
        <pc:spChg chg="add mod">
          <ac:chgData name="Geir Nordstad" userId="5104b827-e3d0-4dae-99e7-15b02dd2905b" providerId="ADAL" clId="{B4DBC21F-2470-4FDF-A59C-955B12DF83B9}" dt="2022-05-04T13:28:36.513" v="2561" actId="20577"/>
          <ac:spMkLst>
            <pc:docMk/>
            <pc:sldMk cId="1107227499" sldId="2147196272"/>
            <ac:spMk id="13" creationId="{418FD43E-6A76-4595-AC24-D9B76EF52302}"/>
          </ac:spMkLst>
        </pc:spChg>
        <pc:spChg chg="add mod">
          <ac:chgData name="Geir Nordstad" userId="5104b827-e3d0-4dae-99e7-15b02dd2905b" providerId="ADAL" clId="{B4DBC21F-2470-4FDF-A59C-955B12DF83B9}" dt="2022-05-04T13:28:29.273" v="2554" actId="20577"/>
          <ac:spMkLst>
            <pc:docMk/>
            <pc:sldMk cId="1107227499" sldId="2147196272"/>
            <ac:spMk id="14" creationId="{E8C8374F-850E-A9C3-7B7A-98E3EDB5B231}"/>
          </ac:spMkLst>
        </pc:spChg>
        <pc:spChg chg="add mod">
          <ac:chgData name="Geir Nordstad" userId="5104b827-e3d0-4dae-99e7-15b02dd2905b" providerId="ADAL" clId="{B4DBC21F-2470-4FDF-A59C-955B12DF83B9}" dt="2022-05-04T13:29:30.600" v="2570" actId="20577"/>
          <ac:spMkLst>
            <pc:docMk/>
            <pc:sldMk cId="1107227499" sldId="2147196272"/>
            <ac:spMk id="15" creationId="{5BA3D9F1-D1D7-0E5B-1236-302A5EED4699}"/>
          </ac:spMkLst>
        </pc:spChg>
        <pc:spChg chg="del">
          <ac:chgData name="Geir Nordstad" userId="5104b827-e3d0-4dae-99e7-15b02dd2905b" providerId="ADAL" clId="{B4DBC21F-2470-4FDF-A59C-955B12DF83B9}" dt="2022-05-04T13:26:28.403" v="2522" actId="478"/>
          <ac:spMkLst>
            <pc:docMk/>
            <pc:sldMk cId="1107227499" sldId="2147196272"/>
            <ac:spMk id="31" creationId="{C692D4E1-AD4D-4373-8B4D-465CF75A4D1A}"/>
          </ac:spMkLst>
        </pc:spChg>
      </pc:sldChg>
      <pc:sldChg chg="add del">
        <pc:chgData name="Geir Nordstad" userId="5104b827-e3d0-4dae-99e7-15b02dd2905b" providerId="ADAL" clId="{B4DBC21F-2470-4FDF-A59C-955B12DF83B9}" dt="2022-05-04T12:48:28.995" v="2511" actId="47"/>
        <pc:sldMkLst>
          <pc:docMk/>
          <pc:sldMk cId="2308884990" sldId="2147196272"/>
        </pc:sldMkLst>
      </pc:sldChg>
      <pc:sldChg chg="addSp delSp modSp add mod ord">
        <pc:chgData name="Geir Nordstad" userId="5104b827-e3d0-4dae-99e7-15b02dd2905b" providerId="ADAL" clId="{B4DBC21F-2470-4FDF-A59C-955B12DF83B9}" dt="2022-05-04T14:50:51.445" v="3629" actId="20577"/>
        <pc:sldMkLst>
          <pc:docMk/>
          <pc:sldMk cId="4214011227" sldId="2147196273"/>
        </pc:sldMkLst>
        <pc:spChg chg="mod">
          <ac:chgData name="Geir Nordstad" userId="5104b827-e3d0-4dae-99e7-15b02dd2905b" providerId="ADAL" clId="{B4DBC21F-2470-4FDF-A59C-955B12DF83B9}" dt="2022-05-04T14:50:47.727" v="3627" actId="20577"/>
          <ac:spMkLst>
            <pc:docMk/>
            <pc:sldMk cId="4214011227" sldId="2147196273"/>
            <ac:spMk id="7" creationId="{E77D256D-E178-12BC-FC62-436776AB06D7}"/>
          </ac:spMkLst>
        </pc:spChg>
        <pc:spChg chg="mod">
          <ac:chgData name="Geir Nordstad" userId="5104b827-e3d0-4dae-99e7-15b02dd2905b" providerId="ADAL" clId="{B4DBC21F-2470-4FDF-A59C-955B12DF83B9}" dt="2022-05-04T14:50:51.445" v="3629" actId="20577"/>
          <ac:spMkLst>
            <pc:docMk/>
            <pc:sldMk cId="4214011227" sldId="2147196273"/>
            <ac:spMk id="12" creationId="{2368D344-2ACE-280D-DD59-D37E15D895F4}"/>
          </ac:spMkLst>
        </pc:spChg>
        <pc:spChg chg="add mod">
          <ac:chgData name="Geir Nordstad" userId="5104b827-e3d0-4dae-99e7-15b02dd2905b" providerId="ADAL" clId="{B4DBC21F-2470-4FDF-A59C-955B12DF83B9}" dt="2022-05-04T13:05:25.482" v="2517"/>
          <ac:spMkLst>
            <pc:docMk/>
            <pc:sldMk cId="4214011227" sldId="2147196273"/>
            <ac:spMk id="13" creationId="{4BC68059-199F-587B-61BD-9D3D35F9DC64}"/>
          </ac:spMkLst>
        </pc:spChg>
        <pc:spChg chg="del">
          <ac:chgData name="Geir Nordstad" userId="5104b827-e3d0-4dae-99e7-15b02dd2905b" providerId="ADAL" clId="{B4DBC21F-2470-4FDF-A59C-955B12DF83B9}" dt="2022-05-04T13:05:14.257" v="2516" actId="478"/>
          <ac:spMkLst>
            <pc:docMk/>
            <pc:sldMk cId="4214011227" sldId="2147196273"/>
            <ac:spMk id="31" creationId="{C692D4E1-AD4D-4373-8B4D-465CF75A4D1A}"/>
          </ac:spMkLst>
        </pc:spChg>
      </pc:sldChg>
      <pc:sldChg chg="add ord">
        <pc:chgData name="Geir Nordstad" userId="5104b827-e3d0-4dae-99e7-15b02dd2905b" providerId="ADAL" clId="{B4DBC21F-2470-4FDF-A59C-955B12DF83B9}" dt="2022-05-04T14:58:02.576" v="3673"/>
        <pc:sldMkLst>
          <pc:docMk/>
          <pc:sldMk cId="2713139086" sldId="2147196274"/>
        </pc:sldMkLst>
      </pc:sldChg>
      <pc:sldChg chg="add">
        <pc:chgData name="Geir Nordstad" userId="5104b827-e3d0-4dae-99e7-15b02dd2905b" providerId="ADAL" clId="{B4DBC21F-2470-4FDF-A59C-955B12DF83B9}" dt="2022-05-04T13:34:05.792" v="2572"/>
        <pc:sldMkLst>
          <pc:docMk/>
          <pc:sldMk cId="2777024527" sldId="2147196275"/>
        </pc:sldMkLst>
      </pc:sldChg>
    </pc:docChg>
  </pc:docChgLst>
  <pc:docChgLst>
    <pc:chgData name="Lars M. Kyte" userId="be211766-9f61-4875-b4e8-bfe0c7620e15" providerId="ADAL" clId="{AA849FE1-2F02-4D1B-BD62-8493AB475660}"/>
    <pc:docChg chg="modSld">
      <pc:chgData name="Lars M. Kyte" userId="be211766-9f61-4875-b4e8-bfe0c7620e15" providerId="ADAL" clId="{AA849FE1-2F02-4D1B-BD62-8493AB475660}" dt="2022-05-03T15:22:25.803" v="85" actId="20577"/>
      <pc:docMkLst>
        <pc:docMk/>
      </pc:docMkLst>
      <pc:sldChg chg="modSp mod">
        <pc:chgData name="Lars M. Kyte" userId="be211766-9f61-4875-b4e8-bfe0c7620e15" providerId="ADAL" clId="{AA849FE1-2F02-4D1B-BD62-8493AB475660}" dt="2022-05-03T08:48:57.074" v="18" actId="732"/>
        <pc:sldMkLst>
          <pc:docMk/>
          <pc:sldMk cId="498108127" sldId="2147196208"/>
        </pc:sldMkLst>
        <pc:picChg chg="mod modCrop">
          <ac:chgData name="Lars M. Kyte" userId="be211766-9f61-4875-b4e8-bfe0c7620e15" providerId="ADAL" clId="{AA849FE1-2F02-4D1B-BD62-8493AB475660}" dt="2022-05-03T08:48:57.074" v="18" actId="732"/>
          <ac:picMkLst>
            <pc:docMk/>
            <pc:sldMk cId="498108127" sldId="2147196208"/>
            <ac:picMk id="2" creationId="{4F9A451A-3063-482E-8B55-185E1389BA62}"/>
          </ac:picMkLst>
        </pc:picChg>
      </pc:sldChg>
      <pc:sldChg chg="modSp mod">
        <pc:chgData name="Lars M. Kyte" userId="be211766-9f61-4875-b4e8-bfe0c7620e15" providerId="ADAL" clId="{AA849FE1-2F02-4D1B-BD62-8493AB475660}" dt="2022-05-03T08:48:04.103" v="17" actId="20577"/>
        <pc:sldMkLst>
          <pc:docMk/>
          <pc:sldMk cId="1002292167" sldId="2147196210"/>
        </pc:sldMkLst>
        <pc:spChg chg="mod">
          <ac:chgData name="Lars M. Kyte" userId="be211766-9f61-4875-b4e8-bfe0c7620e15" providerId="ADAL" clId="{AA849FE1-2F02-4D1B-BD62-8493AB475660}" dt="2022-05-03T08:48:04.103" v="17" actId="20577"/>
          <ac:spMkLst>
            <pc:docMk/>
            <pc:sldMk cId="1002292167" sldId="2147196210"/>
            <ac:spMk id="26" creationId="{7D6DA938-2294-487C-81AA-1345BB48C76A}"/>
          </ac:spMkLst>
        </pc:spChg>
      </pc:sldChg>
      <pc:sldChg chg="modSp mod">
        <pc:chgData name="Lars M. Kyte" userId="be211766-9f61-4875-b4e8-bfe0c7620e15" providerId="ADAL" clId="{AA849FE1-2F02-4D1B-BD62-8493AB475660}" dt="2022-05-03T08:54:53.665" v="22" actId="20577"/>
        <pc:sldMkLst>
          <pc:docMk/>
          <pc:sldMk cId="3326754309" sldId="2147196248"/>
        </pc:sldMkLst>
        <pc:spChg chg="mod">
          <ac:chgData name="Lars M. Kyte" userId="be211766-9f61-4875-b4e8-bfe0c7620e15" providerId="ADAL" clId="{AA849FE1-2F02-4D1B-BD62-8493AB475660}" dt="2022-05-03T08:54:53.665" v="22" actId="20577"/>
          <ac:spMkLst>
            <pc:docMk/>
            <pc:sldMk cId="3326754309" sldId="2147196248"/>
            <ac:spMk id="7" creationId="{E77D256D-E178-12BC-FC62-436776AB06D7}"/>
          </ac:spMkLst>
        </pc:spChg>
      </pc:sldChg>
      <pc:sldChg chg="modSp mod">
        <pc:chgData name="Lars M. Kyte" userId="be211766-9f61-4875-b4e8-bfe0c7620e15" providerId="ADAL" clId="{AA849FE1-2F02-4D1B-BD62-8493AB475660}" dt="2022-05-03T15:22:25.803" v="85" actId="20577"/>
        <pc:sldMkLst>
          <pc:docMk/>
          <pc:sldMk cId="2083447068" sldId="2147196262"/>
        </pc:sldMkLst>
        <pc:spChg chg="mod">
          <ac:chgData name="Lars M. Kyte" userId="be211766-9f61-4875-b4e8-bfe0c7620e15" providerId="ADAL" clId="{AA849FE1-2F02-4D1B-BD62-8493AB475660}" dt="2022-05-03T15:22:25.803" v="85" actId="20577"/>
          <ac:spMkLst>
            <pc:docMk/>
            <pc:sldMk cId="2083447068" sldId="2147196262"/>
            <ac:spMk id="7" creationId="{72A1FD12-E0CC-4D77-8A10-9DAC066B7320}"/>
          </ac:spMkLst>
        </pc:spChg>
      </pc:sldChg>
    </pc:docChg>
  </pc:docChgLst>
  <pc:docChgLst>
    <pc:chgData name="Trond Lehmann Syversen" userId="2704c0d4-246a-48d8-bce2-7aec386bb1ed" providerId="ADAL" clId="{A8E3C890-8A21-467A-8ADF-0136B657AFBC}"/>
    <pc:docChg chg="custSel addSld delSld modSld sldOrd">
      <pc:chgData name="Trond Lehmann Syversen" userId="2704c0d4-246a-48d8-bce2-7aec386bb1ed" providerId="ADAL" clId="{A8E3C890-8A21-467A-8ADF-0136B657AFBC}" dt="2022-05-02T13:55:20.286" v="643" actId="27918"/>
      <pc:docMkLst>
        <pc:docMk/>
      </pc:docMkLst>
      <pc:sldChg chg="modNotes">
        <pc:chgData name="Trond Lehmann Syversen" userId="2704c0d4-246a-48d8-bce2-7aec386bb1ed" providerId="ADAL" clId="{A8E3C890-8A21-467A-8ADF-0136B657AFBC}" dt="2022-05-02T13:20:21.759" v="287"/>
        <pc:sldMkLst>
          <pc:docMk/>
          <pc:sldMk cId="2416794996" sldId="359"/>
        </pc:sldMkLst>
      </pc:sldChg>
      <pc:sldChg chg="mod">
        <pc:chgData name="Trond Lehmann Syversen" userId="2704c0d4-246a-48d8-bce2-7aec386bb1ed" providerId="ADAL" clId="{A8E3C890-8A21-467A-8ADF-0136B657AFBC}" dt="2022-05-02T12:10:22.756" v="44" actId="27918"/>
        <pc:sldMkLst>
          <pc:docMk/>
          <pc:sldMk cId="1550204809" sldId="361"/>
        </pc:sldMkLst>
      </pc:sldChg>
      <pc:sldChg chg="modSp">
        <pc:chgData name="Trond Lehmann Syversen" userId="2704c0d4-246a-48d8-bce2-7aec386bb1ed" providerId="ADAL" clId="{A8E3C890-8A21-467A-8ADF-0136B657AFBC}" dt="2022-05-02T12:07:27.661" v="33" actId="14100"/>
        <pc:sldMkLst>
          <pc:docMk/>
          <pc:sldMk cId="1970506032" sldId="455"/>
        </pc:sldMkLst>
        <pc:graphicFrameChg chg="mod">
          <ac:chgData name="Trond Lehmann Syversen" userId="2704c0d4-246a-48d8-bce2-7aec386bb1ed" providerId="ADAL" clId="{A8E3C890-8A21-467A-8ADF-0136B657AFBC}" dt="2022-05-02T12:07:27.661" v="33" actId="14100"/>
          <ac:graphicFrameMkLst>
            <pc:docMk/>
            <pc:sldMk cId="1970506032" sldId="455"/>
            <ac:graphicFrameMk id="11" creationId="{00000000-0000-0000-0000-000000000000}"/>
          </ac:graphicFrameMkLst>
        </pc:graphicFrameChg>
      </pc:sldChg>
      <pc:sldChg chg="addSp delSp modSp mod">
        <pc:chgData name="Trond Lehmann Syversen" userId="2704c0d4-246a-48d8-bce2-7aec386bb1ed" providerId="ADAL" clId="{A8E3C890-8A21-467A-8ADF-0136B657AFBC}" dt="2022-05-02T11:55:56.157" v="29" actId="1076"/>
        <pc:sldMkLst>
          <pc:docMk/>
          <pc:sldMk cId="886878545" sldId="477"/>
        </pc:sldMkLst>
        <pc:spChg chg="mod">
          <ac:chgData name="Trond Lehmann Syversen" userId="2704c0d4-246a-48d8-bce2-7aec386bb1ed" providerId="ADAL" clId="{A8E3C890-8A21-467A-8ADF-0136B657AFBC}" dt="2022-05-02T11:55:02.297" v="18" actId="20577"/>
          <ac:spMkLst>
            <pc:docMk/>
            <pc:sldMk cId="886878545" sldId="477"/>
            <ac:spMk id="2" creationId="{D3DE330A-705B-415A-A6F5-E2144ADCBC3F}"/>
          </ac:spMkLst>
        </pc:spChg>
        <pc:picChg chg="del">
          <ac:chgData name="Trond Lehmann Syversen" userId="2704c0d4-246a-48d8-bce2-7aec386bb1ed" providerId="ADAL" clId="{A8E3C890-8A21-467A-8ADF-0136B657AFBC}" dt="2022-05-02T11:55:04.819" v="19" actId="478"/>
          <ac:picMkLst>
            <pc:docMk/>
            <pc:sldMk cId="886878545" sldId="477"/>
            <ac:picMk id="4" creationId="{53A21874-86AA-4ED2-86A6-4B88032F3CE6}"/>
          </ac:picMkLst>
        </pc:picChg>
        <pc:picChg chg="add mod modCrop">
          <ac:chgData name="Trond Lehmann Syversen" userId="2704c0d4-246a-48d8-bce2-7aec386bb1ed" providerId="ADAL" clId="{A8E3C890-8A21-467A-8ADF-0136B657AFBC}" dt="2022-05-02T11:55:56.157" v="29" actId="1076"/>
          <ac:picMkLst>
            <pc:docMk/>
            <pc:sldMk cId="886878545" sldId="477"/>
            <ac:picMk id="5" creationId="{DD2DE185-4C25-6B85-C27A-3A0916602569}"/>
          </ac:picMkLst>
        </pc:picChg>
      </pc:sldChg>
      <pc:sldChg chg="addSp modSp mod">
        <pc:chgData name="Trond Lehmann Syversen" userId="2704c0d4-246a-48d8-bce2-7aec386bb1ed" providerId="ADAL" clId="{A8E3C890-8A21-467A-8ADF-0136B657AFBC}" dt="2022-05-02T13:46:35.920" v="642" actId="20577"/>
        <pc:sldMkLst>
          <pc:docMk/>
          <pc:sldMk cId="1528708216" sldId="2147196200"/>
        </pc:sldMkLst>
        <pc:spChg chg="mod">
          <ac:chgData name="Trond Lehmann Syversen" userId="2704c0d4-246a-48d8-bce2-7aec386bb1ed" providerId="ADAL" clId="{A8E3C890-8A21-467A-8ADF-0136B657AFBC}" dt="2022-05-02T13:46:35.920" v="642" actId="20577"/>
          <ac:spMkLst>
            <pc:docMk/>
            <pc:sldMk cId="1528708216" sldId="2147196200"/>
            <ac:spMk id="34" creationId="{476F891B-B5A6-4A05-BA4F-DE4B89EFA002}"/>
          </ac:spMkLst>
        </pc:spChg>
        <pc:spChg chg="add mod">
          <ac:chgData name="Trond Lehmann Syversen" userId="2704c0d4-246a-48d8-bce2-7aec386bb1ed" providerId="ADAL" clId="{A8E3C890-8A21-467A-8ADF-0136B657AFBC}" dt="2022-05-02T13:46:28.447" v="635" actId="1076"/>
          <ac:spMkLst>
            <pc:docMk/>
            <pc:sldMk cId="1528708216" sldId="2147196200"/>
            <ac:spMk id="35" creationId="{A5984C46-3A53-ED9C-052C-36E1EB40E87A}"/>
          </ac:spMkLst>
        </pc:spChg>
        <pc:spChg chg="add mod">
          <ac:chgData name="Trond Lehmann Syversen" userId="2704c0d4-246a-48d8-bce2-7aec386bb1ed" providerId="ADAL" clId="{A8E3C890-8A21-467A-8ADF-0136B657AFBC}" dt="2022-05-02T13:46:10.564" v="630" actId="20577"/>
          <ac:spMkLst>
            <pc:docMk/>
            <pc:sldMk cId="1528708216" sldId="2147196200"/>
            <ac:spMk id="36" creationId="{F3BC960B-8AD3-F4B1-9C1A-AA262A5EA057}"/>
          </ac:spMkLst>
        </pc:spChg>
        <pc:spChg chg="add mod">
          <ac:chgData name="Trond Lehmann Syversen" userId="2704c0d4-246a-48d8-bce2-7aec386bb1ed" providerId="ADAL" clId="{A8E3C890-8A21-467A-8ADF-0136B657AFBC}" dt="2022-05-02T13:46:26.174" v="634" actId="1076"/>
          <ac:spMkLst>
            <pc:docMk/>
            <pc:sldMk cId="1528708216" sldId="2147196200"/>
            <ac:spMk id="37" creationId="{0FE2BAE6-0E81-35FA-D61E-AEF8334414DA}"/>
          </ac:spMkLst>
        </pc:spChg>
        <pc:picChg chg="mod">
          <ac:chgData name="Trond Lehmann Syversen" userId="2704c0d4-246a-48d8-bce2-7aec386bb1ed" providerId="ADAL" clId="{A8E3C890-8A21-467A-8ADF-0136B657AFBC}" dt="2022-05-02T13:45:32.044" v="619" actId="1076"/>
          <ac:picMkLst>
            <pc:docMk/>
            <pc:sldMk cId="1528708216" sldId="2147196200"/>
            <ac:picMk id="2" creationId="{EB4F04EE-B63D-4F64-B858-5F754ED4A2DB}"/>
          </ac:picMkLst>
        </pc:picChg>
        <pc:picChg chg="add mod">
          <ac:chgData name="Trond Lehmann Syversen" userId="2704c0d4-246a-48d8-bce2-7aec386bb1ed" providerId="ADAL" clId="{A8E3C890-8A21-467A-8ADF-0136B657AFBC}" dt="2022-05-02T13:45:44.983" v="621" actId="1076"/>
          <ac:picMkLst>
            <pc:docMk/>
            <pc:sldMk cId="1528708216" sldId="2147196200"/>
            <ac:picMk id="38" creationId="{A47D53EC-ACE5-CE5B-2801-BDAE6D477AC6}"/>
          </ac:picMkLst>
        </pc:picChg>
      </pc:sldChg>
      <pc:sldChg chg="modSp del mod">
        <pc:chgData name="Trond Lehmann Syversen" userId="2704c0d4-246a-48d8-bce2-7aec386bb1ed" providerId="ADAL" clId="{A8E3C890-8A21-467A-8ADF-0136B657AFBC}" dt="2022-05-02T12:10:47.465" v="45" actId="2696"/>
        <pc:sldMkLst>
          <pc:docMk/>
          <pc:sldMk cId="648490563" sldId="2147196207"/>
        </pc:sldMkLst>
        <pc:spChg chg="mod">
          <ac:chgData name="Trond Lehmann Syversen" userId="2704c0d4-246a-48d8-bce2-7aec386bb1ed" providerId="ADAL" clId="{A8E3C890-8A21-467A-8ADF-0136B657AFBC}" dt="2022-05-02T12:07:46.413" v="40" actId="20577"/>
          <ac:spMkLst>
            <pc:docMk/>
            <pc:sldMk cId="648490563" sldId="2147196207"/>
            <ac:spMk id="31" creationId="{C692D4E1-AD4D-4373-8B4D-465CF75A4D1A}"/>
          </ac:spMkLst>
        </pc:spChg>
      </pc:sldChg>
      <pc:sldChg chg="addSp delSp modSp add mod">
        <pc:chgData name="Trond Lehmann Syversen" userId="2704c0d4-246a-48d8-bce2-7aec386bb1ed" providerId="ADAL" clId="{A8E3C890-8A21-467A-8ADF-0136B657AFBC}" dt="2022-05-02T12:32:58.580" v="232" actId="1076"/>
        <pc:sldMkLst>
          <pc:docMk/>
          <pc:sldMk cId="449661084" sldId="2147196245"/>
        </pc:sldMkLst>
        <pc:spChg chg="del">
          <ac:chgData name="Trond Lehmann Syversen" userId="2704c0d4-246a-48d8-bce2-7aec386bb1ed" providerId="ADAL" clId="{A8E3C890-8A21-467A-8ADF-0136B657AFBC}" dt="2022-05-02T12:20:58.283" v="47" actId="478"/>
          <ac:spMkLst>
            <pc:docMk/>
            <pc:sldMk cId="449661084" sldId="2147196245"/>
            <ac:spMk id="2" creationId="{47575D2D-1A88-4EF2-99A5-5B356FA99E44}"/>
          </ac:spMkLst>
        </pc:spChg>
        <pc:spChg chg="add del mod">
          <ac:chgData name="Trond Lehmann Syversen" userId="2704c0d4-246a-48d8-bce2-7aec386bb1ed" providerId="ADAL" clId="{A8E3C890-8A21-467A-8ADF-0136B657AFBC}" dt="2022-05-02T12:22:59.609" v="67"/>
          <ac:spMkLst>
            <pc:docMk/>
            <pc:sldMk cId="449661084" sldId="2147196245"/>
            <ac:spMk id="3" creationId="{78F858B1-C774-8C15-FBBC-8DFCC647CF60}"/>
          </ac:spMkLst>
        </pc:spChg>
        <pc:spChg chg="mod">
          <ac:chgData name="Trond Lehmann Syversen" userId="2704c0d4-246a-48d8-bce2-7aec386bb1ed" providerId="ADAL" clId="{A8E3C890-8A21-467A-8ADF-0136B657AFBC}" dt="2022-05-02T12:25:07.292" v="161" actId="20577"/>
          <ac:spMkLst>
            <pc:docMk/>
            <pc:sldMk cId="449661084" sldId="2147196245"/>
            <ac:spMk id="7" creationId="{72A1FD12-E0CC-4D77-8A10-9DAC066B7320}"/>
          </ac:spMkLst>
        </pc:spChg>
        <pc:spChg chg="add mod">
          <ac:chgData name="Trond Lehmann Syversen" userId="2704c0d4-246a-48d8-bce2-7aec386bb1ed" providerId="ADAL" clId="{A8E3C890-8A21-467A-8ADF-0136B657AFBC}" dt="2022-05-02T12:27:26.122" v="200" actId="1076"/>
          <ac:spMkLst>
            <pc:docMk/>
            <pc:sldMk cId="449661084" sldId="2147196245"/>
            <ac:spMk id="9" creationId="{686126C7-AD6C-0B47-7E64-AA953E334859}"/>
          </ac:spMkLst>
        </pc:spChg>
        <pc:spChg chg="add mod">
          <ac:chgData name="Trond Lehmann Syversen" userId="2704c0d4-246a-48d8-bce2-7aec386bb1ed" providerId="ADAL" clId="{A8E3C890-8A21-467A-8ADF-0136B657AFBC}" dt="2022-05-02T12:27:07.963" v="197" actId="1076"/>
          <ac:spMkLst>
            <pc:docMk/>
            <pc:sldMk cId="449661084" sldId="2147196245"/>
            <ac:spMk id="10" creationId="{EC86FE43-835B-ED87-FE64-BF9E48DDA2EA}"/>
          </ac:spMkLst>
        </pc:spChg>
        <pc:spChg chg="add mod">
          <ac:chgData name="Trond Lehmann Syversen" userId="2704c0d4-246a-48d8-bce2-7aec386bb1ed" providerId="ADAL" clId="{A8E3C890-8A21-467A-8ADF-0136B657AFBC}" dt="2022-05-02T12:27:07.963" v="197" actId="1076"/>
          <ac:spMkLst>
            <pc:docMk/>
            <pc:sldMk cId="449661084" sldId="2147196245"/>
            <ac:spMk id="14" creationId="{16A1E893-5A90-FA3B-77E1-B11C07686E87}"/>
          </ac:spMkLst>
        </pc:spChg>
        <pc:spChg chg="add mod">
          <ac:chgData name="Trond Lehmann Syversen" userId="2704c0d4-246a-48d8-bce2-7aec386bb1ed" providerId="ADAL" clId="{A8E3C890-8A21-467A-8ADF-0136B657AFBC}" dt="2022-05-02T12:27:07.963" v="197" actId="1076"/>
          <ac:spMkLst>
            <pc:docMk/>
            <pc:sldMk cId="449661084" sldId="2147196245"/>
            <ac:spMk id="15" creationId="{954551F8-8D12-B1CD-461E-76534242655A}"/>
          </ac:spMkLst>
        </pc:spChg>
        <pc:spChg chg="add mod">
          <ac:chgData name="Trond Lehmann Syversen" userId="2704c0d4-246a-48d8-bce2-7aec386bb1ed" providerId="ADAL" clId="{A8E3C890-8A21-467A-8ADF-0136B657AFBC}" dt="2022-05-02T12:27:33.987" v="206" actId="20577"/>
          <ac:spMkLst>
            <pc:docMk/>
            <pc:sldMk cId="449661084" sldId="2147196245"/>
            <ac:spMk id="18" creationId="{5F5E072F-38CA-82D6-0519-99A1D3E95FE4}"/>
          </ac:spMkLst>
        </pc:spChg>
        <pc:spChg chg="add mod">
          <ac:chgData name="Trond Lehmann Syversen" userId="2704c0d4-246a-48d8-bce2-7aec386bb1ed" providerId="ADAL" clId="{A8E3C890-8A21-467A-8ADF-0136B657AFBC}" dt="2022-05-02T12:27:07.963" v="197" actId="1076"/>
          <ac:spMkLst>
            <pc:docMk/>
            <pc:sldMk cId="449661084" sldId="2147196245"/>
            <ac:spMk id="19" creationId="{BA21F996-503D-ED52-C7B5-E7457FA6BBB0}"/>
          </ac:spMkLst>
        </pc:spChg>
        <pc:spChg chg="del">
          <ac:chgData name="Trond Lehmann Syversen" userId="2704c0d4-246a-48d8-bce2-7aec386bb1ed" providerId="ADAL" clId="{A8E3C890-8A21-467A-8ADF-0136B657AFBC}" dt="2022-05-02T12:21:02.965" v="49" actId="478"/>
          <ac:spMkLst>
            <pc:docMk/>
            <pc:sldMk cId="449661084" sldId="2147196245"/>
            <ac:spMk id="20" creationId="{D435AAB2-692E-450C-B1B2-DD89E91CE3E9}"/>
          </ac:spMkLst>
        </pc:spChg>
        <pc:spChg chg="add mod">
          <ac:chgData name="Trond Lehmann Syversen" userId="2704c0d4-246a-48d8-bce2-7aec386bb1ed" providerId="ADAL" clId="{A8E3C890-8A21-467A-8ADF-0136B657AFBC}" dt="2022-05-02T12:32:58.580" v="232" actId="1076"/>
          <ac:spMkLst>
            <pc:docMk/>
            <pc:sldMk cId="449661084" sldId="2147196245"/>
            <ac:spMk id="22" creationId="{1DF0406F-7120-A515-EF0F-DE30D0225DE9}"/>
          </ac:spMkLst>
        </pc:spChg>
        <pc:spChg chg="add mod">
          <ac:chgData name="Trond Lehmann Syversen" userId="2704c0d4-246a-48d8-bce2-7aec386bb1ed" providerId="ADAL" clId="{A8E3C890-8A21-467A-8ADF-0136B657AFBC}" dt="2022-05-02T12:32:15.678" v="208" actId="1076"/>
          <ac:spMkLst>
            <pc:docMk/>
            <pc:sldMk cId="449661084" sldId="2147196245"/>
            <ac:spMk id="23" creationId="{1C588077-DF03-7679-C444-6E27790111F8}"/>
          </ac:spMkLst>
        </pc:spChg>
        <pc:picChg chg="del">
          <ac:chgData name="Trond Lehmann Syversen" userId="2704c0d4-246a-48d8-bce2-7aec386bb1ed" providerId="ADAL" clId="{A8E3C890-8A21-467A-8ADF-0136B657AFBC}" dt="2022-05-02T12:21:00.314" v="48" actId="478"/>
          <ac:picMkLst>
            <pc:docMk/>
            <pc:sldMk cId="449661084" sldId="2147196245"/>
            <ac:picMk id="8" creationId="{92D91291-94C9-486D-BD00-416CA4582E89}"/>
          </ac:picMkLst>
        </pc:picChg>
        <pc:picChg chg="add mod">
          <ac:chgData name="Trond Lehmann Syversen" userId="2704c0d4-246a-48d8-bce2-7aec386bb1ed" providerId="ADAL" clId="{A8E3C890-8A21-467A-8ADF-0136B657AFBC}" dt="2022-05-02T12:27:15.449" v="199" actId="1076"/>
          <ac:picMkLst>
            <pc:docMk/>
            <pc:sldMk cId="449661084" sldId="2147196245"/>
            <ac:picMk id="12" creationId="{08034AE7-F973-3AA2-934C-AE144E318181}"/>
          </ac:picMkLst>
        </pc:picChg>
        <pc:picChg chg="add mod">
          <ac:chgData name="Trond Lehmann Syversen" userId="2704c0d4-246a-48d8-bce2-7aec386bb1ed" providerId="ADAL" clId="{A8E3C890-8A21-467A-8ADF-0136B657AFBC}" dt="2022-05-02T12:27:07.963" v="197" actId="1076"/>
          <ac:picMkLst>
            <pc:docMk/>
            <pc:sldMk cId="449661084" sldId="2147196245"/>
            <ac:picMk id="16" creationId="{57114A93-7E3E-C320-8741-853007D63175}"/>
          </ac:picMkLst>
        </pc:picChg>
        <pc:picChg chg="add mod">
          <ac:chgData name="Trond Lehmann Syversen" userId="2704c0d4-246a-48d8-bce2-7aec386bb1ed" providerId="ADAL" clId="{A8E3C890-8A21-467A-8ADF-0136B657AFBC}" dt="2022-05-02T12:27:07.963" v="197" actId="1076"/>
          <ac:picMkLst>
            <pc:docMk/>
            <pc:sldMk cId="449661084" sldId="2147196245"/>
            <ac:picMk id="21" creationId="{CBAF9989-E38B-6641-8839-92232959A87E}"/>
          </ac:picMkLst>
        </pc:picChg>
        <pc:picChg chg="add del mod">
          <ac:chgData name="Trond Lehmann Syversen" userId="2704c0d4-246a-48d8-bce2-7aec386bb1ed" providerId="ADAL" clId="{A8E3C890-8A21-467A-8ADF-0136B657AFBC}" dt="2022-05-02T12:32:41.460" v="231" actId="478"/>
          <ac:picMkLst>
            <pc:docMk/>
            <pc:sldMk cId="449661084" sldId="2147196245"/>
            <ac:picMk id="24" creationId="{8079DBBE-9368-D955-9669-EAB57C472577}"/>
          </ac:picMkLst>
        </pc:picChg>
        <pc:picChg chg="add mod">
          <ac:chgData name="Trond Lehmann Syversen" userId="2704c0d4-246a-48d8-bce2-7aec386bb1ed" providerId="ADAL" clId="{A8E3C890-8A21-467A-8ADF-0136B657AFBC}" dt="2022-05-02T12:32:39.986" v="230" actId="1076"/>
          <ac:picMkLst>
            <pc:docMk/>
            <pc:sldMk cId="449661084" sldId="2147196245"/>
            <ac:picMk id="25" creationId="{471CFA63-ACF1-97F6-4869-BECC43AEA616}"/>
          </ac:picMkLst>
        </pc:picChg>
      </pc:sldChg>
      <pc:sldChg chg="delSp modSp add del mod">
        <pc:chgData name="Trond Lehmann Syversen" userId="2704c0d4-246a-48d8-bce2-7aec386bb1ed" providerId="ADAL" clId="{A8E3C890-8A21-467A-8ADF-0136B657AFBC}" dt="2022-05-02T11:54:52.253" v="13" actId="47"/>
        <pc:sldMkLst>
          <pc:docMk/>
          <pc:sldMk cId="3455023075" sldId="2147196245"/>
        </pc:sldMkLst>
        <pc:spChg chg="del">
          <ac:chgData name="Trond Lehmann Syversen" userId="2704c0d4-246a-48d8-bce2-7aec386bb1ed" providerId="ADAL" clId="{A8E3C890-8A21-467A-8ADF-0136B657AFBC}" dt="2022-05-02T11:54:34.251" v="5" actId="478"/>
          <ac:spMkLst>
            <pc:docMk/>
            <pc:sldMk cId="3455023075" sldId="2147196245"/>
            <ac:spMk id="2" creationId="{4ABA3586-3D1E-5954-5DEA-4A9B61DA3AE0}"/>
          </ac:spMkLst>
        </pc:spChg>
        <pc:spChg chg="del">
          <ac:chgData name="Trond Lehmann Syversen" userId="2704c0d4-246a-48d8-bce2-7aec386bb1ed" providerId="ADAL" clId="{A8E3C890-8A21-467A-8ADF-0136B657AFBC}" dt="2022-05-02T11:54:31.723" v="4" actId="478"/>
          <ac:spMkLst>
            <pc:docMk/>
            <pc:sldMk cId="3455023075" sldId="2147196245"/>
            <ac:spMk id="4" creationId="{2DE7877F-E6D0-49B4-8EF6-C7D1D363C7D4}"/>
          </ac:spMkLst>
        </pc:spChg>
        <pc:spChg chg="mod">
          <ac:chgData name="Trond Lehmann Syversen" userId="2704c0d4-246a-48d8-bce2-7aec386bb1ed" providerId="ADAL" clId="{A8E3C890-8A21-467A-8ADF-0136B657AFBC}" dt="2022-05-02T11:54:30.845" v="3" actId="6549"/>
          <ac:spMkLst>
            <pc:docMk/>
            <pc:sldMk cId="3455023075" sldId="2147196245"/>
            <ac:spMk id="12" creationId="{8E861712-1D82-44AF-B0CA-601F5B24E29D}"/>
          </ac:spMkLst>
        </pc:spChg>
        <pc:spChg chg="del">
          <ac:chgData name="Trond Lehmann Syversen" userId="2704c0d4-246a-48d8-bce2-7aec386bb1ed" providerId="ADAL" clId="{A8E3C890-8A21-467A-8ADF-0136B657AFBC}" dt="2022-05-02T11:54:29.906" v="2" actId="478"/>
          <ac:spMkLst>
            <pc:docMk/>
            <pc:sldMk cId="3455023075" sldId="2147196245"/>
            <ac:spMk id="13" creationId="{C98E64B3-3986-4E9D-AF82-B1C740E5D08A}"/>
          </ac:spMkLst>
        </pc:spChg>
        <pc:spChg chg="mod">
          <ac:chgData name="Trond Lehmann Syversen" userId="2704c0d4-246a-48d8-bce2-7aec386bb1ed" providerId="ADAL" clId="{A8E3C890-8A21-467A-8ADF-0136B657AFBC}" dt="2022-05-02T11:54:40.850" v="12" actId="20577"/>
          <ac:spMkLst>
            <pc:docMk/>
            <pc:sldMk cId="3455023075" sldId="2147196245"/>
            <ac:spMk id="31" creationId="{C692D4E1-AD4D-4373-8B4D-465CF75A4D1A}"/>
          </ac:spMkLst>
        </pc:spChg>
        <pc:graphicFrameChg chg="del">
          <ac:chgData name="Trond Lehmann Syversen" userId="2704c0d4-246a-48d8-bce2-7aec386bb1ed" providerId="ADAL" clId="{A8E3C890-8A21-467A-8ADF-0136B657AFBC}" dt="2022-05-02T11:54:28.720" v="1" actId="478"/>
          <ac:graphicFrameMkLst>
            <pc:docMk/>
            <pc:sldMk cId="3455023075" sldId="2147196245"/>
            <ac:graphicFrameMk id="10" creationId="{2D25C9C5-CB87-49AD-B43D-D1432D265EED}"/>
          </ac:graphicFrameMkLst>
        </pc:graphicFrameChg>
      </pc:sldChg>
      <pc:sldChg chg="addSp delSp modSp add mod ord">
        <pc:chgData name="Trond Lehmann Syversen" userId="2704c0d4-246a-48d8-bce2-7aec386bb1ed" providerId="ADAL" clId="{A8E3C890-8A21-467A-8ADF-0136B657AFBC}" dt="2022-05-02T13:20:30.179" v="290" actId="478"/>
        <pc:sldMkLst>
          <pc:docMk/>
          <pc:sldMk cId="1431080190" sldId="2147196246"/>
        </pc:sldMkLst>
        <pc:spChg chg="add del mod">
          <ac:chgData name="Trond Lehmann Syversen" userId="2704c0d4-246a-48d8-bce2-7aec386bb1ed" providerId="ADAL" clId="{A8E3C890-8A21-467A-8ADF-0136B657AFBC}" dt="2022-05-02T13:13:56.231" v="236" actId="478"/>
          <ac:spMkLst>
            <pc:docMk/>
            <pc:sldMk cId="1431080190" sldId="2147196246"/>
            <ac:spMk id="3" creationId="{01F48376-B9D7-697C-1EEF-5128839FFB32}"/>
          </ac:spMkLst>
        </pc:spChg>
        <pc:spChg chg="del">
          <ac:chgData name="Trond Lehmann Syversen" userId="2704c0d4-246a-48d8-bce2-7aec386bb1ed" providerId="ADAL" clId="{A8E3C890-8A21-467A-8ADF-0136B657AFBC}" dt="2022-05-02T13:13:53.592" v="234" actId="478"/>
          <ac:spMkLst>
            <pc:docMk/>
            <pc:sldMk cId="1431080190" sldId="2147196246"/>
            <ac:spMk id="11" creationId="{46275CD7-12D3-4D96-936E-2251E1097D8C}"/>
          </ac:spMkLst>
        </pc:spChg>
        <pc:spChg chg="mod">
          <ac:chgData name="Trond Lehmann Syversen" userId="2704c0d4-246a-48d8-bce2-7aec386bb1ed" providerId="ADAL" clId="{A8E3C890-8A21-467A-8ADF-0136B657AFBC}" dt="2022-05-02T13:14:17.015" v="280" actId="20577"/>
          <ac:spMkLst>
            <pc:docMk/>
            <pc:sldMk cId="1431080190" sldId="2147196246"/>
            <ac:spMk id="31" creationId="{C692D4E1-AD4D-4373-8B4D-465CF75A4D1A}"/>
          </ac:spMkLst>
        </pc:spChg>
        <pc:picChg chg="add del mod">
          <ac:chgData name="Trond Lehmann Syversen" userId="2704c0d4-246a-48d8-bce2-7aec386bb1ed" providerId="ADAL" clId="{A8E3C890-8A21-467A-8ADF-0136B657AFBC}" dt="2022-05-02T13:20:30.179" v="290" actId="478"/>
          <ac:picMkLst>
            <pc:docMk/>
            <pc:sldMk cId="1431080190" sldId="2147196246"/>
            <ac:picMk id="4" creationId="{5E3AF178-6AFB-6DF8-5736-F08482E32BC4}"/>
          </ac:picMkLst>
        </pc:picChg>
        <pc:picChg chg="add del">
          <ac:chgData name="Trond Lehmann Syversen" userId="2704c0d4-246a-48d8-bce2-7aec386bb1ed" providerId="ADAL" clId="{A8E3C890-8A21-467A-8ADF-0136B657AFBC}" dt="2022-05-02T13:14:29.399" v="283" actId="478"/>
          <ac:picMkLst>
            <pc:docMk/>
            <pc:sldMk cId="1431080190" sldId="2147196246"/>
            <ac:picMk id="35844" creationId="{AC052A55-9438-E794-F03A-F09A4F43222F}"/>
          </ac:picMkLst>
        </pc:picChg>
        <pc:picChg chg="del">
          <ac:chgData name="Trond Lehmann Syversen" userId="2704c0d4-246a-48d8-bce2-7aec386bb1ed" providerId="ADAL" clId="{A8E3C890-8A21-467A-8ADF-0136B657AFBC}" dt="2022-05-02T13:13:54.344" v="235" actId="478"/>
          <ac:picMkLst>
            <pc:docMk/>
            <pc:sldMk cId="1431080190" sldId="2147196246"/>
            <ac:picMk id="36866" creationId="{54FB9320-D3D1-496A-B880-C59713FC4429}"/>
          </ac:picMkLst>
        </pc:picChg>
      </pc:sldChg>
      <pc:sldChg chg="addSp modSp add mod">
        <pc:chgData name="Trond Lehmann Syversen" userId="2704c0d4-246a-48d8-bce2-7aec386bb1ed" providerId="ADAL" clId="{A8E3C890-8A21-467A-8ADF-0136B657AFBC}" dt="2022-05-02T13:26:27.232" v="313" actId="20577"/>
        <pc:sldMkLst>
          <pc:docMk/>
          <pc:sldMk cId="3420989441" sldId="2147196247"/>
        </pc:sldMkLst>
        <pc:spChg chg="add mod">
          <ac:chgData name="Trond Lehmann Syversen" userId="2704c0d4-246a-48d8-bce2-7aec386bb1ed" providerId="ADAL" clId="{A8E3C890-8A21-467A-8ADF-0136B657AFBC}" dt="2022-05-02T13:26:27.232" v="313" actId="20577"/>
          <ac:spMkLst>
            <pc:docMk/>
            <pc:sldMk cId="3420989441" sldId="2147196247"/>
            <ac:spMk id="2" creationId="{66A08D96-6033-EBAB-CBA7-E55E58C89DF5}"/>
          </ac:spMkLst>
        </pc:spChg>
        <pc:picChg chg="mod">
          <ac:chgData name="Trond Lehmann Syversen" userId="2704c0d4-246a-48d8-bce2-7aec386bb1ed" providerId="ADAL" clId="{A8E3C890-8A21-467A-8ADF-0136B657AFBC}" dt="2022-05-02T13:25:05.329" v="294" actId="14100"/>
          <ac:picMkLst>
            <pc:docMk/>
            <pc:sldMk cId="3420989441" sldId="2147196247"/>
            <ac:picMk id="35844" creationId="{AC052A55-9438-E794-F03A-F09A4F43222F}"/>
          </ac:picMkLst>
        </pc:picChg>
      </pc:sldChg>
      <pc:sldChg chg="addSp delSp modSp add mod">
        <pc:chgData name="Trond Lehmann Syversen" userId="2704c0d4-246a-48d8-bce2-7aec386bb1ed" providerId="ADAL" clId="{A8E3C890-8A21-467A-8ADF-0136B657AFBC}" dt="2022-05-02T13:34:32.889" v="569" actId="2711"/>
        <pc:sldMkLst>
          <pc:docMk/>
          <pc:sldMk cId="3326754309" sldId="2147196248"/>
        </pc:sldMkLst>
        <pc:spChg chg="del">
          <ac:chgData name="Trond Lehmann Syversen" userId="2704c0d4-246a-48d8-bce2-7aec386bb1ed" providerId="ADAL" clId="{A8E3C890-8A21-467A-8ADF-0136B657AFBC}" dt="2022-05-02T13:26:51.030" v="316" actId="478"/>
          <ac:spMkLst>
            <pc:docMk/>
            <pc:sldMk cId="3326754309" sldId="2147196248"/>
            <ac:spMk id="2" creationId="{66A08D96-6033-EBAB-CBA7-E55E58C89DF5}"/>
          </ac:spMkLst>
        </pc:spChg>
        <pc:spChg chg="add mod">
          <ac:chgData name="Trond Lehmann Syversen" userId="2704c0d4-246a-48d8-bce2-7aec386bb1ed" providerId="ADAL" clId="{A8E3C890-8A21-467A-8ADF-0136B657AFBC}" dt="2022-05-02T13:31:51.737" v="501" actId="2711"/>
          <ac:spMkLst>
            <pc:docMk/>
            <pc:sldMk cId="3326754309" sldId="2147196248"/>
            <ac:spMk id="4" creationId="{0E0EC8EC-A68C-C0E5-8979-6AF2406E3A11}"/>
          </ac:spMkLst>
        </pc:spChg>
        <pc:spChg chg="add mod">
          <ac:chgData name="Trond Lehmann Syversen" userId="2704c0d4-246a-48d8-bce2-7aec386bb1ed" providerId="ADAL" clId="{A8E3C890-8A21-467A-8ADF-0136B657AFBC}" dt="2022-05-02T13:32:54.121" v="533" actId="20577"/>
          <ac:spMkLst>
            <pc:docMk/>
            <pc:sldMk cId="3326754309" sldId="2147196248"/>
            <ac:spMk id="7" creationId="{E77D256D-E178-12BC-FC62-436776AB06D7}"/>
          </ac:spMkLst>
        </pc:spChg>
        <pc:spChg chg="add mod">
          <ac:chgData name="Trond Lehmann Syversen" userId="2704c0d4-246a-48d8-bce2-7aec386bb1ed" providerId="ADAL" clId="{A8E3C890-8A21-467A-8ADF-0136B657AFBC}" dt="2022-05-02T13:34:32.889" v="569" actId="2711"/>
          <ac:spMkLst>
            <pc:docMk/>
            <pc:sldMk cId="3326754309" sldId="2147196248"/>
            <ac:spMk id="8" creationId="{48DF41C5-C755-F7DB-B515-508722C7106A}"/>
          </ac:spMkLst>
        </pc:spChg>
        <pc:spChg chg="add mod">
          <ac:chgData name="Trond Lehmann Syversen" userId="2704c0d4-246a-48d8-bce2-7aec386bb1ed" providerId="ADAL" clId="{A8E3C890-8A21-467A-8ADF-0136B657AFBC}" dt="2022-05-02T13:33:16.017" v="544" actId="20577"/>
          <ac:spMkLst>
            <pc:docMk/>
            <pc:sldMk cId="3326754309" sldId="2147196248"/>
            <ac:spMk id="12" creationId="{2368D344-2ACE-280D-DD59-D37E15D895F4}"/>
          </ac:spMkLst>
        </pc:spChg>
        <pc:spChg chg="mod">
          <ac:chgData name="Trond Lehmann Syversen" userId="2704c0d4-246a-48d8-bce2-7aec386bb1ed" providerId="ADAL" clId="{A8E3C890-8A21-467A-8ADF-0136B657AFBC}" dt="2022-05-02T13:30:15.563" v="391" actId="27636"/>
          <ac:spMkLst>
            <pc:docMk/>
            <pc:sldMk cId="3326754309" sldId="2147196248"/>
            <ac:spMk id="31" creationId="{C692D4E1-AD4D-4373-8B4D-465CF75A4D1A}"/>
          </ac:spMkLst>
        </pc:spChg>
        <pc:picChg chg="add mod">
          <ac:chgData name="Trond Lehmann Syversen" userId="2704c0d4-246a-48d8-bce2-7aec386bb1ed" providerId="ADAL" clId="{A8E3C890-8A21-467A-8ADF-0136B657AFBC}" dt="2022-05-02T13:29:38.363" v="320" actId="14826"/>
          <ac:picMkLst>
            <pc:docMk/>
            <pc:sldMk cId="3326754309" sldId="2147196248"/>
            <ac:picMk id="3" creationId="{9C10D081-3887-B4A8-BE43-329C52A7C086}"/>
          </ac:picMkLst>
        </pc:picChg>
        <pc:picChg chg="del">
          <ac:chgData name="Trond Lehmann Syversen" userId="2704c0d4-246a-48d8-bce2-7aec386bb1ed" providerId="ADAL" clId="{A8E3C890-8A21-467A-8ADF-0136B657AFBC}" dt="2022-05-02T13:26:49.711" v="315" actId="478"/>
          <ac:picMkLst>
            <pc:docMk/>
            <pc:sldMk cId="3326754309" sldId="2147196248"/>
            <ac:picMk id="35844" creationId="{AC052A55-9438-E794-F03A-F09A4F43222F}"/>
          </ac:picMkLst>
        </pc:picChg>
      </pc:sldChg>
      <pc:sldChg chg="addSp delSp modSp add mod">
        <pc:chgData name="Trond Lehmann Syversen" userId="2704c0d4-246a-48d8-bce2-7aec386bb1ed" providerId="ADAL" clId="{A8E3C890-8A21-467A-8ADF-0136B657AFBC}" dt="2022-05-02T13:55:20.286" v="643" actId="27918"/>
        <pc:sldMkLst>
          <pc:docMk/>
          <pc:sldMk cId="2314851114" sldId="2147196249"/>
        </pc:sldMkLst>
        <pc:spChg chg="del">
          <ac:chgData name="Trond Lehmann Syversen" userId="2704c0d4-246a-48d8-bce2-7aec386bb1ed" providerId="ADAL" clId="{A8E3C890-8A21-467A-8ADF-0136B657AFBC}" dt="2022-05-02T13:38:47.425" v="613" actId="478"/>
          <ac:spMkLst>
            <pc:docMk/>
            <pc:sldMk cId="2314851114" sldId="2147196249"/>
            <ac:spMk id="4" creationId="{0E0EC8EC-A68C-C0E5-8979-6AF2406E3A11}"/>
          </ac:spMkLst>
        </pc:spChg>
        <pc:spChg chg="del">
          <ac:chgData name="Trond Lehmann Syversen" userId="2704c0d4-246a-48d8-bce2-7aec386bb1ed" providerId="ADAL" clId="{A8E3C890-8A21-467A-8ADF-0136B657AFBC}" dt="2022-05-02T13:38:45.083" v="611" actId="478"/>
          <ac:spMkLst>
            <pc:docMk/>
            <pc:sldMk cId="2314851114" sldId="2147196249"/>
            <ac:spMk id="7" creationId="{E77D256D-E178-12BC-FC62-436776AB06D7}"/>
          </ac:spMkLst>
        </pc:spChg>
        <pc:spChg chg="del">
          <ac:chgData name="Trond Lehmann Syversen" userId="2704c0d4-246a-48d8-bce2-7aec386bb1ed" providerId="ADAL" clId="{A8E3C890-8A21-467A-8ADF-0136B657AFBC}" dt="2022-05-02T13:38:41.273" v="609" actId="478"/>
          <ac:spMkLst>
            <pc:docMk/>
            <pc:sldMk cId="2314851114" sldId="2147196249"/>
            <ac:spMk id="8" creationId="{48DF41C5-C755-F7DB-B515-508722C7106A}"/>
          </ac:spMkLst>
        </pc:spChg>
        <pc:spChg chg="del">
          <ac:chgData name="Trond Lehmann Syversen" userId="2704c0d4-246a-48d8-bce2-7aec386bb1ed" providerId="ADAL" clId="{A8E3C890-8A21-467A-8ADF-0136B657AFBC}" dt="2022-05-02T13:38:43.305" v="610" actId="478"/>
          <ac:spMkLst>
            <pc:docMk/>
            <pc:sldMk cId="2314851114" sldId="2147196249"/>
            <ac:spMk id="12" creationId="{2368D344-2ACE-280D-DD59-D37E15D895F4}"/>
          </ac:spMkLst>
        </pc:spChg>
        <pc:spChg chg="mod">
          <ac:chgData name="Trond Lehmann Syversen" userId="2704c0d4-246a-48d8-bce2-7aec386bb1ed" providerId="ADAL" clId="{A8E3C890-8A21-467A-8ADF-0136B657AFBC}" dt="2022-05-02T13:36:15.994" v="608" actId="20577"/>
          <ac:spMkLst>
            <pc:docMk/>
            <pc:sldMk cId="2314851114" sldId="2147196249"/>
            <ac:spMk id="31" creationId="{C692D4E1-AD4D-4373-8B4D-465CF75A4D1A}"/>
          </ac:spMkLst>
        </pc:spChg>
        <pc:graphicFrameChg chg="add mod">
          <ac:chgData name="Trond Lehmann Syversen" userId="2704c0d4-246a-48d8-bce2-7aec386bb1ed" providerId="ADAL" clId="{A8E3C890-8A21-467A-8ADF-0136B657AFBC}" dt="2022-05-02T13:45:06.368" v="617" actId="14100"/>
          <ac:graphicFrameMkLst>
            <pc:docMk/>
            <pc:sldMk cId="2314851114" sldId="2147196249"/>
            <ac:graphicFrameMk id="13" creationId="{7DC0F262-A2B5-F1CB-1AC3-5C43CF8A50DA}"/>
          </ac:graphicFrameMkLst>
        </pc:graphicFrameChg>
        <pc:picChg chg="del">
          <ac:chgData name="Trond Lehmann Syversen" userId="2704c0d4-246a-48d8-bce2-7aec386bb1ed" providerId="ADAL" clId="{A8E3C890-8A21-467A-8ADF-0136B657AFBC}" dt="2022-05-02T13:38:45.814" v="612" actId="478"/>
          <ac:picMkLst>
            <pc:docMk/>
            <pc:sldMk cId="2314851114" sldId="2147196249"/>
            <ac:picMk id="3" creationId="{9C10D081-3887-B4A8-BE43-329C52A7C086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chartUserShapes" Target="../drawings/drawing4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chartUserShapes" Target="../drawings/drawing5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12.xml"/><Relationship Id="rId1" Type="http://schemas.microsoft.com/office/2011/relationships/chartStyle" Target="style12.xml"/><Relationship Id="rId4" Type="http://schemas.openxmlformats.org/officeDocument/2006/relationships/oleObject" Target="https://sites.ey.com/sites/Vestlandfylkeskommune/Shared%20Documents/Nordhordland%20-%20Regional%20analyse/Analyse/Nordhordland%20databaseuttrekk.xlsx" TargetMode="Externa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13.xml"/><Relationship Id="rId1" Type="http://schemas.microsoft.com/office/2011/relationships/chartStyle" Target="style13.xml"/><Relationship Id="rId4" Type="http://schemas.openxmlformats.org/officeDocument/2006/relationships/oleObject" Target="https://sites.ey.com/sites/Vestlandfylkeskommune/Shared%20Documents/Nordhordland%20-%20Regional%20analyse/Analyse/Nordhordland%20databaseuttrekk.xlsx" TargetMode="Externa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oleObject" Target="https://sites.ey.com/sites/Vestlandfylkeskommune/Shared%20Documents/Nordhordland%20-%20Regional%20analyse/Analyse/Muligheter,%20hypoteser%20og%20barrierer/Muligheter_hypoteser_barrierer.xlsx" TargetMode="External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oleObject" Target="https://sites.ey.com/sites/Vestlandfylkeskommune/Shared%20Documents/Nordhordland%20-%20Regional%20analyse/Analyse/Muligheter,%20hypoteser%20og%20barrierer/Muligheter_hypoteser_barrierer.xlsx" TargetMode="External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oleObject" Target="https://sites.ey.com/sites/Vestlandfylkeskommune/Shared%20Documents/Nordhordland%20-%20Regional%20analyse/Analyse/Muligheter,%20hypoteser%20og%20barrierer/Muligheter_hypoteser_barrierer.xlsx" TargetMode="External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oleObject" Target="https://sites.ey.com/sites/Vestlandfylkeskommune/Shared%20Documents/Nordhordland%20-%20Regional%20analyse/Analyse/Muligheter,%20hypoteser%20og%20barrierer/Muligheter_hypoteser_barrierer.xlsx" TargetMode="External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oleObject" Target="https://sites.ey.com/sites/Vestlandfylkeskommune/Shared%20Documents/Nordhordland%20-%20Regional%20analyse/Analyse/Muligheter,%20hypoteser%20og%20barrierer/Muligheter_hypoteser_barrierer.xlsx" TargetMode="External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oleObject" Target="https://sites.ey.com/sites/Vestlandfylkeskommune/Shared%20Documents/Nordhordland%20-%20Regional%20analyse/Analyse/Muligheter,%20hypoteser%20og%20barrierer/Muligheter_hypoteser_barrierer.xlsx" TargetMode="External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oleObject" Target="https://sites.ey.com/sites/Vestlandfylkeskommune/Shared%20Documents/&#216;ygarden%20-%20Regional%20analyse/Analyse/Databaseuttrekk%20&#216;ygarden.xlsx" TargetMode="External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oleObject" Target="https://sites.ey.com/sites/Vestlandfylkeskommune/Shared%20Documents/&#216;ygarden%20-%20Regional%20analyse/Analyse/Databaseuttrekk%20&#216;ygarden.xlsx" TargetMode="External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chartUserShapes" Target="../drawings/drawing1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chartUserShapes" Target="../drawings/drawing2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oleObject" Target="https://kyteeiendom.sharepoint.com/Shared%20Documents/N&#230;ringseiendom%202022/Diverse%20lek%20med%20historikk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6868018309306E-2"/>
          <c:y val="2.2035929291767321E-2"/>
          <c:w val="0.87990008495314898"/>
          <c:h val="0.816981095900916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Antall helt arbeidsledige</c:v>
                </c:pt>
              </c:strCache>
            </c:strRef>
          </c:tx>
          <c:spPr>
            <a:solidFill>
              <a:srgbClr val="2F5597"/>
            </a:solidFill>
            <a:ln>
              <a:noFill/>
            </a:ln>
            <a:effectLst/>
          </c:spPr>
          <c:invertIfNegative val="0"/>
          <c:dLbls>
            <c:dLbl>
              <c:idx val="10"/>
              <c:layout>
                <c:manualLayout>
                  <c:x val="1.0206230140042336E-2"/>
                  <c:y val="-1.1159872102739256E-1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F6E-47A0-AE0D-29699369734A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Helvetica Neue Ligh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13</c:f>
              <c:strCache>
                <c:ptCount val="12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 mars</c:v>
                </c:pt>
                <c:pt idx="10">
                  <c:v>2021 mars</c:v>
                </c:pt>
                <c:pt idx="11">
                  <c:v>2022 mars</c:v>
                </c:pt>
              </c:strCache>
            </c:strRef>
          </c:cat>
          <c:val>
            <c:numRef>
              <c:f>'Ark1'!$B$2:$B$13</c:f>
              <c:numCache>
                <c:formatCode>General</c:formatCode>
                <c:ptCount val="12"/>
                <c:pt idx="0">
                  <c:v>5545</c:v>
                </c:pt>
                <c:pt idx="1">
                  <c:v>6145</c:v>
                </c:pt>
                <c:pt idx="2">
                  <c:v>7214</c:v>
                </c:pt>
                <c:pt idx="3">
                  <c:v>9708</c:v>
                </c:pt>
                <c:pt idx="4">
                  <c:v>9403</c:v>
                </c:pt>
                <c:pt idx="5">
                  <c:v>9708</c:v>
                </c:pt>
                <c:pt idx="6">
                  <c:v>9403</c:v>
                </c:pt>
                <c:pt idx="7">
                  <c:v>8070</c:v>
                </c:pt>
                <c:pt idx="8">
                  <c:v>7206</c:v>
                </c:pt>
                <c:pt idx="9">
                  <c:v>34274</c:v>
                </c:pt>
                <c:pt idx="10">
                  <c:v>11963</c:v>
                </c:pt>
                <c:pt idx="11">
                  <c:v>65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36E-4B04-9098-25238AC144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-1380003232"/>
        <c:axId val="-1501924160"/>
      </c:barChart>
      <c:lineChart>
        <c:grouping val="standard"/>
        <c:varyColors val="0"/>
        <c:ser>
          <c:idx val="1"/>
          <c:order val="1"/>
          <c:tx>
            <c:strRef>
              <c:f>'Ark1'!$C$1</c:f>
              <c:strCache>
                <c:ptCount val="1"/>
                <c:pt idx="0">
                  <c:v>Prosent helt arbeidsledige</c:v>
                </c:pt>
              </c:strCache>
            </c:strRef>
          </c:tx>
          <c:spPr>
            <a:ln w="28575" cap="rnd">
              <a:solidFill>
                <a:srgbClr val="8FAADC"/>
              </a:solidFill>
              <a:round/>
            </a:ln>
            <a:effectLst/>
          </c:spPr>
          <c:marker>
            <c:symbol val="none"/>
          </c:marker>
          <c:cat>
            <c:strRef>
              <c:f>'Ark1'!$A$2:$A$13</c:f>
              <c:strCache>
                <c:ptCount val="12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 mars</c:v>
                </c:pt>
                <c:pt idx="10">
                  <c:v>2021 mars</c:v>
                </c:pt>
                <c:pt idx="11">
                  <c:v>2022 mars</c:v>
                </c:pt>
              </c:strCache>
            </c:strRef>
          </c:cat>
          <c:val>
            <c:numRef>
              <c:f>'Ark1'!$C$2:$C$13</c:f>
              <c:numCache>
                <c:formatCode>General</c:formatCode>
                <c:ptCount val="12"/>
                <c:pt idx="0">
                  <c:v>3.1E-2</c:v>
                </c:pt>
                <c:pt idx="1">
                  <c:v>2.75E-2</c:v>
                </c:pt>
                <c:pt idx="2">
                  <c:v>2.75E-2</c:v>
                </c:pt>
                <c:pt idx="3">
                  <c:v>2.9000000000000001E-2</c:v>
                </c:pt>
                <c:pt idx="4">
                  <c:v>3.2000000000000001E-2</c:v>
                </c:pt>
                <c:pt idx="5">
                  <c:v>3.9E-2</c:v>
                </c:pt>
                <c:pt idx="6">
                  <c:v>3.4000000000000002E-2</c:v>
                </c:pt>
                <c:pt idx="7">
                  <c:v>2.9000000000000001E-2</c:v>
                </c:pt>
                <c:pt idx="8">
                  <c:v>2.5999999999999999E-2</c:v>
                </c:pt>
                <c:pt idx="9">
                  <c:v>0.10299999999999999</c:v>
                </c:pt>
                <c:pt idx="10">
                  <c:v>4.2999999999999997E-2</c:v>
                </c:pt>
                <c:pt idx="11" formatCode="#,##0">
                  <c:v>1.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36E-4B04-9098-25238AC144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1380027808"/>
        <c:axId val="-1501919760"/>
      </c:lineChart>
      <c:catAx>
        <c:axId val="-13800032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>
            <a:softEdge rad="25400"/>
          </a:effectLst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Helvetica Neue Light"/>
                <a:ea typeface="+mn-ea"/>
                <a:cs typeface="+mn-cs"/>
              </a:defRPr>
            </a:pPr>
            <a:endParaRPr lang="nb-NO"/>
          </a:p>
        </c:txPr>
        <c:crossAx val="-1501924160"/>
        <c:crosses val="autoZero"/>
        <c:auto val="1"/>
        <c:lblAlgn val="ctr"/>
        <c:lblOffset val="100"/>
        <c:noMultiLvlLbl val="0"/>
      </c:catAx>
      <c:valAx>
        <c:axId val="-1501924160"/>
        <c:scaling>
          <c:orientation val="minMax"/>
          <c:max val="45000"/>
          <c:min val="0.02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prstDash val="dashDot"/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Helvetica Neue Light"/>
                <a:ea typeface="+mn-ea"/>
                <a:cs typeface="+mn-cs"/>
              </a:defRPr>
            </a:pPr>
            <a:endParaRPr lang="nb-NO"/>
          </a:p>
        </c:txPr>
        <c:crossAx val="-1380003232"/>
        <c:crosses val="autoZero"/>
        <c:crossBetween val="between"/>
        <c:majorUnit val="5000"/>
      </c:valAx>
      <c:valAx>
        <c:axId val="-1501919760"/>
        <c:scaling>
          <c:orientation val="minMax"/>
          <c:max val="0.11000000000000001"/>
          <c:min val="1.0000000000000002E-2"/>
        </c:scaling>
        <c:delete val="0"/>
        <c:axPos val="r"/>
        <c:numFmt formatCode="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Helvetica Neue Light"/>
                <a:ea typeface="+mn-ea"/>
                <a:cs typeface="+mn-cs"/>
              </a:defRPr>
            </a:pPr>
            <a:endParaRPr lang="nb-NO"/>
          </a:p>
        </c:txPr>
        <c:crossAx val="-1380027808"/>
        <c:crosses val="max"/>
        <c:crossBetween val="between"/>
      </c:valAx>
      <c:catAx>
        <c:axId val="-138002780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-150191976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Helvetica Neue Ligh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b="0" i="0">
          <a:latin typeface="Helvetica Neue Light"/>
        </a:defRPr>
      </a:pPr>
      <a:endParaRPr lang="nb-NO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3310897594230102E-2"/>
          <c:y val="4.4669938304034297E-2"/>
          <c:w val="0.9543656184501168"/>
          <c:h val="0.8030624143654204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okale investorer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4</c:f>
              <c:numCache>
                <c:formatCode>General</c:formatCode>
                <c:ptCount val="13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</c:numCache>
            </c:numRef>
          </c:cat>
          <c:val>
            <c:numRef>
              <c:f>Sheet1!$B$2:$B$14</c:f>
              <c:numCache>
                <c:formatCode>General</c:formatCode>
                <c:ptCount val="13"/>
                <c:pt idx="0">
                  <c:v>2.5</c:v>
                </c:pt>
                <c:pt idx="1">
                  <c:v>2</c:v>
                </c:pt>
                <c:pt idx="2">
                  <c:v>3.5</c:v>
                </c:pt>
                <c:pt idx="3">
                  <c:v>1.1999999999999997</c:v>
                </c:pt>
                <c:pt idx="4">
                  <c:v>3</c:v>
                </c:pt>
                <c:pt idx="5">
                  <c:v>2.2999999999999998</c:v>
                </c:pt>
                <c:pt idx="6">
                  <c:v>2.7</c:v>
                </c:pt>
                <c:pt idx="7">
                  <c:v>1.9000000000000004</c:v>
                </c:pt>
                <c:pt idx="8">
                  <c:v>5.5</c:v>
                </c:pt>
                <c:pt idx="9">
                  <c:v>7</c:v>
                </c:pt>
                <c:pt idx="10">
                  <c:v>5.5</c:v>
                </c:pt>
                <c:pt idx="11">
                  <c:v>8</c:v>
                </c:pt>
                <c:pt idx="12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3C3-4B2B-8BF4-A4EA87FA0AE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asjonale og internasjonale investorer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13C3-4B2B-8BF4-A4EA87FA0AE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overflow" horzOverflow="overflow" vert="horz" wrap="square" lIns="18000" tIns="19050" rIns="18000" bIns="19050" anchor="ctr" anchorCtr="1">
                <a:norm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4</c:f>
              <c:numCache>
                <c:formatCode>General</c:formatCode>
                <c:ptCount val="13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</c:numCache>
            </c:numRef>
          </c:cat>
          <c:val>
            <c:numRef>
              <c:f>Sheet1!$C$2:$C$14</c:f>
              <c:numCache>
                <c:formatCode>General</c:formatCode>
                <c:ptCount val="13"/>
                <c:pt idx="3">
                  <c:v>1.6</c:v>
                </c:pt>
                <c:pt idx="4">
                  <c:v>0</c:v>
                </c:pt>
                <c:pt idx="5">
                  <c:v>4.7</c:v>
                </c:pt>
                <c:pt idx="6">
                  <c:v>6.3</c:v>
                </c:pt>
                <c:pt idx="7">
                  <c:v>3</c:v>
                </c:pt>
                <c:pt idx="8">
                  <c:v>2.5</c:v>
                </c:pt>
                <c:pt idx="9">
                  <c:v>3</c:v>
                </c:pt>
                <c:pt idx="10">
                  <c:v>3</c:v>
                </c:pt>
                <c:pt idx="11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3C3-4B2B-8BF4-A4EA87FA0A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31257232"/>
        <c:axId val="631265552"/>
      </c:barChart>
      <c:catAx>
        <c:axId val="6312572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631265552"/>
        <c:crosses val="autoZero"/>
        <c:auto val="1"/>
        <c:lblAlgn val="ctr"/>
        <c:lblOffset val="100"/>
        <c:noMultiLvlLbl val="0"/>
      </c:catAx>
      <c:valAx>
        <c:axId val="6312655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prstDash val="dashDot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631257232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  <c:userShapes r:id="rId4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835131478958647"/>
          <c:y val="3.1081643485820799E-2"/>
          <c:w val="0.82144440455439482"/>
          <c:h val="0.82463654832002797"/>
        </c:manualLayout>
      </c:layout>
      <c:lineChart>
        <c:grouping val="standard"/>
        <c:varyColors val="0"/>
        <c:ser>
          <c:idx val="0"/>
          <c:order val="0"/>
          <c:tx>
            <c:strRef>
              <c:f>'Ark1'!$D$7</c:f>
              <c:strCache>
                <c:ptCount val="1"/>
                <c:pt idx="0">
                  <c:v>LAV MARGIN</c:v>
                </c:pt>
              </c:strCache>
            </c:strRef>
          </c:tx>
          <c:spPr>
            <a:ln w="19050" cap="rnd" cmpd="sng" algn="ctr">
              <a:solidFill>
                <a:schemeClr val="accent1">
                  <a:shade val="76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Ark1'!$F$6:$S$6</c:f>
              <c:numCache>
                <c:formatCode>General</c:formatCode>
                <c:ptCount val="14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  <c:pt idx="11">
                  <c:v>2020</c:v>
                </c:pt>
                <c:pt idx="12">
                  <c:v>2021</c:v>
                </c:pt>
                <c:pt idx="13">
                  <c:v>2022</c:v>
                </c:pt>
              </c:numCache>
            </c:numRef>
          </c:cat>
          <c:val>
            <c:numRef>
              <c:f>'Ark1'!$F$7:$S$7</c:f>
              <c:numCache>
                <c:formatCode>General</c:formatCode>
                <c:ptCount val="14"/>
                <c:pt idx="0">
                  <c:v>2.4</c:v>
                </c:pt>
                <c:pt idx="1">
                  <c:v>1.1000000000000001</c:v>
                </c:pt>
                <c:pt idx="2">
                  <c:v>0.9</c:v>
                </c:pt>
                <c:pt idx="3">
                  <c:v>1.6</c:v>
                </c:pt>
                <c:pt idx="4">
                  <c:v>2.2000000000000002</c:v>
                </c:pt>
                <c:pt idx="5">
                  <c:v>2</c:v>
                </c:pt>
                <c:pt idx="6">
                  <c:v>1.3</c:v>
                </c:pt>
                <c:pt idx="7">
                  <c:v>1.8</c:v>
                </c:pt>
                <c:pt idx="8">
                  <c:v>1.9</c:v>
                </c:pt>
                <c:pt idx="9">
                  <c:v>1.9</c:v>
                </c:pt>
                <c:pt idx="10">
                  <c:v>1.7</c:v>
                </c:pt>
                <c:pt idx="11">
                  <c:v>1.9</c:v>
                </c:pt>
                <c:pt idx="12">
                  <c:v>1.7</c:v>
                </c:pt>
                <c:pt idx="13">
                  <c:v>1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992-49F2-9C01-D37D4F189D0A}"/>
            </c:ext>
          </c:extLst>
        </c:ser>
        <c:ser>
          <c:idx val="1"/>
          <c:order val="1"/>
          <c:tx>
            <c:strRef>
              <c:f>'Ark1'!$D$8</c:f>
              <c:strCache>
                <c:ptCount val="1"/>
                <c:pt idx="0">
                  <c:v>HØY MARGIN</c:v>
                </c:pt>
              </c:strCache>
            </c:strRef>
          </c:tx>
          <c:spPr>
            <a:ln w="19050" cap="rnd" cmpd="sng" algn="ctr">
              <a:solidFill>
                <a:schemeClr val="accent1">
                  <a:tint val="77000"/>
                </a:schemeClr>
              </a:solidFill>
              <a:prstDash val="solid"/>
              <a:round/>
            </a:ln>
            <a:effectLst>
              <a:softEdge rad="0"/>
            </a:effectLst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Ark1'!$F$6:$S$6</c:f>
              <c:numCache>
                <c:formatCode>General</c:formatCode>
                <c:ptCount val="14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  <c:pt idx="11">
                  <c:v>2020</c:v>
                </c:pt>
                <c:pt idx="12">
                  <c:v>2021</c:v>
                </c:pt>
                <c:pt idx="13">
                  <c:v>2022</c:v>
                </c:pt>
              </c:numCache>
            </c:numRef>
          </c:cat>
          <c:val>
            <c:numRef>
              <c:f>'Ark1'!$F$8:$S$8</c:f>
              <c:numCache>
                <c:formatCode>General</c:formatCode>
                <c:ptCount val="14"/>
                <c:pt idx="0">
                  <c:v>3</c:v>
                </c:pt>
                <c:pt idx="1">
                  <c:v>1.3</c:v>
                </c:pt>
                <c:pt idx="2">
                  <c:v>1.3</c:v>
                </c:pt>
                <c:pt idx="3">
                  <c:v>2</c:v>
                </c:pt>
                <c:pt idx="4">
                  <c:v>2.8</c:v>
                </c:pt>
                <c:pt idx="5">
                  <c:v>2.5</c:v>
                </c:pt>
                <c:pt idx="6">
                  <c:v>1.65</c:v>
                </c:pt>
                <c:pt idx="7">
                  <c:v>2</c:v>
                </c:pt>
                <c:pt idx="8">
                  <c:v>2.1</c:v>
                </c:pt>
                <c:pt idx="9">
                  <c:v>2.1</c:v>
                </c:pt>
                <c:pt idx="10">
                  <c:v>1.9</c:v>
                </c:pt>
                <c:pt idx="11">
                  <c:v>2.1</c:v>
                </c:pt>
                <c:pt idx="12">
                  <c:v>2</c:v>
                </c:pt>
                <c:pt idx="13">
                  <c:v>2.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992-49F2-9C01-D37D4F189D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57982720"/>
        <c:axId val="157984256"/>
      </c:lineChart>
      <c:catAx>
        <c:axId val="1579827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6350" cap="flat" cmpd="sng" algn="ctr">
            <a:solidFill>
              <a:schemeClr val="tx1">
                <a:tint val="7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157984256"/>
        <c:crosses val="autoZero"/>
        <c:auto val="1"/>
        <c:lblAlgn val="ctr"/>
        <c:lblOffset val="100"/>
        <c:noMultiLvlLbl val="0"/>
      </c:catAx>
      <c:valAx>
        <c:axId val="157984256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chemeClr val="tx1">
                  <a:tint val="75000"/>
                </a:schemeClr>
              </a:solidFill>
              <a:prstDash val="solid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nb-NO"/>
                  <a:t>Margin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nb-NO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6350" cap="flat" cmpd="sng" algn="ctr">
            <a:solidFill>
              <a:schemeClr val="tx1">
                <a:tint val="7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157982720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6350" cap="flat" cmpd="sng" algn="ctr">
            <a:solidFill>
              <a:schemeClr val="tx1">
                <a:tint val="75000"/>
              </a:schemeClr>
            </a:solidFill>
            <a:prstDash val="solid"/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9542755627623045E-2"/>
          <c:y val="3.3944773980987761E-2"/>
          <c:w val="0.89983562271897211"/>
          <c:h val="0.81386089493571789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5-års swap 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98"/>
              <c:layout>
                <c:manualLayout>
                  <c:x val="-5.1672585048971695E-2"/>
                  <c:y val="4.784318886280884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69A-4A47-893F-ACD6E47A248A}"/>
                </c:ext>
              </c:extLst>
            </c:dLbl>
            <c:dLbl>
              <c:idx val="550"/>
              <c:layout>
                <c:manualLayout>
                  <c:x val="-3.3083858463606453E-3"/>
                  <c:y val="0.19775184729960987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69A-4A47-893F-ACD6E47A248A}"/>
                </c:ext>
              </c:extLst>
            </c:dLbl>
            <c:numFmt formatCode="#,##0.00" sourceLinked="0"/>
            <c:spPr>
              <a:noFill/>
              <a:ln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dash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3:$A$555</c:f>
              <c:strCache>
                <c:ptCount val="551"/>
                <c:pt idx="0">
                  <c:v>01.01.2020</c:v>
                </c:pt>
                <c:pt idx="1">
                  <c:v>02.01.2020</c:v>
                </c:pt>
                <c:pt idx="2">
                  <c:v>03.01.2020</c:v>
                </c:pt>
                <c:pt idx="3">
                  <c:v>06.01.2020</c:v>
                </c:pt>
                <c:pt idx="4">
                  <c:v>07.01.2020</c:v>
                </c:pt>
                <c:pt idx="5">
                  <c:v>08.01.2020</c:v>
                </c:pt>
                <c:pt idx="6">
                  <c:v>09.01.2020</c:v>
                </c:pt>
                <c:pt idx="7">
                  <c:v>10.01.2020</c:v>
                </c:pt>
                <c:pt idx="8">
                  <c:v>13.01.2020</c:v>
                </c:pt>
                <c:pt idx="9">
                  <c:v>14.01.2020</c:v>
                </c:pt>
                <c:pt idx="10">
                  <c:v>15.01.2020</c:v>
                </c:pt>
                <c:pt idx="11">
                  <c:v>16.01.2020</c:v>
                </c:pt>
                <c:pt idx="12">
                  <c:v>17.01.2020</c:v>
                </c:pt>
                <c:pt idx="13">
                  <c:v>20.01.2020</c:v>
                </c:pt>
                <c:pt idx="14">
                  <c:v>21.01.2020</c:v>
                </c:pt>
                <c:pt idx="15">
                  <c:v>22.01.2020</c:v>
                </c:pt>
                <c:pt idx="16">
                  <c:v>23.01.2020</c:v>
                </c:pt>
                <c:pt idx="17">
                  <c:v>24.01.2020</c:v>
                </c:pt>
                <c:pt idx="18">
                  <c:v>27.01.2020</c:v>
                </c:pt>
                <c:pt idx="19">
                  <c:v>28.01.2020</c:v>
                </c:pt>
                <c:pt idx="20">
                  <c:v>29.01.2020</c:v>
                </c:pt>
                <c:pt idx="21">
                  <c:v>30.01.2020</c:v>
                </c:pt>
                <c:pt idx="22">
                  <c:v>31.01.2020</c:v>
                </c:pt>
                <c:pt idx="23">
                  <c:v>03.02.2020</c:v>
                </c:pt>
                <c:pt idx="24">
                  <c:v>04.02.2020</c:v>
                </c:pt>
                <c:pt idx="25">
                  <c:v>05.02.2020</c:v>
                </c:pt>
                <c:pt idx="26">
                  <c:v>06.02.2020</c:v>
                </c:pt>
                <c:pt idx="27">
                  <c:v>07.02.2020</c:v>
                </c:pt>
                <c:pt idx="28">
                  <c:v>10.02.2020</c:v>
                </c:pt>
                <c:pt idx="29">
                  <c:v>11.02.2020</c:v>
                </c:pt>
                <c:pt idx="30">
                  <c:v>12.02.2020</c:v>
                </c:pt>
                <c:pt idx="31">
                  <c:v>13.02.2020</c:v>
                </c:pt>
                <c:pt idx="32">
                  <c:v>14.02.2020</c:v>
                </c:pt>
                <c:pt idx="33">
                  <c:v>17.02.2020</c:v>
                </c:pt>
                <c:pt idx="34">
                  <c:v>18.02.2020</c:v>
                </c:pt>
                <c:pt idx="35">
                  <c:v>19.02.2020</c:v>
                </c:pt>
                <c:pt idx="36">
                  <c:v>20.02.2020</c:v>
                </c:pt>
                <c:pt idx="37">
                  <c:v>21.02.2020</c:v>
                </c:pt>
                <c:pt idx="38">
                  <c:v>24.02.2020</c:v>
                </c:pt>
                <c:pt idx="39">
                  <c:v>25.02.2020</c:v>
                </c:pt>
                <c:pt idx="40">
                  <c:v>26.02.2020</c:v>
                </c:pt>
                <c:pt idx="41">
                  <c:v>27.02.2020</c:v>
                </c:pt>
                <c:pt idx="42">
                  <c:v>28.02.2020</c:v>
                </c:pt>
                <c:pt idx="43">
                  <c:v>02.03.2020</c:v>
                </c:pt>
                <c:pt idx="44">
                  <c:v>03.03.2020</c:v>
                </c:pt>
                <c:pt idx="45">
                  <c:v>04.03.2020</c:v>
                </c:pt>
                <c:pt idx="46">
                  <c:v>05.03.2020</c:v>
                </c:pt>
                <c:pt idx="47">
                  <c:v>06.03.2020</c:v>
                </c:pt>
                <c:pt idx="48">
                  <c:v>09.03.2020</c:v>
                </c:pt>
                <c:pt idx="49">
                  <c:v>10.03.2020</c:v>
                </c:pt>
                <c:pt idx="50">
                  <c:v>11.03.2020</c:v>
                </c:pt>
                <c:pt idx="51">
                  <c:v>12.03.2020</c:v>
                </c:pt>
                <c:pt idx="52">
                  <c:v>13.03.2020</c:v>
                </c:pt>
                <c:pt idx="53">
                  <c:v>16.03.2020</c:v>
                </c:pt>
                <c:pt idx="54">
                  <c:v>17.03.2020</c:v>
                </c:pt>
                <c:pt idx="55">
                  <c:v>18.03.2020</c:v>
                </c:pt>
                <c:pt idx="56">
                  <c:v>19.03.2020</c:v>
                </c:pt>
                <c:pt idx="57">
                  <c:v>20.03.2020</c:v>
                </c:pt>
                <c:pt idx="58">
                  <c:v>23.03.2020</c:v>
                </c:pt>
                <c:pt idx="59">
                  <c:v>24.03.2020</c:v>
                </c:pt>
                <c:pt idx="60">
                  <c:v>25.03.2020</c:v>
                </c:pt>
                <c:pt idx="61">
                  <c:v>26.03.2020</c:v>
                </c:pt>
                <c:pt idx="62">
                  <c:v>27.03.2020</c:v>
                </c:pt>
                <c:pt idx="63">
                  <c:v>30.03.2020</c:v>
                </c:pt>
                <c:pt idx="64">
                  <c:v>31.03.2020</c:v>
                </c:pt>
                <c:pt idx="65">
                  <c:v>01.04.2020</c:v>
                </c:pt>
                <c:pt idx="66">
                  <c:v>02.04.2020</c:v>
                </c:pt>
                <c:pt idx="67">
                  <c:v>03.04.2020</c:v>
                </c:pt>
                <c:pt idx="68">
                  <c:v>06.04.2020</c:v>
                </c:pt>
                <c:pt idx="69">
                  <c:v>07.04.2020</c:v>
                </c:pt>
                <c:pt idx="70">
                  <c:v>08.04.2020</c:v>
                </c:pt>
                <c:pt idx="71">
                  <c:v>09.04.2020</c:v>
                </c:pt>
                <c:pt idx="72">
                  <c:v>10.04.2020</c:v>
                </c:pt>
                <c:pt idx="73">
                  <c:v>13.04.2020</c:v>
                </c:pt>
                <c:pt idx="74">
                  <c:v>14.04.2020</c:v>
                </c:pt>
                <c:pt idx="75">
                  <c:v>15.04.2020</c:v>
                </c:pt>
                <c:pt idx="76">
                  <c:v>16.04.2020</c:v>
                </c:pt>
                <c:pt idx="77">
                  <c:v>17.04.2020</c:v>
                </c:pt>
                <c:pt idx="78">
                  <c:v>20.04.2020</c:v>
                </c:pt>
                <c:pt idx="79">
                  <c:v>21.04.2020</c:v>
                </c:pt>
                <c:pt idx="80">
                  <c:v>22.04.2020</c:v>
                </c:pt>
                <c:pt idx="81">
                  <c:v>23.04.2020</c:v>
                </c:pt>
                <c:pt idx="82">
                  <c:v>24.04.2020</c:v>
                </c:pt>
                <c:pt idx="83">
                  <c:v>27.04.2020</c:v>
                </c:pt>
                <c:pt idx="84">
                  <c:v>28.04.2020</c:v>
                </c:pt>
                <c:pt idx="85">
                  <c:v>29.04.2020</c:v>
                </c:pt>
                <c:pt idx="86">
                  <c:v>30.04.2020</c:v>
                </c:pt>
                <c:pt idx="87">
                  <c:v>01.05.2020</c:v>
                </c:pt>
                <c:pt idx="88">
                  <c:v>04.05.2020</c:v>
                </c:pt>
                <c:pt idx="89">
                  <c:v>05.05.2020</c:v>
                </c:pt>
                <c:pt idx="90">
                  <c:v>06.05.2020</c:v>
                </c:pt>
                <c:pt idx="91">
                  <c:v>07.05.2020</c:v>
                </c:pt>
                <c:pt idx="92">
                  <c:v>08.05.2020</c:v>
                </c:pt>
                <c:pt idx="93">
                  <c:v>11.05.2020</c:v>
                </c:pt>
                <c:pt idx="94">
                  <c:v>12.05.2020</c:v>
                </c:pt>
                <c:pt idx="95">
                  <c:v>13.05.2020</c:v>
                </c:pt>
                <c:pt idx="96">
                  <c:v>14.05.2020</c:v>
                </c:pt>
                <c:pt idx="97">
                  <c:v>15.05.2020</c:v>
                </c:pt>
                <c:pt idx="98">
                  <c:v>18.05.2020</c:v>
                </c:pt>
                <c:pt idx="99">
                  <c:v>19.05.2020</c:v>
                </c:pt>
                <c:pt idx="100">
                  <c:v>20.05.2020</c:v>
                </c:pt>
                <c:pt idx="101">
                  <c:v>21.05.2020</c:v>
                </c:pt>
                <c:pt idx="102">
                  <c:v>22.05.2020</c:v>
                </c:pt>
                <c:pt idx="103">
                  <c:v>25.05.2020</c:v>
                </c:pt>
                <c:pt idx="104">
                  <c:v>26.05.2020</c:v>
                </c:pt>
                <c:pt idx="105">
                  <c:v>27.05.2020</c:v>
                </c:pt>
                <c:pt idx="106">
                  <c:v>28.05.2020</c:v>
                </c:pt>
                <c:pt idx="107">
                  <c:v>29.05.2020</c:v>
                </c:pt>
                <c:pt idx="108">
                  <c:v>01.06.2020</c:v>
                </c:pt>
                <c:pt idx="109">
                  <c:v>02.06.2020</c:v>
                </c:pt>
                <c:pt idx="110">
                  <c:v>03.06.2020</c:v>
                </c:pt>
                <c:pt idx="111">
                  <c:v>04.06.2020</c:v>
                </c:pt>
                <c:pt idx="112">
                  <c:v>05.06.2020</c:v>
                </c:pt>
                <c:pt idx="113">
                  <c:v>08.06.2020</c:v>
                </c:pt>
                <c:pt idx="114">
                  <c:v>09.06.2020</c:v>
                </c:pt>
                <c:pt idx="115">
                  <c:v>10.06.2020</c:v>
                </c:pt>
                <c:pt idx="116">
                  <c:v>11.06.2020</c:v>
                </c:pt>
                <c:pt idx="117">
                  <c:v>12.06.2020</c:v>
                </c:pt>
                <c:pt idx="118">
                  <c:v>15.06.2020</c:v>
                </c:pt>
                <c:pt idx="119">
                  <c:v>16.06.2020</c:v>
                </c:pt>
                <c:pt idx="120">
                  <c:v>17.06.2020</c:v>
                </c:pt>
                <c:pt idx="121">
                  <c:v>18.06.2020</c:v>
                </c:pt>
                <c:pt idx="122">
                  <c:v>19.06.2020</c:v>
                </c:pt>
                <c:pt idx="123">
                  <c:v>22.06.2020</c:v>
                </c:pt>
                <c:pt idx="124">
                  <c:v>23.06.2020</c:v>
                </c:pt>
                <c:pt idx="125">
                  <c:v>24.06.2020</c:v>
                </c:pt>
                <c:pt idx="126">
                  <c:v>25.06.2020</c:v>
                </c:pt>
                <c:pt idx="127">
                  <c:v>26.06.2020</c:v>
                </c:pt>
                <c:pt idx="128">
                  <c:v>29.06.2020</c:v>
                </c:pt>
                <c:pt idx="129">
                  <c:v>30.06.2020</c:v>
                </c:pt>
                <c:pt idx="130">
                  <c:v>01.07.2020</c:v>
                </c:pt>
                <c:pt idx="131">
                  <c:v>02.07.2020</c:v>
                </c:pt>
                <c:pt idx="132">
                  <c:v>03.07.2020</c:v>
                </c:pt>
                <c:pt idx="133">
                  <c:v>06.07.2020</c:v>
                </c:pt>
                <c:pt idx="134">
                  <c:v>07.07.2020</c:v>
                </c:pt>
                <c:pt idx="135">
                  <c:v>08.07.2020</c:v>
                </c:pt>
                <c:pt idx="136">
                  <c:v>09.07.2020</c:v>
                </c:pt>
                <c:pt idx="137">
                  <c:v>10.07.2020</c:v>
                </c:pt>
                <c:pt idx="138">
                  <c:v>13.07.2020</c:v>
                </c:pt>
                <c:pt idx="139">
                  <c:v>14.07.2020</c:v>
                </c:pt>
                <c:pt idx="140">
                  <c:v>15.07.2020</c:v>
                </c:pt>
                <c:pt idx="141">
                  <c:v>16.07.2020</c:v>
                </c:pt>
                <c:pt idx="142">
                  <c:v>17.07.2020</c:v>
                </c:pt>
                <c:pt idx="143">
                  <c:v>20.07.2020</c:v>
                </c:pt>
                <c:pt idx="144">
                  <c:v>21.07.2020</c:v>
                </c:pt>
                <c:pt idx="145">
                  <c:v>22.07.2020</c:v>
                </c:pt>
                <c:pt idx="146">
                  <c:v>23.07.2020</c:v>
                </c:pt>
                <c:pt idx="147">
                  <c:v>24.07.2020</c:v>
                </c:pt>
                <c:pt idx="148">
                  <c:v>27.07.2020</c:v>
                </c:pt>
                <c:pt idx="149">
                  <c:v>28.07.2020</c:v>
                </c:pt>
                <c:pt idx="150">
                  <c:v>29.07.2020</c:v>
                </c:pt>
                <c:pt idx="151">
                  <c:v>30.07.2020</c:v>
                </c:pt>
                <c:pt idx="152">
                  <c:v>31.07.2020</c:v>
                </c:pt>
                <c:pt idx="153">
                  <c:v>03.08.2020</c:v>
                </c:pt>
                <c:pt idx="154">
                  <c:v>04.08.2020</c:v>
                </c:pt>
                <c:pt idx="155">
                  <c:v>05.08.2020</c:v>
                </c:pt>
                <c:pt idx="156">
                  <c:v>06.08.2020</c:v>
                </c:pt>
                <c:pt idx="157">
                  <c:v>07.08.2020</c:v>
                </c:pt>
                <c:pt idx="158">
                  <c:v>10.08.2020</c:v>
                </c:pt>
                <c:pt idx="159">
                  <c:v>11.08.2020</c:v>
                </c:pt>
                <c:pt idx="160">
                  <c:v>12.08.2020</c:v>
                </c:pt>
                <c:pt idx="161">
                  <c:v>13.08.2020</c:v>
                </c:pt>
                <c:pt idx="162">
                  <c:v>14.08.2020</c:v>
                </c:pt>
                <c:pt idx="163">
                  <c:v>17.08.2020</c:v>
                </c:pt>
                <c:pt idx="164">
                  <c:v>18.08.2020</c:v>
                </c:pt>
                <c:pt idx="165">
                  <c:v>19.08.2020</c:v>
                </c:pt>
                <c:pt idx="166">
                  <c:v>20.08.2020</c:v>
                </c:pt>
                <c:pt idx="167">
                  <c:v>21.08.2020</c:v>
                </c:pt>
                <c:pt idx="168">
                  <c:v>24.08.2020</c:v>
                </c:pt>
                <c:pt idx="169">
                  <c:v>25.08.2020</c:v>
                </c:pt>
                <c:pt idx="170">
                  <c:v>26.08.2020</c:v>
                </c:pt>
                <c:pt idx="171">
                  <c:v>27.08.2020</c:v>
                </c:pt>
                <c:pt idx="172">
                  <c:v>28.08.2020</c:v>
                </c:pt>
                <c:pt idx="173">
                  <c:v>31.08.2020</c:v>
                </c:pt>
                <c:pt idx="174">
                  <c:v>01.09.2020</c:v>
                </c:pt>
                <c:pt idx="175">
                  <c:v>02.09.2020</c:v>
                </c:pt>
                <c:pt idx="176">
                  <c:v>03.09.2020</c:v>
                </c:pt>
                <c:pt idx="177">
                  <c:v>04.09.2020</c:v>
                </c:pt>
                <c:pt idx="178">
                  <c:v>07.09.2020</c:v>
                </c:pt>
                <c:pt idx="179">
                  <c:v>08.09.2020</c:v>
                </c:pt>
                <c:pt idx="180">
                  <c:v>09.09.2020</c:v>
                </c:pt>
                <c:pt idx="181">
                  <c:v>10.09.2020</c:v>
                </c:pt>
                <c:pt idx="182">
                  <c:v>11.09.2020</c:v>
                </c:pt>
                <c:pt idx="183">
                  <c:v>14.09.2020</c:v>
                </c:pt>
                <c:pt idx="184">
                  <c:v>15.09.2020</c:v>
                </c:pt>
                <c:pt idx="185">
                  <c:v>16.09.2020</c:v>
                </c:pt>
                <c:pt idx="186">
                  <c:v>17.09.2020</c:v>
                </c:pt>
                <c:pt idx="187">
                  <c:v>18.09.2020</c:v>
                </c:pt>
                <c:pt idx="188">
                  <c:v>21.09.2020</c:v>
                </c:pt>
                <c:pt idx="189">
                  <c:v>22.09.2020</c:v>
                </c:pt>
                <c:pt idx="190">
                  <c:v>23.09.2020</c:v>
                </c:pt>
                <c:pt idx="191">
                  <c:v>24.09.2020</c:v>
                </c:pt>
                <c:pt idx="192">
                  <c:v>25.09.2020</c:v>
                </c:pt>
                <c:pt idx="193">
                  <c:v>28.09.2020</c:v>
                </c:pt>
                <c:pt idx="194">
                  <c:v>29.09.2020</c:v>
                </c:pt>
                <c:pt idx="195">
                  <c:v>30.09.2020</c:v>
                </c:pt>
                <c:pt idx="196">
                  <c:v>01.10.2020</c:v>
                </c:pt>
                <c:pt idx="197">
                  <c:v>02.10.2020</c:v>
                </c:pt>
                <c:pt idx="198">
                  <c:v>05.10.2020</c:v>
                </c:pt>
                <c:pt idx="199">
                  <c:v>06.10.2020</c:v>
                </c:pt>
                <c:pt idx="200">
                  <c:v>07.10.2020</c:v>
                </c:pt>
                <c:pt idx="201">
                  <c:v>08.10.2020</c:v>
                </c:pt>
                <c:pt idx="202">
                  <c:v>09.10.2020</c:v>
                </c:pt>
                <c:pt idx="203">
                  <c:v>12.10.2020</c:v>
                </c:pt>
                <c:pt idx="204">
                  <c:v>13.10.2020</c:v>
                </c:pt>
                <c:pt idx="205">
                  <c:v>14.10.2020</c:v>
                </c:pt>
                <c:pt idx="206">
                  <c:v>15.10.2020</c:v>
                </c:pt>
                <c:pt idx="207">
                  <c:v>16.10.2020</c:v>
                </c:pt>
                <c:pt idx="208">
                  <c:v>19.10.2020</c:v>
                </c:pt>
                <c:pt idx="209">
                  <c:v>20.10.2020</c:v>
                </c:pt>
                <c:pt idx="210">
                  <c:v>21.10.2020</c:v>
                </c:pt>
                <c:pt idx="211">
                  <c:v>22.10.2020</c:v>
                </c:pt>
                <c:pt idx="212">
                  <c:v>23.10.2020</c:v>
                </c:pt>
                <c:pt idx="213">
                  <c:v>26.10.2020</c:v>
                </c:pt>
                <c:pt idx="214">
                  <c:v>27.10.2020</c:v>
                </c:pt>
                <c:pt idx="215">
                  <c:v>28.10.2020</c:v>
                </c:pt>
                <c:pt idx="216">
                  <c:v>29.10.2020</c:v>
                </c:pt>
                <c:pt idx="217">
                  <c:v>30.10.2020</c:v>
                </c:pt>
                <c:pt idx="218">
                  <c:v>02.11.2020</c:v>
                </c:pt>
                <c:pt idx="219">
                  <c:v>03.11.2020</c:v>
                </c:pt>
                <c:pt idx="220">
                  <c:v>04.11.2020</c:v>
                </c:pt>
                <c:pt idx="221">
                  <c:v>05.11.2020</c:v>
                </c:pt>
                <c:pt idx="222">
                  <c:v>06.11.2020</c:v>
                </c:pt>
                <c:pt idx="223">
                  <c:v>09.11.2020</c:v>
                </c:pt>
                <c:pt idx="224">
                  <c:v>10.11.2020</c:v>
                </c:pt>
                <c:pt idx="225">
                  <c:v>11.11.2020</c:v>
                </c:pt>
                <c:pt idx="226">
                  <c:v>12.11.2020</c:v>
                </c:pt>
                <c:pt idx="227">
                  <c:v>13.11.2020</c:v>
                </c:pt>
                <c:pt idx="228">
                  <c:v>16.11.2020</c:v>
                </c:pt>
                <c:pt idx="229">
                  <c:v>17.11.2020</c:v>
                </c:pt>
                <c:pt idx="230">
                  <c:v>18.11.2020</c:v>
                </c:pt>
                <c:pt idx="231">
                  <c:v>19.11.2020</c:v>
                </c:pt>
                <c:pt idx="232">
                  <c:v>20.11.2020</c:v>
                </c:pt>
                <c:pt idx="233">
                  <c:v>23.11.2020</c:v>
                </c:pt>
                <c:pt idx="234">
                  <c:v>24.11.2020</c:v>
                </c:pt>
                <c:pt idx="235">
                  <c:v>25.11.2020</c:v>
                </c:pt>
                <c:pt idx="236">
                  <c:v>26.11.2020</c:v>
                </c:pt>
                <c:pt idx="237">
                  <c:v>27.11.2020</c:v>
                </c:pt>
                <c:pt idx="238">
                  <c:v>30.11.2020</c:v>
                </c:pt>
                <c:pt idx="239">
                  <c:v>01.12.2020</c:v>
                </c:pt>
                <c:pt idx="240">
                  <c:v>02.12.2020</c:v>
                </c:pt>
                <c:pt idx="241">
                  <c:v>03.12.2020</c:v>
                </c:pt>
                <c:pt idx="242">
                  <c:v>04.12.2020</c:v>
                </c:pt>
                <c:pt idx="243">
                  <c:v>07.12.2020</c:v>
                </c:pt>
                <c:pt idx="244">
                  <c:v>08.12.2020</c:v>
                </c:pt>
                <c:pt idx="245">
                  <c:v>09.12.2020</c:v>
                </c:pt>
                <c:pt idx="246">
                  <c:v>10.12.2020</c:v>
                </c:pt>
                <c:pt idx="247">
                  <c:v>11.12.2020</c:v>
                </c:pt>
                <c:pt idx="248">
                  <c:v>14.12.2020</c:v>
                </c:pt>
                <c:pt idx="249">
                  <c:v>15.12.2020</c:v>
                </c:pt>
                <c:pt idx="250">
                  <c:v>16.12.2020</c:v>
                </c:pt>
                <c:pt idx="251">
                  <c:v>17.12.2020</c:v>
                </c:pt>
                <c:pt idx="252">
                  <c:v>18.12.2020</c:v>
                </c:pt>
                <c:pt idx="253">
                  <c:v>21.12.2020</c:v>
                </c:pt>
                <c:pt idx="254">
                  <c:v>22.12.2020</c:v>
                </c:pt>
                <c:pt idx="255">
                  <c:v>23.12.2020</c:v>
                </c:pt>
                <c:pt idx="256">
                  <c:v>24.12.2020</c:v>
                </c:pt>
                <c:pt idx="257">
                  <c:v>25.12.2020</c:v>
                </c:pt>
                <c:pt idx="258">
                  <c:v>28.12.2020</c:v>
                </c:pt>
                <c:pt idx="259">
                  <c:v>29.12.2020</c:v>
                </c:pt>
                <c:pt idx="260">
                  <c:v>30.12.2020</c:v>
                </c:pt>
                <c:pt idx="261">
                  <c:v>31.12.2020</c:v>
                </c:pt>
                <c:pt idx="262">
                  <c:v>01.01.2021</c:v>
                </c:pt>
                <c:pt idx="263">
                  <c:v>04.01.2021</c:v>
                </c:pt>
                <c:pt idx="264">
                  <c:v>05.01.2021</c:v>
                </c:pt>
                <c:pt idx="265">
                  <c:v>06.01.2021</c:v>
                </c:pt>
                <c:pt idx="266">
                  <c:v>07.01.2021</c:v>
                </c:pt>
                <c:pt idx="267">
                  <c:v>08.01.2021</c:v>
                </c:pt>
                <c:pt idx="268">
                  <c:v>11.01.2021</c:v>
                </c:pt>
                <c:pt idx="269">
                  <c:v>12.01.2021</c:v>
                </c:pt>
                <c:pt idx="270">
                  <c:v>13.01.2021</c:v>
                </c:pt>
                <c:pt idx="271">
                  <c:v>14.01.2021</c:v>
                </c:pt>
                <c:pt idx="272">
                  <c:v>15.01.2021</c:v>
                </c:pt>
                <c:pt idx="273">
                  <c:v>18.01.2021</c:v>
                </c:pt>
                <c:pt idx="274">
                  <c:v>19.01.2021</c:v>
                </c:pt>
                <c:pt idx="275">
                  <c:v>20.01.2021</c:v>
                </c:pt>
                <c:pt idx="276">
                  <c:v>21.01.2021</c:v>
                </c:pt>
                <c:pt idx="277">
                  <c:v>22.01.2021</c:v>
                </c:pt>
                <c:pt idx="278">
                  <c:v>25.01.2021</c:v>
                </c:pt>
                <c:pt idx="279">
                  <c:v>26.01.2021</c:v>
                </c:pt>
                <c:pt idx="280">
                  <c:v>27.01.2021</c:v>
                </c:pt>
                <c:pt idx="281">
                  <c:v>28.01.2021</c:v>
                </c:pt>
                <c:pt idx="282">
                  <c:v>29.01.2021</c:v>
                </c:pt>
                <c:pt idx="283">
                  <c:v>01.02.2021</c:v>
                </c:pt>
                <c:pt idx="284">
                  <c:v>02.02.2021</c:v>
                </c:pt>
                <c:pt idx="285">
                  <c:v>03.02.2021</c:v>
                </c:pt>
                <c:pt idx="286">
                  <c:v>04.02.2021</c:v>
                </c:pt>
                <c:pt idx="287">
                  <c:v>05.02.2021</c:v>
                </c:pt>
                <c:pt idx="288">
                  <c:v>08.02.2021</c:v>
                </c:pt>
                <c:pt idx="289">
                  <c:v>09.02.2021</c:v>
                </c:pt>
                <c:pt idx="290">
                  <c:v>10.02.2021</c:v>
                </c:pt>
                <c:pt idx="291">
                  <c:v>11.02.2021</c:v>
                </c:pt>
                <c:pt idx="292">
                  <c:v>12.02.2021</c:v>
                </c:pt>
                <c:pt idx="293">
                  <c:v>15.02.2021</c:v>
                </c:pt>
                <c:pt idx="294">
                  <c:v>16.02.2021</c:v>
                </c:pt>
                <c:pt idx="295">
                  <c:v>17.02.2021</c:v>
                </c:pt>
                <c:pt idx="296">
                  <c:v>18.02.2021</c:v>
                </c:pt>
                <c:pt idx="297">
                  <c:v>19.02.2021</c:v>
                </c:pt>
                <c:pt idx="298">
                  <c:v>22.02.2021</c:v>
                </c:pt>
                <c:pt idx="299">
                  <c:v>23.02.2021</c:v>
                </c:pt>
                <c:pt idx="300">
                  <c:v>24.02.2021</c:v>
                </c:pt>
                <c:pt idx="301">
                  <c:v>25.02.2021</c:v>
                </c:pt>
                <c:pt idx="302">
                  <c:v>26.02.2021</c:v>
                </c:pt>
                <c:pt idx="303">
                  <c:v>01.03.2021</c:v>
                </c:pt>
                <c:pt idx="304">
                  <c:v>02.03.2021</c:v>
                </c:pt>
                <c:pt idx="305">
                  <c:v>03.03.2021</c:v>
                </c:pt>
                <c:pt idx="306">
                  <c:v>04.03.2021</c:v>
                </c:pt>
                <c:pt idx="307">
                  <c:v>05.03.2021</c:v>
                </c:pt>
                <c:pt idx="308">
                  <c:v>08.03.2021</c:v>
                </c:pt>
                <c:pt idx="309">
                  <c:v>09.03.2021</c:v>
                </c:pt>
                <c:pt idx="310">
                  <c:v>10.03.2021</c:v>
                </c:pt>
                <c:pt idx="311">
                  <c:v>11.03.2021</c:v>
                </c:pt>
                <c:pt idx="312">
                  <c:v>12.03.2021</c:v>
                </c:pt>
                <c:pt idx="313">
                  <c:v>15.03.2021</c:v>
                </c:pt>
                <c:pt idx="314">
                  <c:v>16.03.2021</c:v>
                </c:pt>
                <c:pt idx="315">
                  <c:v>17.03.2021</c:v>
                </c:pt>
                <c:pt idx="316">
                  <c:v>18.03.2021</c:v>
                </c:pt>
                <c:pt idx="317">
                  <c:v>19.03.2021</c:v>
                </c:pt>
                <c:pt idx="318">
                  <c:v>22.03.2021</c:v>
                </c:pt>
                <c:pt idx="319">
                  <c:v>23.03.2021</c:v>
                </c:pt>
                <c:pt idx="320">
                  <c:v>24.03.2021</c:v>
                </c:pt>
                <c:pt idx="321">
                  <c:v>25.03.2021</c:v>
                </c:pt>
                <c:pt idx="322">
                  <c:v>26.03.2021</c:v>
                </c:pt>
                <c:pt idx="323">
                  <c:v>29.03.2021</c:v>
                </c:pt>
                <c:pt idx="324">
                  <c:v>30.03.2021</c:v>
                </c:pt>
                <c:pt idx="325">
                  <c:v>31.03.2021</c:v>
                </c:pt>
                <c:pt idx="326">
                  <c:v>01.04.2021</c:v>
                </c:pt>
                <c:pt idx="327">
                  <c:v>02.04.2021</c:v>
                </c:pt>
                <c:pt idx="328">
                  <c:v>05.04.2021</c:v>
                </c:pt>
                <c:pt idx="329">
                  <c:v>06.04.2021</c:v>
                </c:pt>
                <c:pt idx="330">
                  <c:v>07.04.2021</c:v>
                </c:pt>
                <c:pt idx="331">
                  <c:v>08.04.2021</c:v>
                </c:pt>
                <c:pt idx="332">
                  <c:v>09.04.2021</c:v>
                </c:pt>
                <c:pt idx="333">
                  <c:v>12.04.2021</c:v>
                </c:pt>
                <c:pt idx="334">
                  <c:v>13.04.2021</c:v>
                </c:pt>
                <c:pt idx="335">
                  <c:v>14.04.2021</c:v>
                </c:pt>
                <c:pt idx="336">
                  <c:v>15.04.2021</c:v>
                </c:pt>
                <c:pt idx="337">
                  <c:v>16.04.2021</c:v>
                </c:pt>
                <c:pt idx="338">
                  <c:v>19.04.2021</c:v>
                </c:pt>
                <c:pt idx="339">
                  <c:v>20.04.2021</c:v>
                </c:pt>
                <c:pt idx="340">
                  <c:v>21.04.2021</c:v>
                </c:pt>
                <c:pt idx="341">
                  <c:v>22.04.2021</c:v>
                </c:pt>
                <c:pt idx="342">
                  <c:v>23.04.2021</c:v>
                </c:pt>
                <c:pt idx="343">
                  <c:v>26.04.2021</c:v>
                </c:pt>
                <c:pt idx="344">
                  <c:v>27.04.2021</c:v>
                </c:pt>
                <c:pt idx="345">
                  <c:v>28.04.2021</c:v>
                </c:pt>
                <c:pt idx="346">
                  <c:v>29.04.2021</c:v>
                </c:pt>
                <c:pt idx="347">
                  <c:v>30.04.2021</c:v>
                </c:pt>
                <c:pt idx="348">
                  <c:v>03.05.2021</c:v>
                </c:pt>
                <c:pt idx="349">
                  <c:v>04.05.2021</c:v>
                </c:pt>
                <c:pt idx="350">
                  <c:v>05.05.2021</c:v>
                </c:pt>
                <c:pt idx="351">
                  <c:v>06.05.2021</c:v>
                </c:pt>
                <c:pt idx="352">
                  <c:v>07.05.2021</c:v>
                </c:pt>
                <c:pt idx="353">
                  <c:v>10.05.2021</c:v>
                </c:pt>
                <c:pt idx="354">
                  <c:v>11.05.2021</c:v>
                </c:pt>
                <c:pt idx="355">
                  <c:v>12.05.2021</c:v>
                </c:pt>
                <c:pt idx="356">
                  <c:v>13.05.2021</c:v>
                </c:pt>
                <c:pt idx="357">
                  <c:v>14.05.2021</c:v>
                </c:pt>
                <c:pt idx="358">
                  <c:v>17.05.2021</c:v>
                </c:pt>
                <c:pt idx="359">
                  <c:v>18.05.2021</c:v>
                </c:pt>
                <c:pt idx="360">
                  <c:v>19.05.2021</c:v>
                </c:pt>
                <c:pt idx="361">
                  <c:v>20.05.2021</c:v>
                </c:pt>
                <c:pt idx="362">
                  <c:v>21.05.2021</c:v>
                </c:pt>
                <c:pt idx="363">
                  <c:v>24.05.2021</c:v>
                </c:pt>
                <c:pt idx="364">
                  <c:v>25.05.2021</c:v>
                </c:pt>
                <c:pt idx="365">
                  <c:v>26.05.2021</c:v>
                </c:pt>
                <c:pt idx="366">
                  <c:v>27.05.2021</c:v>
                </c:pt>
                <c:pt idx="367">
                  <c:v>28.05.2021</c:v>
                </c:pt>
                <c:pt idx="368">
                  <c:v>31.05.2021</c:v>
                </c:pt>
                <c:pt idx="369">
                  <c:v>01.06.2021</c:v>
                </c:pt>
                <c:pt idx="370">
                  <c:v>02.06.2021</c:v>
                </c:pt>
                <c:pt idx="371">
                  <c:v>03.06.2021</c:v>
                </c:pt>
                <c:pt idx="372">
                  <c:v>04.06.2021</c:v>
                </c:pt>
                <c:pt idx="373">
                  <c:v>07.06.2021</c:v>
                </c:pt>
                <c:pt idx="374">
                  <c:v>08.06.2021</c:v>
                </c:pt>
                <c:pt idx="375">
                  <c:v>09.06.2021</c:v>
                </c:pt>
                <c:pt idx="376">
                  <c:v>10.06.2021</c:v>
                </c:pt>
                <c:pt idx="377">
                  <c:v>11.06.2021</c:v>
                </c:pt>
                <c:pt idx="378">
                  <c:v>14.06.2021</c:v>
                </c:pt>
                <c:pt idx="379">
                  <c:v>15.06.2021</c:v>
                </c:pt>
                <c:pt idx="380">
                  <c:v>16.06.2021</c:v>
                </c:pt>
                <c:pt idx="381">
                  <c:v>17.06.2021</c:v>
                </c:pt>
                <c:pt idx="382">
                  <c:v>18.06.2021</c:v>
                </c:pt>
                <c:pt idx="383">
                  <c:v>21.06.2021</c:v>
                </c:pt>
                <c:pt idx="384">
                  <c:v>22.06.2021</c:v>
                </c:pt>
                <c:pt idx="385">
                  <c:v>23.06.2021</c:v>
                </c:pt>
                <c:pt idx="386">
                  <c:v>24.06.2021</c:v>
                </c:pt>
                <c:pt idx="387">
                  <c:v>25.06.2021</c:v>
                </c:pt>
                <c:pt idx="388">
                  <c:v>28.06.2021</c:v>
                </c:pt>
                <c:pt idx="389">
                  <c:v>29.06.2021</c:v>
                </c:pt>
                <c:pt idx="390">
                  <c:v>30.06.2021</c:v>
                </c:pt>
                <c:pt idx="391">
                  <c:v>01.07.2021</c:v>
                </c:pt>
                <c:pt idx="392">
                  <c:v>02.07.2021</c:v>
                </c:pt>
                <c:pt idx="393">
                  <c:v>05.07.2021</c:v>
                </c:pt>
                <c:pt idx="394">
                  <c:v>06.07.2021</c:v>
                </c:pt>
                <c:pt idx="395">
                  <c:v>07.07.2021</c:v>
                </c:pt>
                <c:pt idx="396">
                  <c:v>08.07.2021</c:v>
                </c:pt>
                <c:pt idx="397">
                  <c:v>09.07.2021</c:v>
                </c:pt>
                <c:pt idx="398">
                  <c:v>12.07.2021</c:v>
                </c:pt>
                <c:pt idx="399">
                  <c:v>13.07.2021</c:v>
                </c:pt>
                <c:pt idx="400">
                  <c:v>14.07.2021</c:v>
                </c:pt>
                <c:pt idx="401">
                  <c:v>15.07.2021</c:v>
                </c:pt>
                <c:pt idx="402">
                  <c:v>16.07.2021</c:v>
                </c:pt>
                <c:pt idx="403">
                  <c:v>19.07.2021</c:v>
                </c:pt>
                <c:pt idx="404">
                  <c:v>20.07.2021</c:v>
                </c:pt>
                <c:pt idx="405">
                  <c:v>21.07.2021</c:v>
                </c:pt>
                <c:pt idx="406">
                  <c:v>22.07.2021</c:v>
                </c:pt>
                <c:pt idx="407">
                  <c:v>23.07.2021</c:v>
                </c:pt>
                <c:pt idx="408">
                  <c:v>26.07.2021</c:v>
                </c:pt>
                <c:pt idx="409">
                  <c:v>27.07.2021</c:v>
                </c:pt>
                <c:pt idx="410">
                  <c:v>28.07.2021</c:v>
                </c:pt>
                <c:pt idx="411">
                  <c:v>29.07.2021</c:v>
                </c:pt>
                <c:pt idx="412">
                  <c:v>30.07.2021</c:v>
                </c:pt>
                <c:pt idx="413">
                  <c:v>02.08.2021</c:v>
                </c:pt>
                <c:pt idx="414">
                  <c:v>03.08.2021</c:v>
                </c:pt>
                <c:pt idx="415">
                  <c:v>04.08.2021</c:v>
                </c:pt>
                <c:pt idx="416">
                  <c:v>05.08.2021</c:v>
                </c:pt>
                <c:pt idx="417">
                  <c:v>06.08.2021</c:v>
                </c:pt>
                <c:pt idx="418">
                  <c:v>09.08.2021</c:v>
                </c:pt>
                <c:pt idx="419">
                  <c:v>10.08.2021</c:v>
                </c:pt>
                <c:pt idx="420">
                  <c:v>11.08.2021</c:v>
                </c:pt>
                <c:pt idx="421">
                  <c:v>12.08.2021</c:v>
                </c:pt>
                <c:pt idx="422">
                  <c:v>13.08.2021</c:v>
                </c:pt>
                <c:pt idx="423">
                  <c:v>16.08.2021</c:v>
                </c:pt>
                <c:pt idx="424">
                  <c:v>17.08.2021</c:v>
                </c:pt>
                <c:pt idx="425">
                  <c:v>18.08.2021</c:v>
                </c:pt>
                <c:pt idx="426">
                  <c:v>19.08.2021</c:v>
                </c:pt>
                <c:pt idx="427">
                  <c:v>20.08.2021</c:v>
                </c:pt>
                <c:pt idx="428">
                  <c:v>23.08.2021</c:v>
                </c:pt>
                <c:pt idx="429">
                  <c:v>24.08.2021</c:v>
                </c:pt>
                <c:pt idx="430">
                  <c:v>25.08.2021</c:v>
                </c:pt>
                <c:pt idx="431">
                  <c:v>26.08.2021</c:v>
                </c:pt>
                <c:pt idx="432">
                  <c:v>27.08.2021</c:v>
                </c:pt>
                <c:pt idx="433">
                  <c:v>30.08.2021</c:v>
                </c:pt>
                <c:pt idx="434">
                  <c:v>31.08.2021</c:v>
                </c:pt>
                <c:pt idx="435">
                  <c:v>01.09.2021</c:v>
                </c:pt>
                <c:pt idx="436">
                  <c:v>02.09.2021</c:v>
                </c:pt>
                <c:pt idx="437">
                  <c:v>03.09.2021</c:v>
                </c:pt>
                <c:pt idx="438">
                  <c:v>06.09.2021</c:v>
                </c:pt>
                <c:pt idx="439">
                  <c:v>07.09.2021</c:v>
                </c:pt>
                <c:pt idx="440">
                  <c:v>08.09.2021</c:v>
                </c:pt>
                <c:pt idx="441">
                  <c:v>09.09.2021</c:v>
                </c:pt>
                <c:pt idx="442">
                  <c:v>10.09.2021</c:v>
                </c:pt>
                <c:pt idx="443">
                  <c:v>13.09.2021</c:v>
                </c:pt>
                <c:pt idx="444">
                  <c:v>14.09.2021</c:v>
                </c:pt>
                <c:pt idx="445">
                  <c:v>15.09.2021</c:v>
                </c:pt>
                <c:pt idx="446">
                  <c:v>16.09.2021</c:v>
                </c:pt>
                <c:pt idx="447">
                  <c:v>17.09.2021</c:v>
                </c:pt>
                <c:pt idx="448">
                  <c:v>20.09.2021</c:v>
                </c:pt>
                <c:pt idx="449">
                  <c:v>21.09.2021</c:v>
                </c:pt>
                <c:pt idx="450">
                  <c:v>22.09.2021</c:v>
                </c:pt>
                <c:pt idx="451">
                  <c:v>23.09.2021</c:v>
                </c:pt>
                <c:pt idx="452">
                  <c:v>24.09.2021</c:v>
                </c:pt>
                <c:pt idx="453">
                  <c:v>27.09.2021</c:v>
                </c:pt>
                <c:pt idx="454">
                  <c:v>28.09.2021</c:v>
                </c:pt>
                <c:pt idx="455">
                  <c:v>29.09.2021</c:v>
                </c:pt>
                <c:pt idx="456">
                  <c:v>30.09.2021</c:v>
                </c:pt>
                <c:pt idx="457">
                  <c:v>01.10.2021</c:v>
                </c:pt>
                <c:pt idx="458">
                  <c:v>04.10.2021</c:v>
                </c:pt>
                <c:pt idx="459">
                  <c:v>05.10.2021</c:v>
                </c:pt>
                <c:pt idx="460">
                  <c:v>06.10.2021</c:v>
                </c:pt>
                <c:pt idx="461">
                  <c:v>07.10.2021</c:v>
                </c:pt>
                <c:pt idx="462">
                  <c:v>08.10.2021</c:v>
                </c:pt>
                <c:pt idx="463">
                  <c:v>11.10.2021</c:v>
                </c:pt>
                <c:pt idx="464">
                  <c:v>12.10.2021</c:v>
                </c:pt>
                <c:pt idx="465">
                  <c:v>13.10.2021</c:v>
                </c:pt>
                <c:pt idx="466">
                  <c:v>14.10.2021</c:v>
                </c:pt>
                <c:pt idx="467">
                  <c:v>15.10.2021</c:v>
                </c:pt>
                <c:pt idx="468">
                  <c:v>18.10.2021</c:v>
                </c:pt>
                <c:pt idx="469">
                  <c:v>19.10.2021</c:v>
                </c:pt>
                <c:pt idx="470">
                  <c:v>20.10.2021</c:v>
                </c:pt>
                <c:pt idx="471">
                  <c:v>21.10.2021</c:v>
                </c:pt>
                <c:pt idx="472">
                  <c:v>22.10.2021</c:v>
                </c:pt>
                <c:pt idx="473">
                  <c:v>25.10.2021</c:v>
                </c:pt>
                <c:pt idx="474">
                  <c:v>26.10.2021</c:v>
                </c:pt>
                <c:pt idx="475">
                  <c:v>27.10.2021</c:v>
                </c:pt>
                <c:pt idx="476">
                  <c:v>28.10.2021</c:v>
                </c:pt>
                <c:pt idx="477">
                  <c:v>29.10.2021</c:v>
                </c:pt>
                <c:pt idx="478">
                  <c:v>01.11.2021</c:v>
                </c:pt>
                <c:pt idx="479">
                  <c:v>02.11.2021</c:v>
                </c:pt>
                <c:pt idx="480">
                  <c:v>03.11.2021</c:v>
                </c:pt>
                <c:pt idx="481">
                  <c:v>04.11.2021</c:v>
                </c:pt>
                <c:pt idx="482">
                  <c:v>05.11.2021</c:v>
                </c:pt>
                <c:pt idx="483">
                  <c:v>08.11.2021</c:v>
                </c:pt>
                <c:pt idx="484">
                  <c:v>09.11.2021</c:v>
                </c:pt>
                <c:pt idx="485">
                  <c:v>10.11.2021</c:v>
                </c:pt>
                <c:pt idx="486">
                  <c:v>11.11.2021</c:v>
                </c:pt>
                <c:pt idx="487">
                  <c:v>12.11.2021</c:v>
                </c:pt>
                <c:pt idx="488">
                  <c:v>15.11.2021</c:v>
                </c:pt>
                <c:pt idx="489">
                  <c:v>16.11.2021</c:v>
                </c:pt>
                <c:pt idx="490">
                  <c:v>17.11.2021</c:v>
                </c:pt>
                <c:pt idx="491">
                  <c:v>18.11.2021</c:v>
                </c:pt>
                <c:pt idx="492">
                  <c:v>19.11.2021</c:v>
                </c:pt>
                <c:pt idx="493">
                  <c:v>22.11.2021</c:v>
                </c:pt>
                <c:pt idx="494">
                  <c:v>23.11.2021</c:v>
                </c:pt>
                <c:pt idx="495">
                  <c:v>24.11.2021</c:v>
                </c:pt>
                <c:pt idx="496">
                  <c:v>25.11.2021</c:v>
                </c:pt>
                <c:pt idx="497">
                  <c:v>26.11.2021</c:v>
                </c:pt>
                <c:pt idx="498">
                  <c:v>29.11.2021</c:v>
                </c:pt>
                <c:pt idx="499">
                  <c:v>30.11.2021</c:v>
                </c:pt>
                <c:pt idx="500">
                  <c:v>01.12.2021</c:v>
                </c:pt>
                <c:pt idx="501">
                  <c:v>02.12.2021</c:v>
                </c:pt>
                <c:pt idx="502">
                  <c:v>03.12.2021</c:v>
                </c:pt>
                <c:pt idx="503">
                  <c:v>06.12.2021</c:v>
                </c:pt>
                <c:pt idx="504">
                  <c:v>07.12.2021</c:v>
                </c:pt>
                <c:pt idx="505">
                  <c:v>08.12.2021</c:v>
                </c:pt>
                <c:pt idx="506">
                  <c:v>09.12.2021</c:v>
                </c:pt>
                <c:pt idx="507">
                  <c:v>10.12.2021</c:v>
                </c:pt>
                <c:pt idx="508">
                  <c:v>13.12.2021</c:v>
                </c:pt>
                <c:pt idx="509">
                  <c:v>14.12.2021</c:v>
                </c:pt>
                <c:pt idx="510">
                  <c:v>15.12.2021</c:v>
                </c:pt>
                <c:pt idx="511">
                  <c:v>16.12.2021</c:v>
                </c:pt>
                <c:pt idx="512">
                  <c:v>17.12.2021</c:v>
                </c:pt>
                <c:pt idx="513">
                  <c:v>20.12.2021</c:v>
                </c:pt>
                <c:pt idx="514">
                  <c:v>21.12.2021</c:v>
                </c:pt>
                <c:pt idx="515">
                  <c:v>22.12.2021</c:v>
                </c:pt>
                <c:pt idx="516">
                  <c:v>23.12.2021</c:v>
                </c:pt>
                <c:pt idx="517">
                  <c:v>24.12.2021</c:v>
                </c:pt>
                <c:pt idx="518">
                  <c:v>27.12.2021</c:v>
                </c:pt>
                <c:pt idx="519">
                  <c:v>28.12.2021</c:v>
                </c:pt>
                <c:pt idx="520">
                  <c:v>29.12.2021</c:v>
                </c:pt>
                <c:pt idx="521">
                  <c:v>30.12.2021</c:v>
                </c:pt>
                <c:pt idx="522">
                  <c:v>31.12.2021</c:v>
                </c:pt>
                <c:pt idx="523">
                  <c:v>03.01.2022</c:v>
                </c:pt>
                <c:pt idx="524">
                  <c:v>04.01.2022</c:v>
                </c:pt>
                <c:pt idx="525">
                  <c:v>05.01.2022</c:v>
                </c:pt>
                <c:pt idx="526">
                  <c:v>06.01.2022</c:v>
                </c:pt>
                <c:pt idx="527">
                  <c:v>07.01.2022</c:v>
                </c:pt>
                <c:pt idx="528">
                  <c:v>10.01.2022</c:v>
                </c:pt>
                <c:pt idx="529">
                  <c:v>11.01.2022</c:v>
                </c:pt>
                <c:pt idx="530">
                  <c:v>12.01.2022</c:v>
                </c:pt>
                <c:pt idx="531">
                  <c:v>13.01.2022</c:v>
                </c:pt>
                <c:pt idx="532">
                  <c:v>14.01.2022</c:v>
                </c:pt>
                <c:pt idx="533">
                  <c:v>17.01.2022</c:v>
                </c:pt>
                <c:pt idx="534">
                  <c:v>18.01.2022</c:v>
                </c:pt>
                <c:pt idx="535">
                  <c:v>19.01.2022</c:v>
                </c:pt>
                <c:pt idx="536">
                  <c:v>20.01.2022</c:v>
                </c:pt>
                <c:pt idx="537">
                  <c:v>21.01.2022</c:v>
                </c:pt>
                <c:pt idx="538">
                  <c:v>24.01.2022</c:v>
                </c:pt>
                <c:pt idx="539">
                  <c:v>25.01.2022</c:v>
                </c:pt>
                <c:pt idx="540">
                  <c:v>26.01.2022</c:v>
                </c:pt>
                <c:pt idx="541">
                  <c:v>27.01.2022</c:v>
                </c:pt>
                <c:pt idx="542">
                  <c:v>28.01.2022</c:v>
                </c:pt>
                <c:pt idx="543">
                  <c:v>31.01.2022</c:v>
                </c:pt>
                <c:pt idx="544">
                  <c:v>01.02.2022</c:v>
                </c:pt>
                <c:pt idx="545">
                  <c:v>02.02.2022</c:v>
                </c:pt>
                <c:pt idx="546">
                  <c:v>03.02.2022</c:v>
                </c:pt>
                <c:pt idx="547">
                  <c:v>04.02.2022</c:v>
                </c:pt>
                <c:pt idx="548">
                  <c:v>07.02.2022</c:v>
                </c:pt>
                <c:pt idx="549">
                  <c:v>08.02.2022</c:v>
                </c:pt>
                <c:pt idx="550">
                  <c:v>30.04.2022022</c:v>
                </c:pt>
              </c:strCache>
            </c:strRef>
          </c:cat>
          <c:val>
            <c:numRef>
              <c:f>Sheet1!$B$3:$B$555</c:f>
              <c:numCache>
                <c:formatCode>General</c:formatCode>
                <c:ptCount val="553"/>
                <c:pt idx="0">
                  <c:v>1.9215</c:v>
                </c:pt>
                <c:pt idx="1">
                  <c:v>1.9215</c:v>
                </c:pt>
                <c:pt idx="2">
                  <c:v>1.8815</c:v>
                </c:pt>
                <c:pt idx="3">
                  <c:v>1.8214999999999999</c:v>
                </c:pt>
                <c:pt idx="4">
                  <c:v>1.8015000000000001</c:v>
                </c:pt>
                <c:pt idx="5">
                  <c:v>1.8065</c:v>
                </c:pt>
                <c:pt idx="6">
                  <c:v>1.8165</c:v>
                </c:pt>
                <c:pt idx="7">
                  <c:v>1.8414999999999999</c:v>
                </c:pt>
                <c:pt idx="8">
                  <c:v>1.8414999999999999</c:v>
                </c:pt>
                <c:pt idx="9">
                  <c:v>1.8414999999999999</c:v>
                </c:pt>
                <c:pt idx="10">
                  <c:v>1.8214999999999999</c:v>
                </c:pt>
                <c:pt idx="11">
                  <c:v>1.7965</c:v>
                </c:pt>
                <c:pt idx="12">
                  <c:v>1.7865</c:v>
                </c:pt>
                <c:pt idx="13">
                  <c:v>1.7915000000000001</c:v>
                </c:pt>
                <c:pt idx="14">
                  <c:v>1.7915000000000001</c:v>
                </c:pt>
                <c:pt idx="15">
                  <c:v>1.7665</c:v>
                </c:pt>
                <c:pt idx="16">
                  <c:v>1.7344999999999999</c:v>
                </c:pt>
                <c:pt idx="17">
                  <c:v>1.7095</c:v>
                </c:pt>
                <c:pt idx="18">
                  <c:v>1.6835</c:v>
                </c:pt>
                <c:pt idx="19">
                  <c:v>1.6234999999999999</c:v>
                </c:pt>
                <c:pt idx="20">
                  <c:v>1.6525000000000001</c:v>
                </c:pt>
                <c:pt idx="21">
                  <c:v>1.6505000000000001</c:v>
                </c:pt>
                <c:pt idx="22">
                  <c:v>1.6395</c:v>
                </c:pt>
                <c:pt idx="23">
                  <c:v>1.5874999999999999</c:v>
                </c:pt>
                <c:pt idx="24">
                  <c:v>1.5575000000000001</c:v>
                </c:pt>
                <c:pt idx="25">
                  <c:v>1.6025</c:v>
                </c:pt>
                <c:pt idx="26">
                  <c:v>1.6274999999999999</c:v>
                </c:pt>
                <c:pt idx="27">
                  <c:v>1.643</c:v>
                </c:pt>
                <c:pt idx="28">
                  <c:v>1.615</c:v>
                </c:pt>
                <c:pt idx="29">
                  <c:v>1.635</c:v>
                </c:pt>
                <c:pt idx="30">
                  <c:v>1.635</c:v>
                </c:pt>
                <c:pt idx="31">
                  <c:v>1.68</c:v>
                </c:pt>
                <c:pt idx="32">
                  <c:v>1.6619999999999999</c:v>
                </c:pt>
                <c:pt idx="33">
                  <c:v>1.6619999999999999</c:v>
                </c:pt>
                <c:pt idx="34">
                  <c:v>1.6719999999999999</c:v>
                </c:pt>
                <c:pt idx="35">
                  <c:v>1.6719999999999999</c:v>
                </c:pt>
                <c:pt idx="36">
                  <c:v>1.6759999999999999</c:v>
                </c:pt>
                <c:pt idx="37">
                  <c:v>1.6659999999999999</c:v>
                </c:pt>
                <c:pt idx="38">
                  <c:v>1.6459999999999999</c:v>
                </c:pt>
                <c:pt idx="39">
                  <c:v>1.6005</c:v>
                </c:pt>
                <c:pt idx="40">
                  <c:v>1.5774999999999999</c:v>
                </c:pt>
                <c:pt idx="41">
                  <c:v>1.5754999999999999</c:v>
                </c:pt>
                <c:pt idx="42">
                  <c:v>1.4855</c:v>
                </c:pt>
                <c:pt idx="43">
                  <c:v>1.391</c:v>
                </c:pt>
                <c:pt idx="44">
                  <c:v>1.3180000000000001</c:v>
                </c:pt>
                <c:pt idx="45">
                  <c:v>1.3839999999999999</c:v>
                </c:pt>
                <c:pt idx="46">
                  <c:v>1.2055</c:v>
                </c:pt>
                <c:pt idx="47">
                  <c:v>1.1655</c:v>
                </c:pt>
                <c:pt idx="48">
                  <c:v>1.1455</c:v>
                </c:pt>
                <c:pt idx="49">
                  <c:v>1.0255000000000001</c:v>
                </c:pt>
                <c:pt idx="50">
                  <c:v>1.1105</c:v>
                </c:pt>
                <c:pt idx="51">
                  <c:v>1.091</c:v>
                </c:pt>
                <c:pt idx="52">
                  <c:v>1.0960000000000001</c:v>
                </c:pt>
                <c:pt idx="53">
                  <c:v>1.044</c:v>
                </c:pt>
                <c:pt idx="54">
                  <c:v>0.90400000000000003</c:v>
                </c:pt>
                <c:pt idx="55">
                  <c:v>0.89900000000000002</c:v>
                </c:pt>
                <c:pt idx="56">
                  <c:v>0.93400000000000005</c:v>
                </c:pt>
                <c:pt idx="57">
                  <c:v>0.95899999999999996</c:v>
                </c:pt>
                <c:pt idx="58">
                  <c:v>0.84399999999999997</c:v>
                </c:pt>
                <c:pt idx="59">
                  <c:v>0.84899999999999998</c:v>
                </c:pt>
                <c:pt idx="60">
                  <c:v>0.89900000000000002</c:v>
                </c:pt>
                <c:pt idx="61">
                  <c:v>0.95399999999999996</c:v>
                </c:pt>
                <c:pt idx="62">
                  <c:v>0.92400000000000004</c:v>
                </c:pt>
                <c:pt idx="63">
                  <c:v>0.82899999999999996</c:v>
                </c:pt>
                <c:pt idx="64">
                  <c:v>0.76400000000000001</c:v>
                </c:pt>
                <c:pt idx="65">
                  <c:v>0.73899999999999999</c:v>
                </c:pt>
                <c:pt idx="66">
                  <c:v>0.68400000000000005</c:v>
                </c:pt>
                <c:pt idx="67">
                  <c:v>0.64400000000000002</c:v>
                </c:pt>
                <c:pt idx="68">
                  <c:v>0.63900000000000001</c:v>
                </c:pt>
                <c:pt idx="69">
                  <c:v>0.65400000000000003</c:v>
                </c:pt>
                <c:pt idx="70">
                  <c:v>0.68899999999999995</c:v>
                </c:pt>
                <c:pt idx="71">
                  <c:v>0.67900000000000005</c:v>
                </c:pt>
                <c:pt idx="72">
                  <c:v>0.67900000000000005</c:v>
                </c:pt>
                <c:pt idx="73">
                  <c:v>0.67900000000000005</c:v>
                </c:pt>
                <c:pt idx="74">
                  <c:v>0.67900000000000005</c:v>
                </c:pt>
                <c:pt idx="75">
                  <c:v>0.629</c:v>
                </c:pt>
                <c:pt idx="76">
                  <c:v>0.58899999999999997</c:v>
                </c:pt>
                <c:pt idx="77">
                  <c:v>0.629</c:v>
                </c:pt>
                <c:pt idx="78">
                  <c:v>0.65400000000000003</c:v>
                </c:pt>
                <c:pt idx="79">
                  <c:v>0.68899999999999995</c:v>
                </c:pt>
                <c:pt idx="80">
                  <c:v>0.66900000000000004</c:v>
                </c:pt>
                <c:pt idx="81">
                  <c:v>0.6865</c:v>
                </c:pt>
                <c:pt idx="82">
                  <c:v>0.67649999999999999</c:v>
                </c:pt>
                <c:pt idx="83">
                  <c:v>0.65649999999999997</c:v>
                </c:pt>
                <c:pt idx="84">
                  <c:v>0.64649999999999996</c:v>
                </c:pt>
                <c:pt idx="85">
                  <c:v>0.63649999999999995</c:v>
                </c:pt>
                <c:pt idx="86">
                  <c:v>0.61150000000000004</c:v>
                </c:pt>
                <c:pt idx="87">
                  <c:v>0.57650000000000001</c:v>
                </c:pt>
                <c:pt idx="88">
                  <c:v>0.57650000000000001</c:v>
                </c:pt>
                <c:pt idx="89">
                  <c:v>0.55149999999999999</c:v>
                </c:pt>
                <c:pt idx="90">
                  <c:v>0.51649999999999996</c:v>
                </c:pt>
                <c:pt idx="91">
                  <c:v>0.52149999999999996</c:v>
                </c:pt>
                <c:pt idx="92">
                  <c:v>0.38650000000000001</c:v>
                </c:pt>
                <c:pt idx="93">
                  <c:v>0.36149999999999999</c:v>
                </c:pt>
                <c:pt idx="94">
                  <c:v>0.36149999999999999</c:v>
                </c:pt>
                <c:pt idx="95">
                  <c:v>0.33650000000000002</c:v>
                </c:pt>
                <c:pt idx="96">
                  <c:v>0.30649999999999999</c:v>
                </c:pt>
                <c:pt idx="97">
                  <c:v>0.28149999999999997</c:v>
                </c:pt>
                <c:pt idx="98">
                  <c:v>0.27350000000000002</c:v>
                </c:pt>
                <c:pt idx="99">
                  <c:v>0.32850000000000001</c:v>
                </c:pt>
                <c:pt idx="100">
                  <c:v>0.36349999999999999</c:v>
                </c:pt>
                <c:pt idx="101">
                  <c:v>0.34849999999999998</c:v>
                </c:pt>
                <c:pt idx="102">
                  <c:v>0.34849999999999998</c:v>
                </c:pt>
                <c:pt idx="103">
                  <c:v>0.34350000000000003</c:v>
                </c:pt>
                <c:pt idx="104">
                  <c:v>0.34849999999999998</c:v>
                </c:pt>
                <c:pt idx="105">
                  <c:v>0.3785</c:v>
                </c:pt>
                <c:pt idx="106">
                  <c:v>0.4335</c:v>
                </c:pt>
                <c:pt idx="107">
                  <c:v>0.42849999999999999</c:v>
                </c:pt>
                <c:pt idx="108">
                  <c:v>0.4385</c:v>
                </c:pt>
                <c:pt idx="109">
                  <c:v>0.4385</c:v>
                </c:pt>
                <c:pt idx="110">
                  <c:v>0.44350000000000001</c:v>
                </c:pt>
                <c:pt idx="111">
                  <c:v>0.48849999999999999</c:v>
                </c:pt>
                <c:pt idx="112">
                  <c:v>0.50849999999999995</c:v>
                </c:pt>
                <c:pt idx="113">
                  <c:v>0.58350000000000002</c:v>
                </c:pt>
                <c:pt idx="114">
                  <c:v>0.59350000000000003</c:v>
                </c:pt>
                <c:pt idx="115">
                  <c:v>0.59499999999999997</c:v>
                </c:pt>
                <c:pt idx="116">
                  <c:v>0.62</c:v>
                </c:pt>
                <c:pt idx="117">
                  <c:v>0.55000000000000004</c:v>
                </c:pt>
                <c:pt idx="118">
                  <c:v>0.54</c:v>
                </c:pt>
                <c:pt idx="119">
                  <c:v>0.51500000000000001</c:v>
                </c:pt>
                <c:pt idx="120">
                  <c:v>0.54</c:v>
                </c:pt>
                <c:pt idx="121">
                  <c:v>0.54549999999999998</c:v>
                </c:pt>
                <c:pt idx="122">
                  <c:v>0.60550000000000004</c:v>
                </c:pt>
                <c:pt idx="123">
                  <c:v>0.63049999999999995</c:v>
                </c:pt>
                <c:pt idx="124">
                  <c:v>0.61050000000000004</c:v>
                </c:pt>
                <c:pt idx="125">
                  <c:v>0.64049999999999996</c:v>
                </c:pt>
                <c:pt idx="126">
                  <c:v>0.65549999999999997</c:v>
                </c:pt>
                <c:pt idx="127">
                  <c:v>0.61550000000000005</c:v>
                </c:pt>
                <c:pt idx="128">
                  <c:v>0.61050000000000004</c:v>
                </c:pt>
                <c:pt idx="129">
                  <c:v>0.61399999999999999</c:v>
                </c:pt>
                <c:pt idx="130">
                  <c:v>0.58399999999999996</c:v>
                </c:pt>
                <c:pt idx="131">
                  <c:v>0.64400000000000002</c:v>
                </c:pt>
                <c:pt idx="132">
                  <c:v>0.61899999999999999</c:v>
                </c:pt>
                <c:pt idx="133">
                  <c:v>0.60350000000000004</c:v>
                </c:pt>
                <c:pt idx="134">
                  <c:v>0.60850000000000004</c:v>
                </c:pt>
                <c:pt idx="135">
                  <c:v>0.61350000000000005</c:v>
                </c:pt>
                <c:pt idx="136">
                  <c:v>0.57850000000000001</c:v>
                </c:pt>
                <c:pt idx="137">
                  <c:v>0.57350000000000001</c:v>
                </c:pt>
                <c:pt idx="138">
                  <c:v>0.54849999999999999</c:v>
                </c:pt>
                <c:pt idx="139">
                  <c:v>0.58850000000000002</c:v>
                </c:pt>
                <c:pt idx="140">
                  <c:v>0.57850000000000001</c:v>
                </c:pt>
                <c:pt idx="141">
                  <c:v>0.58350000000000002</c:v>
                </c:pt>
                <c:pt idx="142">
                  <c:v>0.57850000000000001</c:v>
                </c:pt>
                <c:pt idx="143">
                  <c:v>0.58350000000000002</c:v>
                </c:pt>
                <c:pt idx="144">
                  <c:v>0.57350000000000001</c:v>
                </c:pt>
                <c:pt idx="145">
                  <c:v>0.56599999999999995</c:v>
                </c:pt>
                <c:pt idx="146">
                  <c:v>0.51749999999999996</c:v>
                </c:pt>
                <c:pt idx="147">
                  <c:v>0.51849999999999996</c:v>
                </c:pt>
                <c:pt idx="148">
                  <c:v>0.53849999999999998</c:v>
                </c:pt>
                <c:pt idx="149">
                  <c:v>0.499</c:v>
                </c:pt>
                <c:pt idx="150">
                  <c:v>0.49399999999999999</c:v>
                </c:pt>
                <c:pt idx="151">
                  <c:v>0.50600000000000001</c:v>
                </c:pt>
                <c:pt idx="152">
                  <c:v>0.48299999999999998</c:v>
                </c:pt>
                <c:pt idx="153">
                  <c:v>0.50800000000000001</c:v>
                </c:pt>
                <c:pt idx="154">
                  <c:v>0.51400000000000001</c:v>
                </c:pt>
                <c:pt idx="155">
                  <c:v>0.48899999999999999</c:v>
                </c:pt>
                <c:pt idx="156">
                  <c:v>0.52400000000000002</c:v>
                </c:pt>
                <c:pt idx="157">
                  <c:v>0.51400000000000001</c:v>
                </c:pt>
                <c:pt idx="158">
                  <c:v>0.53400000000000003</c:v>
                </c:pt>
                <c:pt idx="159">
                  <c:v>0.54749999999999999</c:v>
                </c:pt>
                <c:pt idx="160">
                  <c:v>0.61750000000000005</c:v>
                </c:pt>
                <c:pt idx="161">
                  <c:v>0.63349999999999995</c:v>
                </c:pt>
                <c:pt idx="162">
                  <c:v>0.67849999999999999</c:v>
                </c:pt>
                <c:pt idx="163">
                  <c:v>0.66849999999999998</c:v>
                </c:pt>
                <c:pt idx="164">
                  <c:v>0.66849999999999998</c:v>
                </c:pt>
                <c:pt idx="165">
                  <c:v>0.66900000000000004</c:v>
                </c:pt>
                <c:pt idx="166">
                  <c:v>0.66400000000000003</c:v>
                </c:pt>
                <c:pt idx="167">
                  <c:v>0.61899999999999999</c:v>
                </c:pt>
                <c:pt idx="168">
                  <c:v>0.61899999999999999</c:v>
                </c:pt>
                <c:pt idx="169">
                  <c:v>0.624</c:v>
                </c:pt>
                <c:pt idx="170">
                  <c:v>0.67400000000000004</c:v>
                </c:pt>
                <c:pt idx="171">
                  <c:v>0.68899999999999995</c:v>
                </c:pt>
                <c:pt idx="172">
                  <c:v>0.68</c:v>
                </c:pt>
                <c:pt idx="173">
                  <c:v>0.68300000000000005</c:v>
                </c:pt>
                <c:pt idx="174">
                  <c:v>0.69950000000000001</c:v>
                </c:pt>
                <c:pt idx="175">
                  <c:v>0.67949999999999999</c:v>
                </c:pt>
                <c:pt idx="176">
                  <c:v>0.63049999999999995</c:v>
                </c:pt>
                <c:pt idx="177">
                  <c:v>0.58950000000000002</c:v>
                </c:pt>
                <c:pt idx="178">
                  <c:v>0.58450000000000002</c:v>
                </c:pt>
                <c:pt idx="179">
                  <c:v>0.60150000000000003</c:v>
                </c:pt>
                <c:pt idx="180">
                  <c:v>0.59150000000000003</c:v>
                </c:pt>
                <c:pt idx="181">
                  <c:v>0.60150000000000003</c:v>
                </c:pt>
                <c:pt idx="182">
                  <c:v>0.62150000000000005</c:v>
                </c:pt>
                <c:pt idx="183">
                  <c:v>0.61650000000000005</c:v>
                </c:pt>
                <c:pt idx="184">
                  <c:v>0.60650000000000004</c:v>
                </c:pt>
                <c:pt idx="185">
                  <c:v>0.60650000000000004</c:v>
                </c:pt>
                <c:pt idx="186">
                  <c:v>0.59650000000000003</c:v>
                </c:pt>
                <c:pt idx="187">
                  <c:v>0.59150000000000003</c:v>
                </c:pt>
                <c:pt idx="188">
                  <c:v>0.59150000000000003</c:v>
                </c:pt>
                <c:pt idx="189">
                  <c:v>0.57150000000000001</c:v>
                </c:pt>
                <c:pt idx="190">
                  <c:v>0.58150000000000002</c:v>
                </c:pt>
                <c:pt idx="191">
                  <c:v>0.58150000000000002</c:v>
                </c:pt>
                <c:pt idx="192">
                  <c:v>0.55149999999999999</c:v>
                </c:pt>
                <c:pt idx="193">
                  <c:v>0.54649999999999999</c:v>
                </c:pt>
                <c:pt idx="194">
                  <c:v>0.55149999999999999</c:v>
                </c:pt>
                <c:pt idx="195">
                  <c:v>0.54649999999999999</c:v>
                </c:pt>
                <c:pt idx="196">
                  <c:v>0.55649999999999999</c:v>
                </c:pt>
                <c:pt idx="197">
                  <c:v>0.57150000000000001</c:v>
                </c:pt>
                <c:pt idx="198">
                  <c:v>0.5665</c:v>
                </c:pt>
                <c:pt idx="199">
                  <c:v>0.58550000000000002</c:v>
                </c:pt>
                <c:pt idx="200">
                  <c:v>0.60550000000000004</c:v>
                </c:pt>
                <c:pt idx="201">
                  <c:v>0.61550000000000005</c:v>
                </c:pt>
                <c:pt idx="202">
                  <c:v>0.60550000000000004</c:v>
                </c:pt>
                <c:pt idx="203">
                  <c:v>0.60050000000000003</c:v>
                </c:pt>
                <c:pt idx="204">
                  <c:v>0.60050000000000003</c:v>
                </c:pt>
                <c:pt idx="205">
                  <c:v>0.625</c:v>
                </c:pt>
                <c:pt idx="206">
                  <c:v>0.60099999999999998</c:v>
                </c:pt>
                <c:pt idx="207">
                  <c:v>0.58099999999999996</c:v>
                </c:pt>
                <c:pt idx="208">
                  <c:v>0.57599999999999996</c:v>
                </c:pt>
                <c:pt idx="209">
                  <c:v>0.57599999999999996</c:v>
                </c:pt>
                <c:pt idx="210">
                  <c:v>0.60099999999999998</c:v>
                </c:pt>
                <c:pt idx="211">
                  <c:v>0.621</c:v>
                </c:pt>
                <c:pt idx="212">
                  <c:v>0.64100000000000001</c:v>
                </c:pt>
                <c:pt idx="213">
                  <c:v>0.65849999999999997</c:v>
                </c:pt>
                <c:pt idx="214">
                  <c:v>0.64600000000000002</c:v>
                </c:pt>
                <c:pt idx="215">
                  <c:v>0.626</c:v>
                </c:pt>
                <c:pt idx="216">
                  <c:v>0.61350000000000005</c:v>
                </c:pt>
                <c:pt idx="217">
                  <c:v>0.621</c:v>
                </c:pt>
                <c:pt idx="218">
                  <c:v>0.63300000000000001</c:v>
                </c:pt>
                <c:pt idx="219">
                  <c:v>0.63800000000000001</c:v>
                </c:pt>
                <c:pt idx="220">
                  <c:v>0.64800000000000002</c:v>
                </c:pt>
                <c:pt idx="221">
                  <c:v>0.63300000000000001</c:v>
                </c:pt>
                <c:pt idx="222">
                  <c:v>0.63800000000000001</c:v>
                </c:pt>
                <c:pt idx="223">
                  <c:v>0.63800000000000001</c:v>
                </c:pt>
                <c:pt idx="224">
                  <c:v>0.69799999999999995</c:v>
                </c:pt>
                <c:pt idx="225">
                  <c:v>0.72799999999999998</c:v>
                </c:pt>
                <c:pt idx="226">
                  <c:v>0.73799999999999999</c:v>
                </c:pt>
                <c:pt idx="227">
                  <c:v>0.72799999999999998</c:v>
                </c:pt>
                <c:pt idx="228">
                  <c:v>0.69799999999999995</c:v>
                </c:pt>
                <c:pt idx="229">
                  <c:v>0.70550000000000002</c:v>
                </c:pt>
                <c:pt idx="230">
                  <c:v>0.71050000000000002</c:v>
                </c:pt>
                <c:pt idx="231">
                  <c:v>0.72050000000000003</c:v>
                </c:pt>
                <c:pt idx="232">
                  <c:v>0.72050000000000003</c:v>
                </c:pt>
                <c:pt idx="233">
                  <c:v>0.71550000000000002</c:v>
                </c:pt>
                <c:pt idx="234">
                  <c:v>0.72050000000000003</c:v>
                </c:pt>
                <c:pt idx="235">
                  <c:v>0.74550000000000005</c:v>
                </c:pt>
                <c:pt idx="236">
                  <c:v>0.75049999999999994</c:v>
                </c:pt>
                <c:pt idx="237">
                  <c:v>0.74550000000000005</c:v>
                </c:pt>
                <c:pt idx="238">
                  <c:v>0.74650000000000005</c:v>
                </c:pt>
                <c:pt idx="239">
                  <c:v>0.75149999999999995</c:v>
                </c:pt>
                <c:pt idx="240">
                  <c:v>0.78149999999999997</c:v>
                </c:pt>
                <c:pt idx="241">
                  <c:v>0.79149999999999998</c:v>
                </c:pt>
                <c:pt idx="242">
                  <c:v>0.77649999999999997</c:v>
                </c:pt>
                <c:pt idx="243">
                  <c:v>0.78649999999999998</c:v>
                </c:pt>
                <c:pt idx="244">
                  <c:v>0.78149999999999997</c:v>
                </c:pt>
                <c:pt idx="245">
                  <c:v>0.77649999999999997</c:v>
                </c:pt>
                <c:pt idx="246">
                  <c:v>0.79149999999999998</c:v>
                </c:pt>
                <c:pt idx="247">
                  <c:v>0.80649999999999999</c:v>
                </c:pt>
                <c:pt idx="248">
                  <c:v>0.79149999999999998</c:v>
                </c:pt>
                <c:pt idx="249">
                  <c:v>0.79100000000000004</c:v>
                </c:pt>
                <c:pt idx="250">
                  <c:v>0.77</c:v>
                </c:pt>
                <c:pt idx="251">
                  <c:v>0.79100000000000004</c:v>
                </c:pt>
                <c:pt idx="252">
                  <c:v>0.85799999999999998</c:v>
                </c:pt>
                <c:pt idx="253">
                  <c:v>0.86799999999999999</c:v>
                </c:pt>
                <c:pt idx="254">
                  <c:v>0.876</c:v>
                </c:pt>
                <c:pt idx="255">
                  <c:v>0.88600000000000001</c:v>
                </c:pt>
                <c:pt idx="256">
                  <c:v>0.91600000000000004</c:v>
                </c:pt>
                <c:pt idx="257">
                  <c:v>0.91600000000000004</c:v>
                </c:pt>
                <c:pt idx="258">
                  <c:v>0.91600000000000004</c:v>
                </c:pt>
                <c:pt idx="259">
                  <c:v>0.91100000000000003</c:v>
                </c:pt>
                <c:pt idx="260">
                  <c:v>0.91100000000000003</c:v>
                </c:pt>
                <c:pt idx="261">
                  <c:v>0.90600000000000003</c:v>
                </c:pt>
                <c:pt idx="262">
                  <c:v>0.90100000000000002</c:v>
                </c:pt>
                <c:pt idx="263">
                  <c:v>0.90100000000000002</c:v>
                </c:pt>
                <c:pt idx="264">
                  <c:v>0.89600000000000002</c:v>
                </c:pt>
                <c:pt idx="265">
                  <c:v>0.84599999999999997</c:v>
                </c:pt>
                <c:pt idx="266">
                  <c:v>0.871</c:v>
                </c:pt>
                <c:pt idx="267">
                  <c:v>0.89100000000000001</c:v>
                </c:pt>
                <c:pt idx="268">
                  <c:v>0.90100000000000002</c:v>
                </c:pt>
                <c:pt idx="269">
                  <c:v>0.92600000000000005</c:v>
                </c:pt>
                <c:pt idx="270">
                  <c:v>0.95899999999999996</c:v>
                </c:pt>
                <c:pt idx="271">
                  <c:v>0.95399999999999996</c:v>
                </c:pt>
                <c:pt idx="272">
                  <c:v>0.94399999999999995</c:v>
                </c:pt>
                <c:pt idx="273">
                  <c:v>0.95399999999999996</c:v>
                </c:pt>
                <c:pt idx="274">
                  <c:v>0.95899999999999996</c:v>
                </c:pt>
                <c:pt idx="275">
                  <c:v>0.95399999999999996</c:v>
                </c:pt>
                <c:pt idx="276">
                  <c:v>0.94799999999999995</c:v>
                </c:pt>
                <c:pt idx="277">
                  <c:v>0.96799999999999997</c:v>
                </c:pt>
                <c:pt idx="278">
                  <c:v>0.96299999999999997</c:v>
                </c:pt>
                <c:pt idx="279">
                  <c:v>0.94299999999999995</c:v>
                </c:pt>
                <c:pt idx="280">
                  <c:v>0.94750000000000001</c:v>
                </c:pt>
                <c:pt idx="281">
                  <c:v>0.9325</c:v>
                </c:pt>
                <c:pt idx="282">
                  <c:v>0.9425</c:v>
                </c:pt>
                <c:pt idx="283">
                  <c:v>0.97250000000000003</c:v>
                </c:pt>
                <c:pt idx="284">
                  <c:v>0.99250000000000005</c:v>
                </c:pt>
                <c:pt idx="285">
                  <c:v>1.0175000000000001</c:v>
                </c:pt>
                <c:pt idx="286">
                  <c:v>1.0275000000000001</c:v>
                </c:pt>
                <c:pt idx="287">
                  <c:v>1.0425</c:v>
                </c:pt>
                <c:pt idx="288">
                  <c:v>1.0615000000000001</c:v>
                </c:pt>
                <c:pt idx="289">
                  <c:v>1.0714999999999999</c:v>
                </c:pt>
                <c:pt idx="290">
                  <c:v>1.0615000000000001</c:v>
                </c:pt>
                <c:pt idx="291">
                  <c:v>1.0714999999999999</c:v>
                </c:pt>
                <c:pt idx="292">
                  <c:v>1.0765</c:v>
                </c:pt>
                <c:pt idx="293">
                  <c:v>1.1065</c:v>
                </c:pt>
                <c:pt idx="294">
                  <c:v>1.1319999999999999</c:v>
                </c:pt>
                <c:pt idx="295">
                  <c:v>1.1719999999999999</c:v>
                </c:pt>
                <c:pt idx="296">
                  <c:v>1.169</c:v>
                </c:pt>
                <c:pt idx="297">
                  <c:v>1.1830000000000001</c:v>
                </c:pt>
                <c:pt idx="298">
                  <c:v>1.1930000000000001</c:v>
                </c:pt>
                <c:pt idx="299">
                  <c:v>1.1830000000000001</c:v>
                </c:pt>
                <c:pt idx="300">
                  <c:v>1.2330000000000001</c:v>
                </c:pt>
                <c:pt idx="301">
                  <c:v>1.2775000000000001</c:v>
                </c:pt>
                <c:pt idx="302">
                  <c:v>1.371</c:v>
                </c:pt>
                <c:pt idx="303">
                  <c:v>1.3149999999999999</c:v>
                </c:pt>
                <c:pt idx="304">
                  <c:v>1.27</c:v>
                </c:pt>
                <c:pt idx="305">
                  <c:v>1.296</c:v>
                </c:pt>
                <c:pt idx="306">
                  <c:v>1.3360000000000001</c:v>
                </c:pt>
                <c:pt idx="307">
                  <c:v>1.345</c:v>
                </c:pt>
                <c:pt idx="308">
                  <c:v>1.38</c:v>
                </c:pt>
                <c:pt idx="309">
                  <c:v>1.4</c:v>
                </c:pt>
                <c:pt idx="310">
                  <c:v>1.355</c:v>
                </c:pt>
                <c:pt idx="311">
                  <c:v>1.365</c:v>
                </c:pt>
                <c:pt idx="312">
                  <c:v>1.36</c:v>
                </c:pt>
                <c:pt idx="313">
                  <c:v>1.39</c:v>
                </c:pt>
                <c:pt idx="314">
                  <c:v>1.37</c:v>
                </c:pt>
                <c:pt idx="315">
                  <c:v>1.304</c:v>
                </c:pt>
                <c:pt idx="316">
                  <c:v>1.3194999999999999</c:v>
                </c:pt>
                <c:pt idx="317">
                  <c:v>1.3540000000000001</c:v>
                </c:pt>
                <c:pt idx="318">
                  <c:v>1.339</c:v>
                </c:pt>
                <c:pt idx="319">
                  <c:v>1.339</c:v>
                </c:pt>
                <c:pt idx="320">
                  <c:v>1.339</c:v>
                </c:pt>
                <c:pt idx="321">
                  <c:v>1.347</c:v>
                </c:pt>
                <c:pt idx="322">
                  <c:v>1.337</c:v>
                </c:pt>
                <c:pt idx="323">
                  <c:v>1.3620000000000001</c:v>
                </c:pt>
                <c:pt idx="324">
                  <c:v>1.367</c:v>
                </c:pt>
                <c:pt idx="325">
                  <c:v>1.3945000000000001</c:v>
                </c:pt>
                <c:pt idx="326">
                  <c:v>1.3845000000000001</c:v>
                </c:pt>
                <c:pt idx="327">
                  <c:v>1.3845000000000001</c:v>
                </c:pt>
                <c:pt idx="328">
                  <c:v>1.3845000000000001</c:v>
                </c:pt>
                <c:pt idx="329">
                  <c:v>1.3845000000000001</c:v>
                </c:pt>
                <c:pt idx="330">
                  <c:v>1.377</c:v>
                </c:pt>
                <c:pt idx="331">
                  <c:v>1.3620000000000001</c:v>
                </c:pt>
                <c:pt idx="332">
                  <c:v>1.3220000000000001</c:v>
                </c:pt>
                <c:pt idx="333">
                  <c:v>1.3520000000000001</c:v>
                </c:pt>
                <c:pt idx="334">
                  <c:v>1.3520000000000001</c:v>
                </c:pt>
                <c:pt idx="335">
                  <c:v>1.3294999999999999</c:v>
                </c:pt>
                <c:pt idx="336">
                  <c:v>1.3009999999999999</c:v>
                </c:pt>
                <c:pt idx="337">
                  <c:v>1.2665</c:v>
                </c:pt>
                <c:pt idx="338">
                  <c:v>1.2815000000000001</c:v>
                </c:pt>
                <c:pt idx="339">
                  <c:v>1.3265</c:v>
                </c:pt>
                <c:pt idx="340">
                  <c:v>1.3165</c:v>
                </c:pt>
                <c:pt idx="341">
                  <c:v>1.2865</c:v>
                </c:pt>
                <c:pt idx="342">
                  <c:v>1.2905</c:v>
                </c:pt>
                <c:pt idx="343">
                  <c:v>1.2875000000000001</c:v>
                </c:pt>
                <c:pt idx="344">
                  <c:v>1.2875000000000001</c:v>
                </c:pt>
                <c:pt idx="345">
                  <c:v>1.2975000000000001</c:v>
                </c:pt>
                <c:pt idx="346">
                  <c:v>1.3174999999999999</c:v>
                </c:pt>
                <c:pt idx="347">
                  <c:v>1.3425</c:v>
                </c:pt>
                <c:pt idx="348">
                  <c:v>1.3274999999999999</c:v>
                </c:pt>
                <c:pt idx="349">
                  <c:v>1.3325</c:v>
                </c:pt>
                <c:pt idx="350">
                  <c:v>1.3125</c:v>
                </c:pt>
                <c:pt idx="351">
                  <c:v>1.3125</c:v>
                </c:pt>
                <c:pt idx="352">
                  <c:v>1.2885</c:v>
                </c:pt>
                <c:pt idx="353">
                  <c:v>1.2735000000000001</c:v>
                </c:pt>
                <c:pt idx="354">
                  <c:v>1.2885</c:v>
                </c:pt>
                <c:pt idx="355">
                  <c:v>1.3185</c:v>
                </c:pt>
                <c:pt idx="356">
                  <c:v>1.3585</c:v>
                </c:pt>
                <c:pt idx="357">
                  <c:v>1.3585</c:v>
                </c:pt>
                <c:pt idx="358">
                  <c:v>1.3485</c:v>
                </c:pt>
                <c:pt idx="359">
                  <c:v>1.3485</c:v>
                </c:pt>
                <c:pt idx="360">
                  <c:v>1.363</c:v>
                </c:pt>
                <c:pt idx="361">
                  <c:v>1.3680000000000001</c:v>
                </c:pt>
                <c:pt idx="362">
                  <c:v>1.373</c:v>
                </c:pt>
                <c:pt idx="363">
                  <c:v>1.3580000000000001</c:v>
                </c:pt>
                <c:pt idx="364">
                  <c:v>1.3580000000000001</c:v>
                </c:pt>
                <c:pt idx="365">
                  <c:v>1.343</c:v>
                </c:pt>
                <c:pt idx="366">
                  <c:v>1.343</c:v>
                </c:pt>
                <c:pt idx="367">
                  <c:v>1.3705000000000001</c:v>
                </c:pt>
                <c:pt idx="368">
                  <c:v>1.371</c:v>
                </c:pt>
                <c:pt idx="369">
                  <c:v>1.381</c:v>
                </c:pt>
                <c:pt idx="370">
                  <c:v>1.371</c:v>
                </c:pt>
                <c:pt idx="371">
                  <c:v>1.3580000000000001</c:v>
                </c:pt>
                <c:pt idx="372">
                  <c:v>1.363</c:v>
                </c:pt>
                <c:pt idx="373">
                  <c:v>1.36</c:v>
                </c:pt>
                <c:pt idx="374">
                  <c:v>1.375</c:v>
                </c:pt>
                <c:pt idx="375">
                  <c:v>1.375</c:v>
                </c:pt>
                <c:pt idx="376">
                  <c:v>1.36</c:v>
                </c:pt>
                <c:pt idx="377">
                  <c:v>1.37</c:v>
                </c:pt>
                <c:pt idx="378">
                  <c:v>1.335</c:v>
                </c:pt>
                <c:pt idx="379">
                  <c:v>1.36</c:v>
                </c:pt>
                <c:pt idx="380">
                  <c:v>1.37</c:v>
                </c:pt>
                <c:pt idx="381">
                  <c:v>1.36</c:v>
                </c:pt>
                <c:pt idx="382">
                  <c:v>1.4410000000000001</c:v>
                </c:pt>
                <c:pt idx="383">
                  <c:v>1.4384999999999999</c:v>
                </c:pt>
                <c:pt idx="384">
                  <c:v>1.431</c:v>
                </c:pt>
                <c:pt idx="385">
                  <c:v>1.4365000000000001</c:v>
                </c:pt>
                <c:pt idx="386">
                  <c:v>1.4315</c:v>
                </c:pt>
                <c:pt idx="387">
                  <c:v>1.4265000000000001</c:v>
                </c:pt>
                <c:pt idx="388">
                  <c:v>1.4365000000000001</c:v>
                </c:pt>
                <c:pt idx="389">
                  <c:v>1.4265000000000001</c:v>
                </c:pt>
                <c:pt idx="390">
                  <c:v>1.4315</c:v>
                </c:pt>
                <c:pt idx="391">
                  <c:v>1.4065000000000001</c:v>
                </c:pt>
                <c:pt idx="392">
                  <c:v>1.3859999999999999</c:v>
                </c:pt>
                <c:pt idx="393">
                  <c:v>1.371</c:v>
                </c:pt>
                <c:pt idx="394">
                  <c:v>1.3835</c:v>
                </c:pt>
                <c:pt idx="395">
                  <c:v>1.3685</c:v>
                </c:pt>
                <c:pt idx="396">
                  <c:v>1.3405</c:v>
                </c:pt>
                <c:pt idx="397">
                  <c:v>1.2805</c:v>
                </c:pt>
                <c:pt idx="398">
                  <c:v>1.3055000000000001</c:v>
                </c:pt>
                <c:pt idx="399">
                  <c:v>1.2935000000000001</c:v>
                </c:pt>
                <c:pt idx="400">
                  <c:v>1.2935000000000001</c:v>
                </c:pt>
                <c:pt idx="401">
                  <c:v>1.3085</c:v>
                </c:pt>
                <c:pt idx="402">
                  <c:v>1.2835000000000001</c:v>
                </c:pt>
                <c:pt idx="403">
                  <c:v>1.2809999999999999</c:v>
                </c:pt>
                <c:pt idx="404">
                  <c:v>1.2244999999999999</c:v>
                </c:pt>
                <c:pt idx="405">
                  <c:v>1.1395</c:v>
                </c:pt>
                <c:pt idx="406">
                  <c:v>1.1745000000000001</c:v>
                </c:pt>
                <c:pt idx="407">
                  <c:v>1.21</c:v>
                </c:pt>
                <c:pt idx="408">
                  <c:v>1.2250000000000001</c:v>
                </c:pt>
                <c:pt idx="409">
                  <c:v>1.2150000000000001</c:v>
                </c:pt>
                <c:pt idx="410">
                  <c:v>1.2</c:v>
                </c:pt>
                <c:pt idx="411">
                  <c:v>1.2150000000000001</c:v>
                </c:pt>
                <c:pt idx="412">
                  <c:v>1.2344999999999999</c:v>
                </c:pt>
                <c:pt idx="413">
                  <c:v>1.2544999999999999</c:v>
                </c:pt>
                <c:pt idx="414">
                  <c:v>1.2595000000000001</c:v>
                </c:pt>
                <c:pt idx="415">
                  <c:v>1.2544999999999999</c:v>
                </c:pt>
                <c:pt idx="416">
                  <c:v>1.2344999999999999</c:v>
                </c:pt>
                <c:pt idx="417">
                  <c:v>1.2295</c:v>
                </c:pt>
                <c:pt idx="418">
                  <c:v>1.2945</c:v>
                </c:pt>
                <c:pt idx="419">
                  <c:v>1.2845</c:v>
                </c:pt>
                <c:pt idx="420">
                  <c:v>1.302</c:v>
                </c:pt>
                <c:pt idx="421">
                  <c:v>1.329</c:v>
                </c:pt>
                <c:pt idx="422">
                  <c:v>1.351</c:v>
                </c:pt>
                <c:pt idx="423">
                  <c:v>1.395</c:v>
                </c:pt>
                <c:pt idx="424">
                  <c:v>1.3779999999999999</c:v>
                </c:pt>
                <c:pt idx="425">
                  <c:v>1.359</c:v>
                </c:pt>
                <c:pt idx="426">
                  <c:v>1.3345</c:v>
                </c:pt>
                <c:pt idx="427">
                  <c:v>1.3174999999999999</c:v>
                </c:pt>
                <c:pt idx="428">
                  <c:v>1.2932999999999999</c:v>
                </c:pt>
                <c:pt idx="429">
                  <c:v>1.2935000000000001</c:v>
                </c:pt>
                <c:pt idx="430">
                  <c:v>1.3069</c:v>
                </c:pt>
                <c:pt idx="431">
                  <c:v>1.3605</c:v>
                </c:pt>
                <c:pt idx="432">
                  <c:v>1.3885000000000001</c:v>
                </c:pt>
                <c:pt idx="433">
                  <c:v>1.3745000000000001</c:v>
                </c:pt>
                <c:pt idx="434">
                  <c:v>1.3779999999999999</c:v>
                </c:pt>
                <c:pt idx="435">
                  <c:v>1.385</c:v>
                </c:pt>
                <c:pt idx="436">
                  <c:v>1.3879999999999999</c:v>
                </c:pt>
                <c:pt idx="437">
                  <c:v>1.379</c:v>
                </c:pt>
                <c:pt idx="438">
                  <c:v>1.3849</c:v>
                </c:pt>
                <c:pt idx="439">
                  <c:v>1.3794999999999999</c:v>
                </c:pt>
                <c:pt idx="440">
                  <c:v>1.4037999999999999</c:v>
                </c:pt>
                <c:pt idx="441">
                  <c:v>1.4020999999999999</c:v>
                </c:pt>
                <c:pt idx="442">
                  <c:v>1.405</c:v>
                </c:pt>
                <c:pt idx="443">
                  <c:v>1.4198999999999999</c:v>
                </c:pt>
                <c:pt idx="444">
                  <c:v>1.4291</c:v>
                </c:pt>
                <c:pt idx="445">
                  <c:v>1.4589000000000001</c:v>
                </c:pt>
                <c:pt idx="446">
                  <c:v>1.4766999999999999</c:v>
                </c:pt>
                <c:pt idx="447">
                  <c:v>1.5085</c:v>
                </c:pt>
                <c:pt idx="448">
                  <c:v>1.5569999999999999</c:v>
                </c:pt>
                <c:pt idx="449">
                  <c:v>1.5275000000000001</c:v>
                </c:pt>
                <c:pt idx="450">
                  <c:v>1.5375000000000001</c:v>
                </c:pt>
                <c:pt idx="451">
                  <c:v>1.5227999999999999</c:v>
                </c:pt>
                <c:pt idx="452">
                  <c:v>1.5549999999999999</c:v>
                </c:pt>
                <c:pt idx="453">
                  <c:v>1.5725</c:v>
                </c:pt>
                <c:pt idx="454">
                  <c:v>1.597</c:v>
                </c:pt>
                <c:pt idx="455">
                  <c:v>1.6388</c:v>
                </c:pt>
                <c:pt idx="456">
                  <c:v>1.6465000000000001</c:v>
                </c:pt>
                <c:pt idx="457">
                  <c:v>1.671</c:v>
                </c:pt>
                <c:pt idx="458">
                  <c:v>1.6733</c:v>
                </c:pt>
                <c:pt idx="459">
                  <c:v>1.6910000000000001</c:v>
                </c:pt>
                <c:pt idx="460">
                  <c:v>1.7155</c:v>
                </c:pt>
                <c:pt idx="461">
                  <c:v>1.7044999999999999</c:v>
                </c:pt>
                <c:pt idx="462">
                  <c:v>1.7</c:v>
                </c:pt>
                <c:pt idx="463">
                  <c:v>1.7250000000000001</c:v>
                </c:pt>
                <c:pt idx="464">
                  <c:v>1.7649999999999999</c:v>
                </c:pt>
                <c:pt idx="465">
                  <c:v>1.7635000000000001</c:v>
                </c:pt>
                <c:pt idx="466">
                  <c:v>1.7319</c:v>
                </c:pt>
                <c:pt idx="467">
                  <c:v>1.7124999999999999</c:v>
                </c:pt>
                <c:pt idx="468">
                  <c:v>1.7475000000000001</c:v>
                </c:pt>
                <c:pt idx="469">
                  <c:v>1.8380000000000001</c:v>
                </c:pt>
                <c:pt idx="470">
                  <c:v>1.8162</c:v>
                </c:pt>
                <c:pt idx="471">
                  <c:v>1.7849999999999999</c:v>
                </c:pt>
                <c:pt idx="472">
                  <c:v>1.8</c:v>
                </c:pt>
                <c:pt idx="473">
                  <c:v>1.8049999999999999</c:v>
                </c:pt>
                <c:pt idx="474">
                  <c:v>1.7987</c:v>
                </c:pt>
                <c:pt idx="475">
                  <c:v>1.7875000000000001</c:v>
                </c:pt>
                <c:pt idx="476">
                  <c:v>1.7485999999999999</c:v>
                </c:pt>
                <c:pt idx="477">
                  <c:v>1.7929999999999999</c:v>
                </c:pt>
                <c:pt idx="478">
                  <c:v>1.8174999999999999</c:v>
                </c:pt>
                <c:pt idx="479">
                  <c:v>1.8174999999999999</c:v>
                </c:pt>
                <c:pt idx="480">
                  <c:v>1.7725</c:v>
                </c:pt>
                <c:pt idx="481">
                  <c:v>1.7775000000000001</c:v>
                </c:pt>
                <c:pt idx="482">
                  <c:v>1.698</c:v>
                </c:pt>
                <c:pt idx="483">
                  <c:v>1.6825000000000001</c:v>
                </c:pt>
                <c:pt idx="484">
                  <c:v>1.6995</c:v>
                </c:pt>
                <c:pt idx="485">
                  <c:v>1.7124999999999999</c:v>
                </c:pt>
                <c:pt idx="486">
                  <c:v>1.7573000000000001</c:v>
                </c:pt>
                <c:pt idx="487">
                  <c:v>1.7975000000000001</c:v>
                </c:pt>
                <c:pt idx="488">
                  <c:v>1.7925</c:v>
                </c:pt>
                <c:pt idx="489">
                  <c:v>1.8254999999999999</c:v>
                </c:pt>
                <c:pt idx="490">
                  <c:v>1.8174999999999999</c:v>
                </c:pt>
                <c:pt idx="491">
                  <c:v>1.8065</c:v>
                </c:pt>
                <c:pt idx="492">
                  <c:v>1.7625</c:v>
                </c:pt>
                <c:pt idx="493">
                  <c:v>1.7113</c:v>
                </c:pt>
                <c:pt idx="494">
                  <c:v>1.7390000000000001</c:v>
                </c:pt>
                <c:pt idx="495">
                  <c:v>1.7989999999999999</c:v>
                </c:pt>
                <c:pt idx="496">
                  <c:v>1.8174999999999999</c:v>
                </c:pt>
                <c:pt idx="497">
                  <c:v>1.8089999999999999</c:v>
                </c:pt>
                <c:pt idx="498">
                  <c:v>1.7210000000000001</c:v>
                </c:pt>
                <c:pt idx="499">
                  <c:v>1.7161</c:v>
                </c:pt>
                <c:pt idx="500">
                  <c:v>1.5874999999999999</c:v>
                </c:pt>
                <c:pt idx="501">
                  <c:v>1.6074999999999999</c:v>
                </c:pt>
                <c:pt idx="502">
                  <c:v>1.5674999999999999</c:v>
                </c:pt>
                <c:pt idx="503">
                  <c:v>1.5974999999999999</c:v>
                </c:pt>
                <c:pt idx="504">
                  <c:v>1.5219</c:v>
                </c:pt>
                <c:pt idx="505">
                  <c:v>1.5409999999999999</c:v>
                </c:pt>
                <c:pt idx="506">
                  <c:v>1.6103000000000001</c:v>
                </c:pt>
                <c:pt idx="507">
                  <c:v>1.5960000000000001</c:v>
                </c:pt>
                <c:pt idx="508">
                  <c:v>1.6093999999999999</c:v>
                </c:pt>
                <c:pt idx="509">
                  <c:v>1.5495000000000001</c:v>
                </c:pt>
                <c:pt idx="510">
                  <c:v>1.5725</c:v>
                </c:pt>
                <c:pt idx="511">
                  <c:v>1.5854999999999999</c:v>
                </c:pt>
                <c:pt idx="512">
                  <c:v>1.675</c:v>
                </c:pt>
                <c:pt idx="513">
                  <c:v>1.6244000000000001</c:v>
                </c:pt>
                <c:pt idx="514">
                  <c:v>1.6161000000000001</c:v>
                </c:pt>
                <c:pt idx="515">
                  <c:v>1.71</c:v>
                </c:pt>
                <c:pt idx="516">
                  <c:v>1.74</c:v>
                </c:pt>
                <c:pt idx="517">
                  <c:v>1.7746999999999999</c:v>
                </c:pt>
                <c:pt idx="518">
                  <c:v>1.7716000000000001</c:v>
                </c:pt>
                <c:pt idx="519">
                  <c:v>1.784</c:v>
                </c:pt>
                <c:pt idx="520">
                  <c:v>1.7855000000000001</c:v>
                </c:pt>
                <c:pt idx="521">
                  <c:v>1.8149999999999999</c:v>
                </c:pt>
                <c:pt idx="522">
                  <c:v>1.82</c:v>
                </c:pt>
                <c:pt idx="523">
                  <c:v>1.82</c:v>
                </c:pt>
                <c:pt idx="524">
                  <c:v>1.8420000000000001</c:v>
                </c:pt>
                <c:pt idx="525">
                  <c:v>1.8445</c:v>
                </c:pt>
                <c:pt idx="526">
                  <c:v>1.8525</c:v>
                </c:pt>
                <c:pt idx="527">
                  <c:v>1.8920999999999999</c:v>
                </c:pt>
                <c:pt idx="528">
                  <c:v>1.9079999999999999</c:v>
                </c:pt>
                <c:pt idx="529">
                  <c:v>1.9179999999999999</c:v>
                </c:pt>
                <c:pt idx="530">
                  <c:v>1.9100999999999999</c:v>
                </c:pt>
                <c:pt idx="531">
                  <c:v>1.895</c:v>
                </c:pt>
                <c:pt idx="532">
                  <c:v>1.9019999999999999</c:v>
                </c:pt>
                <c:pt idx="533">
                  <c:v>1.9275</c:v>
                </c:pt>
                <c:pt idx="534">
                  <c:v>1.9850000000000001</c:v>
                </c:pt>
                <c:pt idx="535">
                  <c:v>1.9930000000000001</c:v>
                </c:pt>
                <c:pt idx="536">
                  <c:v>2.0139999999999998</c:v>
                </c:pt>
                <c:pt idx="537">
                  <c:v>1.9824999999999999</c:v>
                </c:pt>
                <c:pt idx="538">
                  <c:v>1.9475</c:v>
                </c:pt>
                <c:pt idx="539">
                  <c:v>1.931</c:v>
                </c:pt>
                <c:pt idx="540">
                  <c:v>1.9339999999999999</c:v>
                </c:pt>
                <c:pt idx="541">
                  <c:v>1.9630000000000001</c:v>
                </c:pt>
                <c:pt idx="542">
                  <c:v>2.0175000000000001</c:v>
                </c:pt>
                <c:pt idx="543">
                  <c:v>2.0510000000000002</c:v>
                </c:pt>
                <c:pt idx="544">
                  <c:v>2.0950000000000002</c:v>
                </c:pt>
                <c:pt idx="545">
                  <c:v>2.105</c:v>
                </c:pt>
                <c:pt idx="546">
                  <c:v>2.1</c:v>
                </c:pt>
                <c:pt idx="547">
                  <c:v>2.2000000000000002</c:v>
                </c:pt>
                <c:pt idx="548">
                  <c:v>2.2170000000000001</c:v>
                </c:pt>
                <c:pt idx="549">
                  <c:v>2.2210000000000001</c:v>
                </c:pt>
                <c:pt idx="550">
                  <c:v>2.049999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4A7-4466-918A-6DD272D088A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0-års swap </c:v>
                </c:pt>
              </c:strCache>
            </c:strRef>
          </c:tx>
          <c:spPr>
            <a:ln w="28575" cap="rnd">
              <a:solidFill>
                <a:schemeClr val="accent1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9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69A-4A47-893F-ACD6E47A248A}"/>
                </c:ext>
              </c:extLst>
            </c:dLbl>
            <c:dLbl>
              <c:idx val="98"/>
              <c:layout>
                <c:manualLayout>
                  <c:x val="-5.7169668564819726E-2"/>
                  <c:y val="-0.17861457175448639"/>
                </c:manualLayout>
              </c:layout>
              <c:numFmt formatCode="#,##0.00" sourceLinked="0"/>
              <c:spPr>
                <a:noFill/>
                <a:ln>
                  <a:solidFill>
                    <a:schemeClr val="accent1">
                      <a:lumMod val="75000"/>
                    </a:schemeClr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b-NO"/>
                </a:p>
              </c:txPr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E4A7-4466-918A-6DD272D088A3}"/>
                </c:ext>
              </c:extLst>
            </c:dLbl>
            <c:dLbl>
              <c:idx val="26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69A-4A47-893F-ACD6E47A248A}"/>
                </c:ext>
              </c:extLst>
            </c:dLbl>
            <c:dLbl>
              <c:idx val="550"/>
              <c:layout>
                <c:manualLayout>
                  <c:x val="-3.2982501095088291E-3"/>
                  <c:y val="-4.1464097014434327E-2"/>
                </c:manualLayout>
              </c:layout>
              <c:numFmt formatCode="#,##0.00" sourceLinked="0"/>
              <c:spPr>
                <a:noFill/>
                <a:ln>
                  <a:solidFill>
                    <a:schemeClr val="accent1">
                      <a:lumMod val="75000"/>
                    </a:schemeClr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b-NO"/>
                </a:p>
              </c:txPr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69A-4A47-893F-ACD6E47A248A}"/>
                </c:ext>
              </c:extLst>
            </c:dLbl>
            <c:spPr>
              <a:noFill/>
              <a:ln>
                <a:solidFill>
                  <a:schemeClr val="accent1">
                    <a:lumMod val="75000"/>
                  </a:schemeClr>
                </a:solidFill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eparator> </c:separator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dash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3:$A$555</c:f>
              <c:strCache>
                <c:ptCount val="551"/>
                <c:pt idx="0">
                  <c:v>01.01.2020</c:v>
                </c:pt>
                <c:pt idx="1">
                  <c:v>02.01.2020</c:v>
                </c:pt>
                <c:pt idx="2">
                  <c:v>03.01.2020</c:v>
                </c:pt>
                <c:pt idx="3">
                  <c:v>06.01.2020</c:v>
                </c:pt>
                <c:pt idx="4">
                  <c:v>07.01.2020</c:v>
                </c:pt>
                <c:pt idx="5">
                  <c:v>08.01.2020</c:v>
                </c:pt>
                <c:pt idx="6">
                  <c:v>09.01.2020</c:v>
                </c:pt>
                <c:pt idx="7">
                  <c:v>10.01.2020</c:v>
                </c:pt>
                <c:pt idx="8">
                  <c:v>13.01.2020</c:v>
                </c:pt>
                <c:pt idx="9">
                  <c:v>14.01.2020</c:v>
                </c:pt>
                <c:pt idx="10">
                  <c:v>15.01.2020</c:v>
                </c:pt>
                <c:pt idx="11">
                  <c:v>16.01.2020</c:v>
                </c:pt>
                <c:pt idx="12">
                  <c:v>17.01.2020</c:v>
                </c:pt>
                <c:pt idx="13">
                  <c:v>20.01.2020</c:v>
                </c:pt>
                <c:pt idx="14">
                  <c:v>21.01.2020</c:v>
                </c:pt>
                <c:pt idx="15">
                  <c:v>22.01.2020</c:v>
                </c:pt>
                <c:pt idx="16">
                  <c:v>23.01.2020</c:v>
                </c:pt>
                <c:pt idx="17">
                  <c:v>24.01.2020</c:v>
                </c:pt>
                <c:pt idx="18">
                  <c:v>27.01.2020</c:v>
                </c:pt>
                <c:pt idx="19">
                  <c:v>28.01.2020</c:v>
                </c:pt>
                <c:pt idx="20">
                  <c:v>29.01.2020</c:v>
                </c:pt>
                <c:pt idx="21">
                  <c:v>30.01.2020</c:v>
                </c:pt>
                <c:pt idx="22">
                  <c:v>31.01.2020</c:v>
                </c:pt>
                <c:pt idx="23">
                  <c:v>03.02.2020</c:v>
                </c:pt>
                <c:pt idx="24">
                  <c:v>04.02.2020</c:v>
                </c:pt>
                <c:pt idx="25">
                  <c:v>05.02.2020</c:v>
                </c:pt>
                <c:pt idx="26">
                  <c:v>06.02.2020</c:v>
                </c:pt>
                <c:pt idx="27">
                  <c:v>07.02.2020</c:v>
                </c:pt>
                <c:pt idx="28">
                  <c:v>10.02.2020</c:v>
                </c:pt>
                <c:pt idx="29">
                  <c:v>11.02.2020</c:v>
                </c:pt>
                <c:pt idx="30">
                  <c:v>12.02.2020</c:v>
                </c:pt>
                <c:pt idx="31">
                  <c:v>13.02.2020</c:v>
                </c:pt>
                <c:pt idx="32">
                  <c:v>14.02.2020</c:v>
                </c:pt>
                <c:pt idx="33">
                  <c:v>17.02.2020</c:v>
                </c:pt>
                <c:pt idx="34">
                  <c:v>18.02.2020</c:v>
                </c:pt>
                <c:pt idx="35">
                  <c:v>19.02.2020</c:v>
                </c:pt>
                <c:pt idx="36">
                  <c:v>20.02.2020</c:v>
                </c:pt>
                <c:pt idx="37">
                  <c:v>21.02.2020</c:v>
                </c:pt>
                <c:pt idx="38">
                  <c:v>24.02.2020</c:v>
                </c:pt>
                <c:pt idx="39">
                  <c:v>25.02.2020</c:v>
                </c:pt>
                <c:pt idx="40">
                  <c:v>26.02.2020</c:v>
                </c:pt>
                <c:pt idx="41">
                  <c:v>27.02.2020</c:v>
                </c:pt>
                <c:pt idx="42">
                  <c:v>28.02.2020</c:v>
                </c:pt>
                <c:pt idx="43">
                  <c:v>02.03.2020</c:v>
                </c:pt>
                <c:pt idx="44">
                  <c:v>03.03.2020</c:v>
                </c:pt>
                <c:pt idx="45">
                  <c:v>04.03.2020</c:v>
                </c:pt>
                <c:pt idx="46">
                  <c:v>05.03.2020</c:v>
                </c:pt>
                <c:pt idx="47">
                  <c:v>06.03.2020</c:v>
                </c:pt>
                <c:pt idx="48">
                  <c:v>09.03.2020</c:v>
                </c:pt>
                <c:pt idx="49">
                  <c:v>10.03.2020</c:v>
                </c:pt>
                <c:pt idx="50">
                  <c:v>11.03.2020</c:v>
                </c:pt>
                <c:pt idx="51">
                  <c:v>12.03.2020</c:v>
                </c:pt>
                <c:pt idx="52">
                  <c:v>13.03.2020</c:v>
                </c:pt>
                <c:pt idx="53">
                  <c:v>16.03.2020</c:v>
                </c:pt>
                <c:pt idx="54">
                  <c:v>17.03.2020</c:v>
                </c:pt>
                <c:pt idx="55">
                  <c:v>18.03.2020</c:v>
                </c:pt>
                <c:pt idx="56">
                  <c:v>19.03.2020</c:v>
                </c:pt>
                <c:pt idx="57">
                  <c:v>20.03.2020</c:v>
                </c:pt>
                <c:pt idx="58">
                  <c:v>23.03.2020</c:v>
                </c:pt>
                <c:pt idx="59">
                  <c:v>24.03.2020</c:v>
                </c:pt>
                <c:pt idx="60">
                  <c:v>25.03.2020</c:v>
                </c:pt>
                <c:pt idx="61">
                  <c:v>26.03.2020</c:v>
                </c:pt>
                <c:pt idx="62">
                  <c:v>27.03.2020</c:v>
                </c:pt>
                <c:pt idx="63">
                  <c:v>30.03.2020</c:v>
                </c:pt>
                <c:pt idx="64">
                  <c:v>31.03.2020</c:v>
                </c:pt>
                <c:pt idx="65">
                  <c:v>01.04.2020</c:v>
                </c:pt>
                <c:pt idx="66">
                  <c:v>02.04.2020</c:v>
                </c:pt>
                <c:pt idx="67">
                  <c:v>03.04.2020</c:v>
                </c:pt>
                <c:pt idx="68">
                  <c:v>06.04.2020</c:v>
                </c:pt>
                <c:pt idx="69">
                  <c:v>07.04.2020</c:v>
                </c:pt>
                <c:pt idx="70">
                  <c:v>08.04.2020</c:v>
                </c:pt>
                <c:pt idx="71">
                  <c:v>09.04.2020</c:v>
                </c:pt>
                <c:pt idx="72">
                  <c:v>10.04.2020</c:v>
                </c:pt>
                <c:pt idx="73">
                  <c:v>13.04.2020</c:v>
                </c:pt>
                <c:pt idx="74">
                  <c:v>14.04.2020</c:v>
                </c:pt>
                <c:pt idx="75">
                  <c:v>15.04.2020</c:v>
                </c:pt>
                <c:pt idx="76">
                  <c:v>16.04.2020</c:v>
                </c:pt>
                <c:pt idx="77">
                  <c:v>17.04.2020</c:v>
                </c:pt>
                <c:pt idx="78">
                  <c:v>20.04.2020</c:v>
                </c:pt>
                <c:pt idx="79">
                  <c:v>21.04.2020</c:v>
                </c:pt>
                <c:pt idx="80">
                  <c:v>22.04.2020</c:v>
                </c:pt>
                <c:pt idx="81">
                  <c:v>23.04.2020</c:v>
                </c:pt>
                <c:pt idx="82">
                  <c:v>24.04.2020</c:v>
                </c:pt>
                <c:pt idx="83">
                  <c:v>27.04.2020</c:v>
                </c:pt>
                <c:pt idx="84">
                  <c:v>28.04.2020</c:v>
                </c:pt>
                <c:pt idx="85">
                  <c:v>29.04.2020</c:v>
                </c:pt>
                <c:pt idx="86">
                  <c:v>30.04.2020</c:v>
                </c:pt>
                <c:pt idx="87">
                  <c:v>01.05.2020</c:v>
                </c:pt>
                <c:pt idx="88">
                  <c:v>04.05.2020</c:v>
                </c:pt>
                <c:pt idx="89">
                  <c:v>05.05.2020</c:v>
                </c:pt>
                <c:pt idx="90">
                  <c:v>06.05.2020</c:v>
                </c:pt>
                <c:pt idx="91">
                  <c:v>07.05.2020</c:v>
                </c:pt>
                <c:pt idx="92">
                  <c:v>08.05.2020</c:v>
                </c:pt>
                <c:pt idx="93">
                  <c:v>11.05.2020</c:v>
                </c:pt>
                <c:pt idx="94">
                  <c:v>12.05.2020</c:v>
                </c:pt>
                <c:pt idx="95">
                  <c:v>13.05.2020</c:v>
                </c:pt>
                <c:pt idx="96">
                  <c:v>14.05.2020</c:v>
                </c:pt>
                <c:pt idx="97">
                  <c:v>15.05.2020</c:v>
                </c:pt>
                <c:pt idx="98">
                  <c:v>18.05.2020</c:v>
                </c:pt>
                <c:pt idx="99">
                  <c:v>19.05.2020</c:v>
                </c:pt>
                <c:pt idx="100">
                  <c:v>20.05.2020</c:v>
                </c:pt>
                <c:pt idx="101">
                  <c:v>21.05.2020</c:v>
                </c:pt>
                <c:pt idx="102">
                  <c:v>22.05.2020</c:v>
                </c:pt>
                <c:pt idx="103">
                  <c:v>25.05.2020</c:v>
                </c:pt>
                <c:pt idx="104">
                  <c:v>26.05.2020</c:v>
                </c:pt>
                <c:pt idx="105">
                  <c:v>27.05.2020</c:v>
                </c:pt>
                <c:pt idx="106">
                  <c:v>28.05.2020</c:v>
                </c:pt>
                <c:pt idx="107">
                  <c:v>29.05.2020</c:v>
                </c:pt>
                <c:pt idx="108">
                  <c:v>01.06.2020</c:v>
                </c:pt>
                <c:pt idx="109">
                  <c:v>02.06.2020</c:v>
                </c:pt>
                <c:pt idx="110">
                  <c:v>03.06.2020</c:v>
                </c:pt>
                <c:pt idx="111">
                  <c:v>04.06.2020</c:v>
                </c:pt>
                <c:pt idx="112">
                  <c:v>05.06.2020</c:v>
                </c:pt>
                <c:pt idx="113">
                  <c:v>08.06.2020</c:v>
                </c:pt>
                <c:pt idx="114">
                  <c:v>09.06.2020</c:v>
                </c:pt>
                <c:pt idx="115">
                  <c:v>10.06.2020</c:v>
                </c:pt>
                <c:pt idx="116">
                  <c:v>11.06.2020</c:v>
                </c:pt>
                <c:pt idx="117">
                  <c:v>12.06.2020</c:v>
                </c:pt>
                <c:pt idx="118">
                  <c:v>15.06.2020</c:v>
                </c:pt>
                <c:pt idx="119">
                  <c:v>16.06.2020</c:v>
                </c:pt>
                <c:pt idx="120">
                  <c:v>17.06.2020</c:v>
                </c:pt>
                <c:pt idx="121">
                  <c:v>18.06.2020</c:v>
                </c:pt>
                <c:pt idx="122">
                  <c:v>19.06.2020</c:v>
                </c:pt>
                <c:pt idx="123">
                  <c:v>22.06.2020</c:v>
                </c:pt>
                <c:pt idx="124">
                  <c:v>23.06.2020</c:v>
                </c:pt>
                <c:pt idx="125">
                  <c:v>24.06.2020</c:v>
                </c:pt>
                <c:pt idx="126">
                  <c:v>25.06.2020</c:v>
                </c:pt>
                <c:pt idx="127">
                  <c:v>26.06.2020</c:v>
                </c:pt>
                <c:pt idx="128">
                  <c:v>29.06.2020</c:v>
                </c:pt>
                <c:pt idx="129">
                  <c:v>30.06.2020</c:v>
                </c:pt>
                <c:pt idx="130">
                  <c:v>01.07.2020</c:v>
                </c:pt>
                <c:pt idx="131">
                  <c:v>02.07.2020</c:v>
                </c:pt>
                <c:pt idx="132">
                  <c:v>03.07.2020</c:v>
                </c:pt>
                <c:pt idx="133">
                  <c:v>06.07.2020</c:v>
                </c:pt>
                <c:pt idx="134">
                  <c:v>07.07.2020</c:v>
                </c:pt>
                <c:pt idx="135">
                  <c:v>08.07.2020</c:v>
                </c:pt>
                <c:pt idx="136">
                  <c:v>09.07.2020</c:v>
                </c:pt>
                <c:pt idx="137">
                  <c:v>10.07.2020</c:v>
                </c:pt>
                <c:pt idx="138">
                  <c:v>13.07.2020</c:v>
                </c:pt>
                <c:pt idx="139">
                  <c:v>14.07.2020</c:v>
                </c:pt>
                <c:pt idx="140">
                  <c:v>15.07.2020</c:v>
                </c:pt>
                <c:pt idx="141">
                  <c:v>16.07.2020</c:v>
                </c:pt>
                <c:pt idx="142">
                  <c:v>17.07.2020</c:v>
                </c:pt>
                <c:pt idx="143">
                  <c:v>20.07.2020</c:v>
                </c:pt>
                <c:pt idx="144">
                  <c:v>21.07.2020</c:v>
                </c:pt>
                <c:pt idx="145">
                  <c:v>22.07.2020</c:v>
                </c:pt>
                <c:pt idx="146">
                  <c:v>23.07.2020</c:v>
                </c:pt>
                <c:pt idx="147">
                  <c:v>24.07.2020</c:v>
                </c:pt>
                <c:pt idx="148">
                  <c:v>27.07.2020</c:v>
                </c:pt>
                <c:pt idx="149">
                  <c:v>28.07.2020</c:v>
                </c:pt>
                <c:pt idx="150">
                  <c:v>29.07.2020</c:v>
                </c:pt>
                <c:pt idx="151">
                  <c:v>30.07.2020</c:v>
                </c:pt>
                <c:pt idx="152">
                  <c:v>31.07.2020</c:v>
                </c:pt>
                <c:pt idx="153">
                  <c:v>03.08.2020</c:v>
                </c:pt>
                <c:pt idx="154">
                  <c:v>04.08.2020</c:v>
                </c:pt>
                <c:pt idx="155">
                  <c:v>05.08.2020</c:v>
                </c:pt>
                <c:pt idx="156">
                  <c:v>06.08.2020</c:v>
                </c:pt>
                <c:pt idx="157">
                  <c:v>07.08.2020</c:v>
                </c:pt>
                <c:pt idx="158">
                  <c:v>10.08.2020</c:v>
                </c:pt>
                <c:pt idx="159">
                  <c:v>11.08.2020</c:v>
                </c:pt>
                <c:pt idx="160">
                  <c:v>12.08.2020</c:v>
                </c:pt>
                <c:pt idx="161">
                  <c:v>13.08.2020</c:v>
                </c:pt>
                <c:pt idx="162">
                  <c:v>14.08.2020</c:v>
                </c:pt>
                <c:pt idx="163">
                  <c:v>17.08.2020</c:v>
                </c:pt>
                <c:pt idx="164">
                  <c:v>18.08.2020</c:v>
                </c:pt>
                <c:pt idx="165">
                  <c:v>19.08.2020</c:v>
                </c:pt>
                <c:pt idx="166">
                  <c:v>20.08.2020</c:v>
                </c:pt>
                <c:pt idx="167">
                  <c:v>21.08.2020</c:v>
                </c:pt>
                <c:pt idx="168">
                  <c:v>24.08.2020</c:v>
                </c:pt>
                <c:pt idx="169">
                  <c:v>25.08.2020</c:v>
                </c:pt>
                <c:pt idx="170">
                  <c:v>26.08.2020</c:v>
                </c:pt>
                <c:pt idx="171">
                  <c:v>27.08.2020</c:v>
                </c:pt>
                <c:pt idx="172">
                  <c:v>28.08.2020</c:v>
                </c:pt>
                <c:pt idx="173">
                  <c:v>31.08.2020</c:v>
                </c:pt>
                <c:pt idx="174">
                  <c:v>01.09.2020</c:v>
                </c:pt>
                <c:pt idx="175">
                  <c:v>02.09.2020</c:v>
                </c:pt>
                <c:pt idx="176">
                  <c:v>03.09.2020</c:v>
                </c:pt>
                <c:pt idx="177">
                  <c:v>04.09.2020</c:v>
                </c:pt>
                <c:pt idx="178">
                  <c:v>07.09.2020</c:v>
                </c:pt>
                <c:pt idx="179">
                  <c:v>08.09.2020</c:v>
                </c:pt>
                <c:pt idx="180">
                  <c:v>09.09.2020</c:v>
                </c:pt>
                <c:pt idx="181">
                  <c:v>10.09.2020</c:v>
                </c:pt>
                <c:pt idx="182">
                  <c:v>11.09.2020</c:v>
                </c:pt>
                <c:pt idx="183">
                  <c:v>14.09.2020</c:v>
                </c:pt>
                <c:pt idx="184">
                  <c:v>15.09.2020</c:v>
                </c:pt>
                <c:pt idx="185">
                  <c:v>16.09.2020</c:v>
                </c:pt>
                <c:pt idx="186">
                  <c:v>17.09.2020</c:v>
                </c:pt>
                <c:pt idx="187">
                  <c:v>18.09.2020</c:v>
                </c:pt>
                <c:pt idx="188">
                  <c:v>21.09.2020</c:v>
                </c:pt>
                <c:pt idx="189">
                  <c:v>22.09.2020</c:v>
                </c:pt>
                <c:pt idx="190">
                  <c:v>23.09.2020</c:v>
                </c:pt>
                <c:pt idx="191">
                  <c:v>24.09.2020</c:v>
                </c:pt>
                <c:pt idx="192">
                  <c:v>25.09.2020</c:v>
                </c:pt>
                <c:pt idx="193">
                  <c:v>28.09.2020</c:v>
                </c:pt>
                <c:pt idx="194">
                  <c:v>29.09.2020</c:v>
                </c:pt>
                <c:pt idx="195">
                  <c:v>30.09.2020</c:v>
                </c:pt>
                <c:pt idx="196">
                  <c:v>01.10.2020</c:v>
                </c:pt>
                <c:pt idx="197">
                  <c:v>02.10.2020</c:v>
                </c:pt>
                <c:pt idx="198">
                  <c:v>05.10.2020</c:v>
                </c:pt>
                <c:pt idx="199">
                  <c:v>06.10.2020</c:v>
                </c:pt>
                <c:pt idx="200">
                  <c:v>07.10.2020</c:v>
                </c:pt>
                <c:pt idx="201">
                  <c:v>08.10.2020</c:v>
                </c:pt>
                <c:pt idx="202">
                  <c:v>09.10.2020</c:v>
                </c:pt>
                <c:pt idx="203">
                  <c:v>12.10.2020</c:v>
                </c:pt>
                <c:pt idx="204">
                  <c:v>13.10.2020</c:v>
                </c:pt>
                <c:pt idx="205">
                  <c:v>14.10.2020</c:v>
                </c:pt>
                <c:pt idx="206">
                  <c:v>15.10.2020</c:v>
                </c:pt>
                <c:pt idx="207">
                  <c:v>16.10.2020</c:v>
                </c:pt>
                <c:pt idx="208">
                  <c:v>19.10.2020</c:v>
                </c:pt>
                <c:pt idx="209">
                  <c:v>20.10.2020</c:v>
                </c:pt>
                <c:pt idx="210">
                  <c:v>21.10.2020</c:v>
                </c:pt>
                <c:pt idx="211">
                  <c:v>22.10.2020</c:v>
                </c:pt>
                <c:pt idx="212">
                  <c:v>23.10.2020</c:v>
                </c:pt>
                <c:pt idx="213">
                  <c:v>26.10.2020</c:v>
                </c:pt>
                <c:pt idx="214">
                  <c:v>27.10.2020</c:v>
                </c:pt>
                <c:pt idx="215">
                  <c:v>28.10.2020</c:v>
                </c:pt>
                <c:pt idx="216">
                  <c:v>29.10.2020</c:v>
                </c:pt>
                <c:pt idx="217">
                  <c:v>30.10.2020</c:v>
                </c:pt>
                <c:pt idx="218">
                  <c:v>02.11.2020</c:v>
                </c:pt>
                <c:pt idx="219">
                  <c:v>03.11.2020</c:v>
                </c:pt>
                <c:pt idx="220">
                  <c:v>04.11.2020</c:v>
                </c:pt>
                <c:pt idx="221">
                  <c:v>05.11.2020</c:v>
                </c:pt>
                <c:pt idx="222">
                  <c:v>06.11.2020</c:v>
                </c:pt>
                <c:pt idx="223">
                  <c:v>09.11.2020</c:v>
                </c:pt>
                <c:pt idx="224">
                  <c:v>10.11.2020</c:v>
                </c:pt>
                <c:pt idx="225">
                  <c:v>11.11.2020</c:v>
                </c:pt>
                <c:pt idx="226">
                  <c:v>12.11.2020</c:v>
                </c:pt>
                <c:pt idx="227">
                  <c:v>13.11.2020</c:v>
                </c:pt>
                <c:pt idx="228">
                  <c:v>16.11.2020</c:v>
                </c:pt>
                <c:pt idx="229">
                  <c:v>17.11.2020</c:v>
                </c:pt>
                <c:pt idx="230">
                  <c:v>18.11.2020</c:v>
                </c:pt>
                <c:pt idx="231">
                  <c:v>19.11.2020</c:v>
                </c:pt>
                <c:pt idx="232">
                  <c:v>20.11.2020</c:v>
                </c:pt>
                <c:pt idx="233">
                  <c:v>23.11.2020</c:v>
                </c:pt>
                <c:pt idx="234">
                  <c:v>24.11.2020</c:v>
                </c:pt>
                <c:pt idx="235">
                  <c:v>25.11.2020</c:v>
                </c:pt>
                <c:pt idx="236">
                  <c:v>26.11.2020</c:v>
                </c:pt>
                <c:pt idx="237">
                  <c:v>27.11.2020</c:v>
                </c:pt>
                <c:pt idx="238">
                  <c:v>30.11.2020</c:v>
                </c:pt>
                <c:pt idx="239">
                  <c:v>01.12.2020</c:v>
                </c:pt>
                <c:pt idx="240">
                  <c:v>02.12.2020</c:v>
                </c:pt>
                <c:pt idx="241">
                  <c:v>03.12.2020</c:v>
                </c:pt>
                <c:pt idx="242">
                  <c:v>04.12.2020</c:v>
                </c:pt>
                <c:pt idx="243">
                  <c:v>07.12.2020</c:v>
                </c:pt>
                <c:pt idx="244">
                  <c:v>08.12.2020</c:v>
                </c:pt>
                <c:pt idx="245">
                  <c:v>09.12.2020</c:v>
                </c:pt>
                <c:pt idx="246">
                  <c:v>10.12.2020</c:v>
                </c:pt>
                <c:pt idx="247">
                  <c:v>11.12.2020</c:v>
                </c:pt>
                <c:pt idx="248">
                  <c:v>14.12.2020</c:v>
                </c:pt>
                <c:pt idx="249">
                  <c:v>15.12.2020</c:v>
                </c:pt>
                <c:pt idx="250">
                  <c:v>16.12.2020</c:v>
                </c:pt>
                <c:pt idx="251">
                  <c:v>17.12.2020</c:v>
                </c:pt>
                <c:pt idx="252">
                  <c:v>18.12.2020</c:v>
                </c:pt>
                <c:pt idx="253">
                  <c:v>21.12.2020</c:v>
                </c:pt>
                <c:pt idx="254">
                  <c:v>22.12.2020</c:v>
                </c:pt>
                <c:pt idx="255">
                  <c:v>23.12.2020</c:v>
                </c:pt>
                <c:pt idx="256">
                  <c:v>24.12.2020</c:v>
                </c:pt>
                <c:pt idx="257">
                  <c:v>25.12.2020</c:v>
                </c:pt>
                <c:pt idx="258">
                  <c:v>28.12.2020</c:v>
                </c:pt>
                <c:pt idx="259">
                  <c:v>29.12.2020</c:v>
                </c:pt>
                <c:pt idx="260">
                  <c:v>30.12.2020</c:v>
                </c:pt>
                <c:pt idx="261">
                  <c:v>31.12.2020</c:v>
                </c:pt>
                <c:pt idx="262">
                  <c:v>01.01.2021</c:v>
                </c:pt>
                <c:pt idx="263">
                  <c:v>04.01.2021</c:v>
                </c:pt>
                <c:pt idx="264">
                  <c:v>05.01.2021</c:v>
                </c:pt>
                <c:pt idx="265">
                  <c:v>06.01.2021</c:v>
                </c:pt>
                <c:pt idx="266">
                  <c:v>07.01.2021</c:v>
                </c:pt>
                <c:pt idx="267">
                  <c:v>08.01.2021</c:v>
                </c:pt>
                <c:pt idx="268">
                  <c:v>11.01.2021</c:v>
                </c:pt>
                <c:pt idx="269">
                  <c:v>12.01.2021</c:v>
                </c:pt>
                <c:pt idx="270">
                  <c:v>13.01.2021</c:v>
                </c:pt>
                <c:pt idx="271">
                  <c:v>14.01.2021</c:v>
                </c:pt>
                <c:pt idx="272">
                  <c:v>15.01.2021</c:v>
                </c:pt>
                <c:pt idx="273">
                  <c:v>18.01.2021</c:v>
                </c:pt>
                <c:pt idx="274">
                  <c:v>19.01.2021</c:v>
                </c:pt>
                <c:pt idx="275">
                  <c:v>20.01.2021</c:v>
                </c:pt>
                <c:pt idx="276">
                  <c:v>21.01.2021</c:v>
                </c:pt>
                <c:pt idx="277">
                  <c:v>22.01.2021</c:v>
                </c:pt>
                <c:pt idx="278">
                  <c:v>25.01.2021</c:v>
                </c:pt>
                <c:pt idx="279">
                  <c:v>26.01.2021</c:v>
                </c:pt>
                <c:pt idx="280">
                  <c:v>27.01.2021</c:v>
                </c:pt>
                <c:pt idx="281">
                  <c:v>28.01.2021</c:v>
                </c:pt>
                <c:pt idx="282">
                  <c:v>29.01.2021</c:v>
                </c:pt>
                <c:pt idx="283">
                  <c:v>01.02.2021</c:v>
                </c:pt>
                <c:pt idx="284">
                  <c:v>02.02.2021</c:v>
                </c:pt>
                <c:pt idx="285">
                  <c:v>03.02.2021</c:v>
                </c:pt>
                <c:pt idx="286">
                  <c:v>04.02.2021</c:v>
                </c:pt>
                <c:pt idx="287">
                  <c:v>05.02.2021</c:v>
                </c:pt>
                <c:pt idx="288">
                  <c:v>08.02.2021</c:v>
                </c:pt>
                <c:pt idx="289">
                  <c:v>09.02.2021</c:v>
                </c:pt>
                <c:pt idx="290">
                  <c:v>10.02.2021</c:v>
                </c:pt>
                <c:pt idx="291">
                  <c:v>11.02.2021</c:v>
                </c:pt>
                <c:pt idx="292">
                  <c:v>12.02.2021</c:v>
                </c:pt>
                <c:pt idx="293">
                  <c:v>15.02.2021</c:v>
                </c:pt>
                <c:pt idx="294">
                  <c:v>16.02.2021</c:v>
                </c:pt>
                <c:pt idx="295">
                  <c:v>17.02.2021</c:v>
                </c:pt>
                <c:pt idx="296">
                  <c:v>18.02.2021</c:v>
                </c:pt>
                <c:pt idx="297">
                  <c:v>19.02.2021</c:v>
                </c:pt>
                <c:pt idx="298">
                  <c:v>22.02.2021</c:v>
                </c:pt>
                <c:pt idx="299">
                  <c:v>23.02.2021</c:v>
                </c:pt>
                <c:pt idx="300">
                  <c:v>24.02.2021</c:v>
                </c:pt>
                <c:pt idx="301">
                  <c:v>25.02.2021</c:v>
                </c:pt>
                <c:pt idx="302">
                  <c:v>26.02.2021</c:v>
                </c:pt>
                <c:pt idx="303">
                  <c:v>01.03.2021</c:v>
                </c:pt>
                <c:pt idx="304">
                  <c:v>02.03.2021</c:v>
                </c:pt>
                <c:pt idx="305">
                  <c:v>03.03.2021</c:v>
                </c:pt>
                <c:pt idx="306">
                  <c:v>04.03.2021</c:v>
                </c:pt>
                <c:pt idx="307">
                  <c:v>05.03.2021</c:v>
                </c:pt>
                <c:pt idx="308">
                  <c:v>08.03.2021</c:v>
                </c:pt>
                <c:pt idx="309">
                  <c:v>09.03.2021</c:v>
                </c:pt>
                <c:pt idx="310">
                  <c:v>10.03.2021</c:v>
                </c:pt>
                <c:pt idx="311">
                  <c:v>11.03.2021</c:v>
                </c:pt>
                <c:pt idx="312">
                  <c:v>12.03.2021</c:v>
                </c:pt>
                <c:pt idx="313">
                  <c:v>15.03.2021</c:v>
                </c:pt>
                <c:pt idx="314">
                  <c:v>16.03.2021</c:v>
                </c:pt>
                <c:pt idx="315">
                  <c:v>17.03.2021</c:v>
                </c:pt>
                <c:pt idx="316">
                  <c:v>18.03.2021</c:v>
                </c:pt>
                <c:pt idx="317">
                  <c:v>19.03.2021</c:v>
                </c:pt>
                <c:pt idx="318">
                  <c:v>22.03.2021</c:v>
                </c:pt>
                <c:pt idx="319">
                  <c:v>23.03.2021</c:v>
                </c:pt>
                <c:pt idx="320">
                  <c:v>24.03.2021</c:v>
                </c:pt>
                <c:pt idx="321">
                  <c:v>25.03.2021</c:v>
                </c:pt>
                <c:pt idx="322">
                  <c:v>26.03.2021</c:v>
                </c:pt>
                <c:pt idx="323">
                  <c:v>29.03.2021</c:v>
                </c:pt>
                <c:pt idx="324">
                  <c:v>30.03.2021</c:v>
                </c:pt>
                <c:pt idx="325">
                  <c:v>31.03.2021</c:v>
                </c:pt>
                <c:pt idx="326">
                  <c:v>01.04.2021</c:v>
                </c:pt>
                <c:pt idx="327">
                  <c:v>02.04.2021</c:v>
                </c:pt>
                <c:pt idx="328">
                  <c:v>05.04.2021</c:v>
                </c:pt>
                <c:pt idx="329">
                  <c:v>06.04.2021</c:v>
                </c:pt>
                <c:pt idx="330">
                  <c:v>07.04.2021</c:v>
                </c:pt>
                <c:pt idx="331">
                  <c:v>08.04.2021</c:v>
                </c:pt>
                <c:pt idx="332">
                  <c:v>09.04.2021</c:v>
                </c:pt>
                <c:pt idx="333">
                  <c:v>12.04.2021</c:v>
                </c:pt>
                <c:pt idx="334">
                  <c:v>13.04.2021</c:v>
                </c:pt>
                <c:pt idx="335">
                  <c:v>14.04.2021</c:v>
                </c:pt>
                <c:pt idx="336">
                  <c:v>15.04.2021</c:v>
                </c:pt>
                <c:pt idx="337">
                  <c:v>16.04.2021</c:v>
                </c:pt>
                <c:pt idx="338">
                  <c:v>19.04.2021</c:v>
                </c:pt>
                <c:pt idx="339">
                  <c:v>20.04.2021</c:v>
                </c:pt>
                <c:pt idx="340">
                  <c:v>21.04.2021</c:v>
                </c:pt>
                <c:pt idx="341">
                  <c:v>22.04.2021</c:v>
                </c:pt>
                <c:pt idx="342">
                  <c:v>23.04.2021</c:v>
                </c:pt>
                <c:pt idx="343">
                  <c:v>26.04.2021</c:v>
                </c:pt>
                <c:pt idx="344">
                  <c:v>27.04.2021</c:v>
                </c:pt>
                <c:pt idx="345">
                  <c:v>28.04.2021</c:v>
                </c:pt>
                <c:pt idx="346">
                  <c:v>29.04.2021</c:v>
                </c:pt>
                <c:pt idx="347">
                  <c:v>30.04.2021</c:v>
                </c:pt>
                <c:pt idx="348">
                  <c:v>03.05.2021</c:v>
                </c:pt>
                <c:pt idx="349">
                  <c:v>04.05.2021</c:v>
                </c:pt>
                <c:pt idx="350">
                  <c:v>05.05.2021</c:v>
                </c:pt>
                <c:pt idx="351">
                  <c:v>06.05.2021</c:v>
                </c:pt>
                <c:pt idx="352">
                  <c:v>07.05.2021</c:v>
                </c:pt>
                <c:pt idx="353">
                  <c:v>10.05.2021</c:v>
                </c:pt>
                <c:pt idx="354">
                  <c:v>11.05.2021</c:v>
                </c:pt>
                <c:pt idx="355">
                  <c:v>12.05.2021</c:v>
                </c:pt>
                <c:pt idx="356">
                  <c:v>13.05.2021</c:v>
                </c:pt>
                <c:pt idx="357">
                  <c:v>14.05.2021</c:v>
                </c:pt>
                <c:pt idx="358">
                  <c:v>17.05.2021</c:v>
                </c:pt>
                <c:pt idx="359">
                  <c:v>18.05.2021</c:v>
                </c:pt>
                <c:pt idx="360">
                  <c:v>19.05.2021</c:v>
                </c:pt>
                <c:pt idx="361">
                  <c:v>20.05.2021</c:v>
                </c:pt>
                <c:pt idx="362">
                  <c:v>21.05.2021</c:v>
                </c:pt>
                <c:pt idx="363">
                  <c:v>24.05.2021</c:v>
                </c:pt>
                <c:pt idx="364">
                  <c:v>25.05.2021</c:v>
                </c:pt>
                <c:pt idx="365">
                  <c:v>26.05.2021</c:v>
                </c:pt>
                <c:pt idx="366">
                  <c:v>27.05.2021</c:v>
                </c:pt>
                <c:pt idx="367">
                  <c:v>28.05.2021</c:v>
                </c:pt>
                <c:pt idx="368">
                  <c:v>31.05.2021</c:v>
                </c:pt>
                <c:pt idx="369">
                  <c:v>01.06.2021</c:v>
                </c:pt>
                <c:pt idx="370">
                  <c:v>02.06.2021</c:v>
                </c:pt>
                <c:pt idx="371">
                  <c:v>03.06.2021</c:v>
                </c:pt>
                <c:pt idx="372">
                  <c:v>04.06.2021</c:v>
                </c:pt>
                <c:pt idx="373">
                  <c:v>07.06.2021</c:v>
                </c:pt>
                <c:pt idx="374">
                  <c:v>08.06.2021</c:v>
                </c:pt>
                <c:pt idx="375">
                  <c:v>09.06.2021</c:v>
                </c:pt>
                <c:pt idx="376">
                  <c:v>10.06.2021</c:v>
                </c:pt>
                <c:pt idx="377">
                  <c:v>11.06.2021</c:v>
                </c:pt>
                <c:pt idx="378">
                  <c:v>14.06.2021</c:v>
                </c:pt>
                <c:pt idx="379">
                  <c:v>15.06.2021</c:v>
                </c:pt>
                <c:pt idx="380">
                  <c:v>16.06.2021</c:v>
                </c:pt>
                <c:pt idx="381">
                  <c:v>17.06.2021</c:v>
                </c:pt>
                <c:pt idx="382">
                  <c:v>18.06.2021</c:v>
                </c:pt>
                <c:pt idx="383">
                  <c:v>21.06.2021</c:v>
                </c:pt>
                <c:pt idx="384">
                  <c:v>22.06.2021</c:v>
                </c:pt>
                <c:pt idx="385">
                  <c:v>23.06.2021</c:v>
                </c:pt>
                <c:pt idx="386">
                  <c:v>24.06.2021</c:v>
                </c:pt>
                <c:pt idx="387">
                  <c:v>25.06.2021</c:v>
                </c:pt>
                <c:pt idx="388">
                  <c:v>28.06.2021</c:v>
                </c:pt>
                <c:pt idx="389">
                  <c:v>29.06.2021</c:v>
                </c:pt>
                <c:pt idx="390">
                  <c:v>30.06.2021</c:v>
                </c:pt>
                <c:pt idx="391">
                  <c:v>01.07.2021</c:v>
                </c:pt>
                <c:pt idx="392">
                  <c:v>02.07.2021</c:v>
                </c:pt>
                <c:pt idx="393">
                  <c:v>05.07.2021</c:v>
                </c:pt>
                <c:pt idx="394">
                  <c:v>06.07.2021</c:v>
                </c:pt>
                <c:pt idx="395">
                  <c:v>07.07.2021</c:v>
                </c:pt>
                <c:pt idx="396">
                  <c:v>08.07.2021</c:v>
                </c:pt>
                <c:pt idx="397">
                  <c:v>09.07.2021</c:v>
                </c:pt>
                <c:pt idx="398">
                  <c:v>12.07.2021</c:v>
                </c:pt>
                <c:pt idx="399">
                  <c:v>13.07.2021</c:v>
                </c:pt>
                <c:pt idx="400">
                  <c:v>14.07.2021</c:v>
                </c:pt>
                <c:pt idx="401">
                  <c:v>15.07.2021</c:v>
                </c:pt>
                <c:pt idx="402">
                  <c:v>16.07.2021</c:v>
                </c:pt>
                <c:pt idx="403">
                  <c:v>19.07.2021</c:v>
                </c:pt>
                <c:pt idx="404">
                  <c:v>20.07.2021</c:v>
                </c:pt>
                <c:pt idx="405">
                  <c:v>21.07.2021</c:v>
                </c:pt>
                <c:pt idx="406">
                  <c:v>22.07.2021</c:v>
                </c:pt>
                <c:pt idx="407">
                  <c:v>23.07.2021</c:v>
                </c:pt>
                <c:pt idx="408">
                  <c:v>26.07.2021</c:v>
                </c:pt>
                <c:pt idx="409">
                  <c:v>27.07.2021</c:v>
                </c:pt>
                <c:pt idx="410">
                  <c:v>28.07.2021</c:v>
                </c:pt>
                <c:pt idx="411">
                  <c:v>29.07.2021</c:v>
                </c:pt>
                <c:pt idx="412">
                  <c:v>30.07.2021</c:v>
                </c:pt>
                <c:pt idx="413">
                  <c:v>02.08.2021</c:v>
                </c:pt>
                <c:pt idx="414">
                  <c:v>03.08.2021</c:v>
                </c:pt>
                <c:pt idx="415">
                  <c:v>04.08.2021</c:v>
                </c:pt>
                <c:pt idx="416">
                  <c:v>05.08.2021</c:v>
                </c:pt>
                <c:pt idx="417">
                  <c:v>06.08.2021</c:v>
                </c:pt>
                <c:pt idx="418">
                  <c:v>09.08.2021</c:v>
                </c:pt>
                <c:pt idx="419">
                  <c:v>10.08.2021</c:v>
                </c:pt>
                <c:pt idx="420">
                  <c:v>11.08.2021</c:v>
                </c:pt>
                <c:pt idx="421">
                  <c:v>12.08.2021</c:v>
                </c:pt>
                <c:pt idx="422">
                  <c:v>13.08.2021</c:v>
                </c:pt>
                <c:pt idx="423">
                  <c:v>16.08.2021</c:v>
                </c:pt>
                <c:pt idx="424">
                  <c:v>17.08.2021</c:v>
                </c:pt>
                <c:pt idx="425">
                  <c:v>18.08.2021</c:v>
                </c:pt>
                <c:pt idx="426">
                  <c:v>19.08.2021</c:v>
                </c:pt>
                <c:pt idx="427">
                  <c:v>20.08.2021</c:v>
                </c:pt>
                <c:pt idx="428">
                  <c:v>23.08.2021</c:v>
                </c:pt>
                <c:pt idx="429">
                  <c:v>24.08.2021</c:v>
                </c:pt>
                <c:pt idx="430">
                  <c:v>25.08.2021</c:v>
                </c:pt>
                <c:pt idx="431">
                  <c:v>26.08.2021</c:v>
                </c:pt>
                <c:pt idx="432">
                  <c:v>27.08.2021</c:v>
                </c:pt>
                <c:pt idx="433">
                  <c:v>30.08.2021</c:v>
                </c:pt>
                <c:pt idx="434">
                  <c:v>31.08.2021</c:v>
                </c:pt>
                <c:pt idx="435">
                  <c:v>01.09.2021</c:v>
                </c:pt>
                <c:pt idx="436">
                  <c:v>02.09.2021</c:v>
                </c:pt>
                <c:pt idx="437">
                  <c:v>03.09.2021</c:v>
                </c:pt>
                <c:pt idx="438">
                  <c:v>06.09.2021</c:v>
                </c:pt>
                <c:pt idx="439">
                  <c:v>07.09.2021</c:v>
                </c:pt>
                <c:pt idx="440">
                  <c:v>08.09.2021</c:v>
                </c:pt>
                <c:pt idx="441">
                  <c:v>09.09.2021</c:v>
                </c:pt>
                <c:pt idx="442">
                  <c:v>10.09.2021</c:v>
                </c:pt>
                <c:pt idx="443">
                  <c:v>13.09.2021</c:v>
                </c:pt>
                <c:pt idx="444">
                  <c:v>14.09.2021</c:v>
                </c:pt>
                <c:pt idx="445">
                  <c:v>15.09.2021</c:v>
                </c:pt>
                <c:pt idx="446">
                  <c:v>16.09.2021</c:v>
                </c:pt>
                <c:pt idx="447">
                  <c:v>17.09.2021</c:v>
                </c:pt>
                <c:pt idx="448">
                  <c:v>20.09.2021</c:v>
                </c:pt>
                <c:pt idx="449">
                  <c:v>21.09.2021</c:v>
                </c:pt>
                <c:pt idx="450">
                  <c:v>22.09.2021</c:v>
                </c:pt>
                <c:pt idx="451">
                  <c:v>23.09.2021</c:v>
                </c:pt>
                <c:pt idx="452">
                  <c:v>24.09.2021</c:v>
                </c:pt>
                <c:pt idx="453">
                  <c:v>27.09.2021</c:v>
                </c:pt>
                <c:pt idx="454">
                  <c:v>28.09.2021</c:v>
                </c:pt>
                <c:pt idx="455">
                  <c:v>29.09.2021</c:v>
                </c:pt>
                <c:pt idx="456">
                  <c:v>30.09.2021</c:v>
                </c:pt>
                <c:pt idx="457">
                  <c:v>01.10.2021</c:v>
                </c:pt>
                <c:pt idx="458">
                  <c:v>04.10.2021</c:v>
                </c:pt>
                <c:pt idx="459">
                  <c:v>05.10.2021</c:v>
                </c:pt>
                <c:pt idx="460">
                  <c:v>06.10.2021</c:v>
                </c:pt>
                <c:pt idx="461">
                  <c:v>07.10.2021</c:v>
                </c:pt>
                <c:pt idx="462">
                  <c:v>08.10.2021</c:v>
                </c:pt>
                <c:pt idx="463">
                  <c:v>11.10.2021</c:v>
                </c:pt>
                <c:pt idx="464">
                  <c:v>12.10.2021</c:v>
                </c:pt>
                <c:pt idx="465">
                  <c:v>13.10.2021</c:v>
                </c:pt>
                <c:pt idx="466">
                  <c:v>14.10.2021</c:v>
                </c:pt>
                <c:pt idx="467">
                  <c:v>15.10.2021</c:v>
                </c:pt>
                <c:pt idx="468">
                  <c:v>18.10.2021</c:v>
                </c:pt>
                <c:pt idx="469">
                  <c:v>19.10.2021</c:v>
                </c:pt>
                <c:pt idx="470">
                  <c:v>20.10.2021</c:v>
                </c:pt>
                <c:pt idx="471">
                  <c:v>21.10.2021</c:v>
                </c:pt>
                <c:pt idx="472">
                  <c:v>22.10.2021</c:v>
                </c:pt>
                <c:pt idx="473">
                  <c:v>25.10.2021</c:v>
                </c:pt>
                <c:pt idx="474">
                  <c:v>26.10.2021</c:v>
                </c:pt>
                <c:pt idx="475">
                  <c:v>27.10.2021</c:v>
                </c:pt>
                <c:pt idx="476">
                  <c:v>28.10.2021</c:v>
                </c:pt>
                <c:pt idx="477">
                  <c:v>29.10.2021</c:v>
                </c:pt>
                <c:pt idx="478">
                  <c:v>01.11.2021</c:v>
                </c:pt>
                <c:pt idx="479">
                  <c:v>02.11.2021</c:v>
                </c:pt>
                <c:pt idx="480">
                  <c:v>03.11.2021</c:v>
                </c:pt>
                <c:pt idx="481">
                  <c:v>04.11.2021</c:v>
                </c:pt>
                <c:pt idx="482">
                  <c:v>05.11.2021</c:v>
                </c:pt>
                <c:pt idx="483">
                  <c:v>08.11.2021</c:v>
                </c:pt>
                <c:pt idx="484">
                  <c:v>09.11.2021</c:v>
                </c:pt>
                <c:pt idx="485">
                  <c:v>10.11.2021</c:v>
                </c:pt>
                <c:pt idx="486">
                  <c:v>11.11.2021</c:v>
                </c:pt>
                <c:pt idx="487">
                  <c:v>12.11.2021</c:v>
                </c:pt>
                <c:pt idx="488">
                  <c:v>15.11.2021</c:v>
                </c:pt>
                <c:pt idx="489">
                  <c:v>16.11.2021</c:v>
                </c:pt>
                <c:pt idx="490">
                  <c:v>17.11.2021</c:v>
                </c:pt>
                <c:pt idx="491">
                  <c:v>18.11.2021</c:v>
                </c:pt>
                <c:pt idx="492">
                  <c:v>19.11.2021</c:v>
                </c:pt>
                <c:pt idx="493">
                  <c:v>22.11.2021</c:v>
                </c:pt>
                <c:pt idx="494">
                  <c:v>23.11.2021</c:v>
                </c:pt>
                <c:pt idx="495">
                  <c:v>24.11.2021</c:v>
                </c:pt>
                <c:pt idx="496">
                  <c:v>25.11.2021</c:v>
                </c:pt>
                <c:pt idx="497">
                  <c:v>26.11.2021</c:v>
                </c:pt>
                <c:pt idx="498">
                  <c:v>29.11.2021</c:v>
                </c:pt>
                <c:pt idx="499">
                  <c:v>30.11.2021</c:v>
                </c:pt>
                <c:pt idx="500">
                  <c:v>01.12.2021</c:v>
                </c:pt>
                <c:pt idx="501">
                  <c:v>02.12.2021</c:v>
                </c:pt>
                <c:pt idx="502">
                  <c:v>03.12.2021</c:v>
                </c:pt>
                <c:pt idx="503">
                  <c:v>06.12.2021</c:v>
                </c:pt>
                <c:pt idx="504">
                  <c:v>07.12.2021</c:v>
                </c:pt>
                <c:pt idx="505">
                  <c:v>08.12.2021</c:v>
                </c:pt>
                <c:pt idx="506">
                  <c:v>09.12.2021</c:v>
                </c:pt>
                <c:pt idx="507">
                  <c:v>10.12.2021</c:v>
                </c:pt>
                <c:pt idx="508">
                  <c:v>13.12.2021</c:v>
                </c:pt>
                <c:pt idx="509">
                  <c:v>14.12.2021</c:v>
                </c:pt>
                <c:pt idx="510">
                  <c:v>15.12.2021</c:v>
                </c:pt>
                <c:pt idx="511">
                  <c:v>16.12.2021</c:v>
                </c:pt>
                <c:pt idx="512">
                  <c:v>17.12.2021</c:v>
                </c:pt>
                <c:pt idx="513">
                  <c:v>20.12.2021</c:v>
                </c:pt>
                <c:pt idx="514">
                  <c:v>21.12.2021</c:v>
                </c:pt>
                <c:pt idx="515">
                  <c:v>22.12.2021</c:v>
                </c:pt>
                <c:pt idx="516">
                  <c:v>23.12.2021</c:v>
                </c:pt>
                <c:pt idx="517">
                  <c:v>24.12.2021</c:v>
                </c:pt>
                <c:pt idx="518">
                  <c:v>27.12.2021</c:v>
                </c:pt>
                <c:pt idx="519">
                  <c:v>28.12.2021</c:v>
                </c:pt>
                <c:pt idx="520">
                  <c:v>29.12.2021</c:v>
                </c:pt>
                <c:pt idx="521">
                  <c:v>30.12.2021</c:v>
                </c:pt>
                <c:pt idx="522">
                  <c:v>31.12.2021</c:v>
                </c:pt>
                <c:pt idx="523">
                  <c:v>03.01.2022</c:v>
                </c:pt>
                <c:pt idx="524">
                  <c:v>04.01.2022</c:v>
                </c:pt>
                <c:pt idx="525">
                  <c:v>05.01.2022</c:v>
                </c:pt>
                <c:pt idx="526">
                  <c:v>06.01.2022</c:v>
                </c:pt>
                <c:pt idx="527">
                  <c:v>07.01.2022</c:v>
                </c:pt>
                <c:pt idx="528">
                  <c:v>10.01.2022</c:v>
                </c:pt>
                <c:pt idx="529">
                  <c:v>11.01.2022</c:v>
                </c:pt>
                <c:pt idx="530">
                  <c:v>12.01.2022</c:v>
                </c:pt>
                <c:pt idx="531">
                  <c:v>13.01.2022</c:v>
                </c:pt>
                <c:pt idx="532">
                  <c:v>14.01.2022</c:v>
                </c:pt>
                <c:pt idx="533">
                  <c:v>17.01.2022</c:v>
                </c:pt>
                <c:pt idx="534">
                  <c:v>18.01.2022</c:v>
                </c:pt>
                <c:pt idx="535">
                  <c:v>19.01.2022</c:v>
                </c:pt>
                <c:pt idx="536">
                  <c:v>20.01.2022</c:v>
                </c:pt>
                <c:pt idx="537">
                  <c:v>21.01.2022</c:v>
                </c:pt>
                <c:pt idx="538">
                  <c:v>24.01.2022</c:v>
                </c:pt>
                <c:pt idx="539">
                  <c:v>25.01.2022</c:v>
                </c:pt>
                <c:pt idx="540">
                  <c:v>26.01.2022</c:v>
                </c:pt>
                <c:pt idx="541">
                  <c:v>27.01.2022</c:v>
                </c:pt>
                <c:pt idx="542">
                  <c:v>28.01.2022</c:v>
                </c:pt>
                <c:pt idx="543">
                  <c:v>31.01.2022</c:v>
                </c:pt>
                <c:pt idx="544">
                  <c:v>01.02.2022</c:v>
                </c:pt>
                <c:pt idx="545">
                  <c:v>02.02.2022</c:v>
                </c:pt>
                <c:pt idx="546">
                  <c:v>03.02.2022</c:v>
                </c:pt>
                <c:pt idx="547">
                  <c:v>04.02.2022</c:v>
                </c:pt>
                <c:pt idx="548">
                  <c:v>07.02.2022</c:v>
                </c:pt>
                <c:pt idx="549">
                  <c:v>08.02.2022</c:v>
                </c:pt>
                <c:pt idx="550">
                  <c:v>30.04.2022022</c:v>
                </c:pt>
              </c:strCache>
            </c:strRef>
          </c:cat>
          <c:val>
            <c:numRef>
              <c:f>Sheet1!$C$3:$C$555</c:f>
              <c:numCache>
                <c:formatCode>General</c:formatCode>
                <c:ptCount val="553"/>
                <c:pt idx="0">
                  <c:v>1.9904999999999999</c:v>
                </c:pt>
                <c:pt idx="1">
                  <c:v>1.9904999999999999</c:v>
                </c:pt>
                <c:pt idx="2">
                  <c:v>1.9504999999999999</c:v>
                </c:pt>
                <c:pt idx="3">
                  <c:v>1.8805000000000001</c:v>
                </c:pt>
                <c:pt idx="4">
                  <c:v>1.8554999999999999</c:v>
                </c:pt>
                <c:pt idx="5">
                  <c:v>1.8654999999999999</c:v>
                </c:pt>
                <c:pt idx="6">
                  <c:v>1.8805000000000001</c:v>
                </c:pt>
                <c:pt idx="7">
                  <c:v>1.9105000000000001</c:v>
                </c:pt>
                <c:pt idx="8">
                  <c:v>1.9205000000000001</c:v>
                </c:pt>
                <c:pt idx="9">
                  <c:v>1.9255</c:v>
                </c:pt>
                <c:pt idx="10">
                  <c:v>1.9055</c:v>
                </c:pt>
                <c:pt idx="11">
                  <c:v>1.8705000000000001</c:v>
                </c:pt>
                <c:pt idx="12">
                  <c:v>1.8605</c:v>
                </c:pt>
                <c:pt idx="13">
                  <c:v>1.8694999999999999</c:v>
                </c:pt>
                <c:pt idx="14">
                  <c:v>1.8645</c:v>
                </c:pt>
                <c:pt idx="15">
                  <c:v>1.8394999999999999</c:v>
                </c:pt>
                <c:pt idx="16">
                  <c:v>1.8015000000000001</c:v>
                </c:pt>
                <c:pt idx="17">
                  <c:v>1.7715000000000001</c:v>
                </c:pt>
                <c:pt idx="18">
                  <c:v>1.7475000000000001</c:v>
                </c:pt>
                <c:pt idx="19">
                  <c:v>1.6675</c:v>
                </c:pt>
                <c:pt idx="20">
                  <c:v>1.6964999999999999</c:v>
                </c:pt>
                <c:pt idx="21">
                  <c:v>1.6944999999999999</c:v>
                </c:pt>
                <c:pt idx="22">
                  <c:v>1.6884999999999999</c:v>
                </c:pt>
                <c:pt idx="23">
                  <c:v>1.6485000000000001</c:v>
                </c:pt>
                <c:pt idx="24">
                  <c:v>1.6234999999999999</c:v>
                </c:pt>
                <c:pt idx="25">
                  <c:v>1.6785000000000001</c:v>
                </c:pt>
                <c:pt idx="26">
                  <c:v>1.7035</c:v>
                </c:pt>
                <c:pt idx="27">
                  <c:v>1.7244999999999999</c:v>
                </c:pt>
                <c:pt idx="28">
                  <c:v>1.6915</c:v>
                </c:pt>
                <c:pt idx="29">
                  <c:v>1.7015</c:v>
                </c:pt>
                <c:pt idx="30">
                  <c:v>1.6964999999999999</c:v>
                </c:pt>
                <c:pt idx="31">
                  <c:v>1.7415</c:v>
                </c:pt>
                <c:pt idx="32">
                  <c:v>1.7184999999999999</c:v>
                </c:pt>
                <c:pt idx="33">
                  <c:v>1.7135</c:v>
                </c:pt>
                <c:pt idx="34">
                  <c:v>1.7184999999999999</c:v>
                </c:pt>
                <c:pt idx="35">
                  <c:v>1.7184999999999999</c:v>
                </c:pt>
                <c:pt idx="36">
                  <c:v>1.7175</c:v>
                </c:pt>
                <c:pt idx="37">
                  <c:v>1.6924999999999999</c:v>
                </c:pt>
                <c:pt idx="38">
                  <c:v>1.6625000000000001</c:v>
                </c:pt>
                <c:pt idx="39">
                  <c:v>1.6145</c:v>
                </c:pt>
                <c:pt idx="40">
                  <c:v>1.5945</c:v>
                </c:pt>
                <c:pt idx="41">
                  <c:v>1.6134999999999999</c:v>
                </c:pt>
                <c:pt idx="42">
                  <c:v>1.5285</c:v>
                </c:pt>
                <c:pt idx="43">
                  <c:v>1.488</c:v>
                </c:pt>
                <c:pt idx="44">
                  <c:v>1.4419999999999999</c:v>
                </c:pt>
                <c:pt idx="45">
                  <c:v>1.494</c:v>
                </c:pt>
                <c:pt idx="46">
                  <c:v>1.3740000000000001</c:v>
                </c:pt>
                <c:pt idx="47">
                  <c:v>1.349</c:v>
                </c:pt>
                <c:pt idx="48">
                  <c:v>1.3140000000000001</c:v>
                </c:pt>
                <c:pt idx="49">
                  <c:v>1.1639999999999999</c:v>
                </c:pt>
                <c:pt idx="50">
                  <c:v>1.244</c:v>
                </c:pt>
                <c:pt idx="51">
                  <c:v>1.2250000000000001</c:v>
                </c:pt>
                <c:pt idx="52">
                  <c:v>1.23</c:v>
                </c:pt>
                <c:pt idx="53">
                  <c:v>1.2250000000000001</c:v>
                </c:pt>
                <c:pt idx="54">
                  <c:v>1.175</c:v>
                </c:pt>
                <c:pt idx="55">
                  <c:v>1.2</c:v>
                </c:pt>
                <c:pt idx="56">
                  <c:v>1.2549999999999999</c:v>
                </c:pt>
                <c:pt idx="57">
                  <c:v>1.2749999999999999</c:v>
                </c:pt>
                <c:pt idx="58">
                  <c:v>1.19</c:v>
                </c:pt>
                <c:pt idx="59">
                  <c:v>1.18</c:v>
                </c:pt>
                <c:pt idx="60">
                  <c:v>1.24</c:v>
                </c:pt>
                <c:pt idx="61">
                  <c:v>1.2949999999999999</c:v>
                </c:pt>
                <c:pt idx="62">
                  <c:v>1.23</c:v>
                </c:pt>
                <c:pt idx="63">
                  <c:v>1.1100000000000001</c:v>
                </c:pt>
                <c:pt idx="64">
                  <c:v>1.03</c:v>
                </c:pt>
                <c:pt idx="65">
                  <c:v>0.995</c:v>
                </c:pt>
                <c:pt idx="66">
                  <c:v>0.95499999999999996</c:v>
                </c:pt>
                <c:pt idx="67">
                  <c:v>0.91</c:v>
                </c:pt>
                <c:pt idx="68">
                  <c:v>0.89</c:v>
                </c:pt>
                <c:pt idx="69">
                  <c:v>0.91500000000000004</c:v>
                </c:pt>
                <c:pt idx="70">
                  <c:v>0.97</c:v>
                </c:pt>
                <c:pt idx="71">
                  <c:v>0.95499999999999996</c:v>
                </c:pt>
                <c:pt idx="72">
                  <c:v>0.95499999999999996</c:v>
                </c:pt>
                <c:pt idx="73">
                  <c:v>0.95499999999999996</c:v>
                </c:pt>
                <c:pt idx="74">
                  <c:v>0.95499999999999996</c:v>
                </c:pt>
                <c:pt idx="75">
                  <c:v>0.88500000000000001</c:v>
                </c:pt>
                <c:pt idx="76">
                  <c:v>0.84</c:v>
                </c:pt>
                <c:pt idx="77">
                  <c:v>0.89</c:v>
                </c:pt>
                <c:pt idx="78">
                  <c:v>0.92500000000000004</c:v>
                </c:pt>
                <c:pt idx="79">
                  <c:v>0.96</c:v>
                </c:pt>
                <c:pt idx="80">
                  <c:v>0.93500000000000005</c:v>
                </c:pt>
                <c:pt idx="81">
                  <c:v>0.96250000000000002</c:v>
                </c:pt>
                <c:pt idx="82">
                  <c:v>0.95250000000000001</c:v>
                </c:pt>
                <c:pt idx="83">
                  <c:v>0.92749999999999999</c:v>
                </c:pt>
                <c:pt idx="84">
                  <c:v>0.91749999999999998</c:v>
                </c:pt>
                <c:pt idx="85">
                  <c:v>0.89749999999999996</c:v>
                </c:pt>
                <c:pt idx="86">
                  <c:v>0.87250000000000005</c:v>
                </c:pt>
                <c:pt idx="87">
                  <c:v>0.82250000000000001</c:v>
                </c:pt>
                <c:pt idx="88">
                  <c:v>0.82250000000000001</c:v>
                </c:pt>
                <c:pt idx="89">
                  <c:v>0.80249999999999999</c:v>
                </c:pt>
                <c:pt idx="90">
                  <c:v>0.76249999999999996</c:v>
                </c:pt>
                <c:pt idx="91">
                  <c:v>0.78749999999999998</c:v>
                </c:pt>
                <c:pt idx="92">
                  <c:v>0.6875</c:v>
                </c:pt>
                <c:pt idx="93">
                  <c:v>0.65249999999999997</c:v>
                </c:pt>
                <c:pt idx="94">
                  <c:v>0.67749999999999999</c:v>
                </c:pt>
                <c:pt idx="95">
                  <c:v>0.66249999999999998</c:v>
                </c:pt>
                <c:pt idx="96">
                  <c:v>0.61750000000000005</c:v>
                </c:pt>
                <c:pt idx="97">
                  <c:v>0.57750000000000001</c:v>
                </c:pt>
                <c:pt idx="98">
                  <c:v>0.5595</c:v>
                </c:pt>
                <c:pt idx="99">
                  <c:v>0.63449999999999995</c:v>
                </c:pt>
                <c:pt idx="100">
                  <c:v>0.6895</c:v>
                </c:pt>
                <c:pt idx="101">
                  <c:v>0.66949999999999998</c:v>
                </c:pt>
                <c:pt idx="102">
                  <c:v>0.66949999999999998</c:v>
                </c:pt>
                <c:pt idx="103">
                  <c:v>0.65949999999999998</c:v>
                </c:pt>
                <c:pt idx="104">
                  <c:v>0.66449999999999998</c:v>
                </c:pt>
                <c:pt idx="105">
                  <c:v>0.69950000000000001</c:v>
                </c:pt>
                <c:pt idx="106">
                  <c:v>0.75949999999999995</c:v>
                </c:pt>
                <c:pt idx="107">
                  <c:v>0.74450000000000005</c:v>
                </c:pt>
                <c:pt idx="108">
                  <c:v>0.73950000000000005</c:v>
                </c:pt>
                <c:pt idx="109">
                  <c:v>0.73950000000000005</c:v>
                </c:pt>
                <c:pt idx="110">
                  <c:v>0.74450000000000005</c:v>
                </c:pt>
                <c:pt idx="111">
                  <c:v>0.78449999999999998</c:v>
                </c:pt>
                <c:pt idx="112">
                  <c:v>0.80449999999999999</c:v>
                </c:pt>
                <c:pt idx="113">
                  <c:v>0.89449999999999996</c:v>
                </c:pt>
                <c:pt idx="114">
                  <c:v>0.90949999999999998</c:v>
                </c:pt>
                <c:pt idx="115">
                  <c:v>0.89449999999999996</c:v>
                </c:pt>
                <c:pt idx="116">
                  <c:v>0.91449999999999998</c:v>
                </c:pt>
                <c:pt idx="117">
                  <c:v>0.80500000000000005</c:v>
                </c:pt>
                <c:pt idx="118">
                  <c:v>0.8</c:v>
                </c:pt>
                <c:pt idx="119">
                  <c:v>0.76549999999999996</c:v>
                </c:pt>
                <c:pt idx="120">
                  <c:v>0.80049999999999999</c:v>
                </c:pt>
                <c:pt idx="121">
                  <c:v>0.82099999999999995</c:v>
                </c:pt>
                <c:pt idx="122">
                  <c:v>0.84599999999999997</c:v>
                </c:pt>
                <c:pt idx="123">
                  <c:v>0.876</c:v>
                </c:pt>
                <c:pt idx="124">
                  <c:v>0.84599999999999997</c:v>
                </c:pt>
                <c:pt idx="125">
                  <c:v>0.88600000000000001</c:v>
                </c:pt>
                <c:pt idx="126">
                  <c:v>0.91100000000000003</c:v>
                </c:pt>
                <c:pt idx="127">
                  <c:v>0.86099999999999999</c:v>
                </c:pt>
                <c:pt idx="128">
                  <c:v>0.871</c:v>
                </c:pt>
                <c:pt idx="129">
                  <c:v>0.875</c:v>
                </c:pt>
                <c:pt idx="130">
                  <c:v>0.84499999999999997</c:v>
                </c:pt>
                <c:pt idx="131">
                  <c:v>0.92500000000000004</c:v>
                </c:pt>
                <c:pt idx="132">
                  <c:v>0.91500000000000004</c:v>
                </c:pt>
                <c:pt idx="133">
                  <c:v>0.89949999999999997</c:v>
                </c:pt>
                <c:pt idx="134">
                  <c:v>0.89949999999999997</c:v>
                </c:pt>
                <c:pt idx="135">
                  <c:v>0.89449999999999996</c:v>
                </c:pt>
                <c:pt idx="136">
                  <c:v>0.85450000000000004</c:v>
                </c:pt>
                <c:pt idx="137">
                  <c:v>0.84950000000000003</c:v>
                </c:pt>
                <c:pt idx="138">
                  <c:v>0.8145</c:v>
                </c:pt>
                <c:pt idx="139">
                  <c:v>0.87450000000000006</c:v>
                </c:pt>
                <c:pt idx="140">
                  <c:v>0.86450000000000005</c:v>
                </c:pt>
                <c:pt idx="141">
                  <c:v>0.87450000000000006</c:v>
                </c:pt>
                <c:pt idx="142">
                  <c:v>0.86450000000000005</c:v>
                </c:pt>
                <c:pt idx="143">
                  <c:v>0.86950000000000005</c:v>
                </c:pt>
                <c:pt idx="144">
                  <c:v>0.85950000000000004</c:v>
                </c:pt>
                <c:pt idx="145">
                  <c:v>0.85450000000000004</c:v>
                </c:pt>
                <c:pt idx="146">
                  <c:v>0.80400000000000005</c:v>
                </c:pt>
                <c:pt idx="147">
                  <c:v>0.80449999999999999</c:v>
                </c:pt>
                <c:pt idx="148">
                  <c:v>0.82450000000000001</c:v>
                </c:pt>
                <c:pt idx="149">
                  <c:v>0.77900000000000003</c:v>
                </c:pt>
                <c:pt idx="150">
                  <c:v>0.76900000000000002</c:v>
                </c:pt>
                <c:pt idx="151">
                  <c:v>0.78100000000000003</c:v>
                </c:pt>
                <c:pt idx="152">
                  <c:v>0.76049999999999995</c:v>
                </c:pt>
                <c:pt idx="153">
                  <c:v>0.79049999999999998</c:v>
                </c:pt>
                <c:pt idx="154">
                  <c:v>0.79549999999999998</c:v>
                </c:pt>
                <c:pt idx="155">
                  <c:v>0.74550000000000005</c:v>
                </c:pt>
                <c:pt idx="156">
                  <c:v>0.78300000000000003</c:v>
                </c:pt>
                <c:pt idx="157">
                  <c:v>0.76800000000000002</c:v>
                </c:pt>
                <c:pt idx="158">
                  <c:v>0.78300000000000003</c:v>
                </c:pt>
                <c:pt idx="159">
                  <c:v>0.80549999999999999</c:v>
                </c:pt>
                <c:pt idx="160">
                  <c:v>0.88549999999999995</c:v>
                </c:pt>
                <c:pt idx="161">
                  <c:v>0.91049999999999998</c:v>
                </c:pt>
                <c:pt idx="162">
                  <c:v>0.97050000000000003</c:v>
                </c:pt>
                <c:pt idx="163">
                  <c:v>0.95050000000000001</c:v>
                </c:pt>
                <c:pt idx="164">
                  <c:v>0.95050000000000001</c:v>
                </c:pt>
                <c:pt idx="165">
                  <c:v>0.94699999999999995</c:v>
                </c:pt>
                <c:pt idx="166">
                  <c:v>0.9425</c:v>
                </c:pt>
                <c:pt idx="167">
                  <c:v>0.88749999999999996</c:v>
                </c:pt>
                <c:pt idx="168">
                  <c:v>0.89149999999999996</c:v>
                </c:pt>
                <c:pt idx="169">
                  <c:v>0.89649999999999996</c:v>
                </c:pt>
                <c:pt idx="170">
                  <c:v>0.96650000000000003</c:v>
                </c:pt>
                <c:pt idx="171">
                  <c:v>0.98650000000000004</c:v>
                </c:pt>
                <c:pt idx="172">
                  <c:v>0.97950000000000004</c:v>
                </c:pt>
                <c:pt idx="173">
                  <c:v>0.99850000000000005</c:v>
                </c:pt>
                <c:pt idx="174">
                  <c:v>1.0235000000000001</c:v>
                </c:pt>
                <c:pt idx="175">
                  <c:v>0.99850000000000005</c:v>
                </c:pt>
                <c:pt idx="176">
                  <c:v>0.92949999999999999</c:v>
                </c:pt>
                <c:pt idx="177">
                  <c:v>0.88449999999999995</c:v>
                </c:pt>
                <c:pt idx="178">
                  <c:v>0.88849999999999996</c:v>
                </c:pt>
                <c:pt idx="179">
                  <c:v>0.91049999999999998</c:v>
                </c:pt>
                <c:pt idx="180">
                  <c:v>0.89049999999999996</c:v>
                </c:pt>
                <c:pt idx="181">
                  <c:v>0.90549999999999997</c:v>
                </c:pt>
                <c:pt idx="182">
                  <c:v>0.9355</c:v>
                </c:pt>
                <c:pt idx="183">
                  <c:v>0.92549999999999999</c:v>
                </c:pt>
                <c:pt idx="184">
                  <c:v>0.90549999999999997</c:v>
                </c:pt>
                <c:pt idx="185">
                  <c:v>0.91049999999999998</c:v>
                </c:pt>
                <c:pt idx="186">
                  <c:v>0.89549999999999996</c:v>
                </c:pt>
                <c:pt idx="187">
                  <c:v>0.89049999999999996</c:v>
                </c:pt>
                <c:pt idx="188">
                  <c:v>0.89549999999999996</c:v>
                </c:pt>
                <c:pt idx="189">
                  <c:v>0.87050000000000005</c:v>
                </c:pt>
                <c:pt idx="190">
                  <c:v>0.88549999999999995</c:v>
                </c:pt>
                <c:pt idx="191">
                  <c:v>0.88549999999999995</c:v>
                </c:pt>
                <c:pt idx="192">
                  <c:v>0.85550000000000004</c:v>
                </c:pt>
                <c:pt idx="193">
                  <c:v>0.84050000000000002</c:v>
                </c:pt>
                <c:pt idx="194">
                  <c:v>0.84550000000000003</c:v>
                </c:pt>
                <c:pt idx="195">
                  <c:v>0.84099999999999997</c:v>
                </c:pt>
                <c:pt idx="196">
                  <c:v>0.84599999999999997</c:v>
                </c:pt>
                <c:pt idx="197">
                  <c:v>0.86099999999999999</c:v>
                </c:pt>
                <c:pt idx="198">
                  <c:v>0.85099999999999998</c:v>
                </c:pt>
                <c:pt idx="199">
                  <c:v>0.88100000000000001</c:v>
                </c:pt>
                <c:pt idx="200">
                  <c:v>0.90600000000000003</c:v>
                </c:pt>
                <c:pt idx="201">
                  <c:v>0.91600000000000004</c:v>
                </c:pt>
                <c:pt idx="202">
                  <c:v>0.90100000000000002</c:v>
                </c:pt>
                <c:pt idx="203">
                  <c:v>0.89600000000000002</c:v>
                </c:pt>
                <c:pt idx="204">
                  <c:v>0.89600000000000002</c:v>
                </c:pt>
                <c:pt idx="205">
                  <c:v>0.91549999999999998</c:v>
                </c:pt>
                <c:pt idx="206">
                  <c:v>0.88149999999999995</c:v>
                </c:pt>
                <c:pt idx="207">
                  <c:v>0.85150000000000003</c:v>
                </c:pt>
                <c:pt idx="208">
                  <c:v>0.84650000000000003</c:v>
                </c:pt>
                <c:pt idx="209">
                  <c:v>0.85150000000000003</c:v>
                </c:pt>
                <c:pt idx="210">
                  <c:v>0.88149999999999995</c:v>
                </c:pt>
                <c:pt idx="211">
                  <c:v>0.90149999999999997</c:v>
                </c:pt>
                <c:pt idx="212">
                  <c:v>0.93149999999999999</c:v>
                </c:pt>
                <c:pt idx="213">
                  <c:v>0.95150000000000001</c:v>
                </c:pt>
                <c:pt idx="214">
                  <c:v>0.93149999999999999</c:v>
                </c:pt>
                <c:pt idx="215">
                  <c:v>0.90649999999999997</c:v>
                </c:pt>
                <c:pt idx="216">
                  <c:v>0.89149999999999996</c:v>
                </c:pt>
                <c:pt idx="217">
                  <c:v>0.90649999999999997</c:v>
                </c:pt>
                <c:pt idx="218">
                  <c:v>0.92149999999999999</c:v>
                </c:pt>
                <c:pt idx="219">
                  <c:v>0.93149999999999999</c:v>
                </c:pt>
                <c:pt idx="220">
                  <c:v>0.94650000000000001</c:v>
                </c:pt>
                <c:pt idx="221">
                  <c:v>0.92649999999999999</c:v>
                </c:pt>
                <c:pt idx="222">
                  <c:v>0.9365</c:v>
                </c:pt>
                <c:pt idx="223">
                  <c:v>0.9415</c:v>
                </c:pt>
                <c:pt idx="224">
                  <c:v>1.0315000000000001</c:v>
                </c:pt>
                <c:pt idx="225">
                  <c:v>1.0765</c:v>
                </c:pt>
                <c:pt idx="226">
                  <c:v>1.0814999999999999</c:v>
                </c:pt>
                <c:pt idx="227">
                  <c:v>1.0665</c:v>
                </c:pt>
                <c:pt idx="228">
                  <c:v>1.0165</c:v>
                </c:pt>
                <c:pt idx="229">
                  <c:v>1.0265</c:v>
                </c:pt>
                <c:pt idx="230">
                  <c:v>1.0315000000000001</c:v>
                </c:pt>
                <c:pt idx="231">
                  <c:v>1.0475000000000001</c:v>
                </c:pt>
                <c:pt idx="232">
                  <c:v>1.0375000000000001</c:v>
                </c:pt>
                <c:pt idx="233">
                  <c:v>1.0325</c:v>
                </c:pt>
                <c:pt idx="234">
                  <c:v>1.0375000000000001</c:v>
                </c:pt>
                <c:pt idx="235">
                  <c:v>1.0674999999999999</c:v>
                </c:pt>
                <c:pt idx="236">
                  <c:v>1.0725</c:v>
                </c:pt>
                <c:pt idx="237">
                  <c:v>1.0674999999999999</c:v>
                </c:pt>
                <c:pt idx="238">
                  <c:v>1.0685</c:v>
                </c:pt>
                <c:pt idx="239">
                  <c:v>1.0734999999999999</c:v>
                </c:pt>
                <c:pt idx="240">
                  <c:v>1.1134999999999999</c:v>
                </c:pt>
                <c:pt idx="241">
                  <c:v>1.1234999999999999</c:v>
                </c:pt>
                <c:pt idx="242">
                  <c:v>1.1034999999999999</c:v>
                </c:pt>
                <c:pt idx="243">
                  <c:v>1.1185</c:v>
                </c:pt>
                <c:pt idx="244">
                  <c:v>1.1234999999999999</c:v>
                </c:pt>
                <c:pt idx="245">
                  <c:v>1.1134999999999999</c:v>
                </c:pt>
                <c:pt idx="246">
                  <c:v>1.1385000000000001</c:v>
                </c:pt>
                <c:pt idx="247">
                  <c:v>1.1585000000000001</c:v>
                </c:pt>
                <c:pt idx="248">
                  <c:v>1.1335</c:v>
                </c:pt>
                <c:pt idx="249">
                  <c:v>1.1345000000000001</c:v>
                </c:pt>
                <c:pt idx="250">
                  <c:v>1.1194999999999999</c:v>
                </c:pt>
                <c:pt idx="251">
                  <c:v>1.1495</c:v>
                </c:pt>
                <c:pt idx="252">
                  <c:v>1.2015</c:v>
                </c:pt>
                <c:pt idx="253">
                  <c:v>1.214</c:v>
                </c:pt>
                <c:pt idx="254">
                  <c:v>1.2190000000000001</c:v>
                </c:pt>
                <c:pt idx="255">
                  <c:v>1.228</c:v>
                </c:pt>
                <c:pt idx="256">
                  <c:v>1.264</c:v>
                </c:pt>
                <c:pt idx="257">
                  <c:v>1.264</c:v>
                </c:pt>
                <c:pt idx="258">
                  <c:v>1.264</c:v>
                </c:pt>
                <c:pt idx="259">
                  <c:v>1.2589999999999999</c:v>
                </c:pt>
                <c:pt idx="260">
                  <c:v>1.254</c:v>
                </c:pt>
                <c:pt idx="261">
                  <c:v>1.2490000000000001</c:v>
                </c:pt>
                <c:pt idx="262">
                  <c:v>1.244</c:v>
                </c:pt>
                <c:pt idx="263">
                  <c:v>1.244</c:v>
                </c:pt>
                <c:pt idx="264">
                  <c:v>1.2290000000000001</c:v>
                </c:pt>
                <c:pt idx="265">
                  <c:v>1.179</c:v>
                </c:pt>
                <c:pt idx="266">
                  <c:v>1.2190000000000001</c:v>
                </c:pt>
                <c:pt idx="267">
                  <c:v>1.254</c:v>
                </c:pt>
                <c:pt idx="268">
                  <c:v>1.2689999999999999</c:v>
                </c:pt>
                <c:pt idx="269">
                  <c:v>1.2989999999999999</c:v>
                </c:pt>
                <c:pt idx="270">
                  <c:v>1.33</c:v>
                </c:pt>
                <c:pt idx="271">
                  <c:v>1.3049999999999999</c:v>
                </c:pt>
                <c:pt idx="272">
                  <c:v>1.29</c:v>
                </c:pt>
                <c:pt idx="273">
                  <c:v>1.31</c:v>
                </c:pt>
                <c:pt idx="274">
                  <c:v>1.31</c:v>
                </c:pt>
                <c:pt idx="275">
                  <c:v>1.3049999999999999</c:v>
                </c:pt>
                <c:pt idx="276">
                  <c:v>1.2949999999999999</c:v>
                </c:pt>
                <c:pt idx="277">
                  <c:v>1.32</c:v>
                </c:pt>
                <c:pt idx="278">
                  <c:v>1.32</c:v>
                </c:pt>
                <c:pt idx="279">
                  <c:v>1.2949999999999999</c:v>
                </c:pt>
                <c:pt idx="280">
                  <c:v>1.3045</c:v>
                </c:pt>
                <c:pt idx="281">
                  <c:v>1.2845</c:v>
                </c:pt>
                <c:pt idx="282">
                  <c:v>1.2995000000000001</c:v>
                </c:pt>
                <c:pt idx="283">
                  <c:v>1.3345</c:v>
                </c:pt>
                <c:pt idx="284">
                  <c:v>1.3594999999999999</c:v>
                </c:pt>
                <c:pt idx="285">
                  <c:v>1.3945000000000001</c:v>
                </c:pt>
                <c:pt idx="286">
                  <c:v>1.4195</c:v>
                </c:pt>
                <c:pt idx="287">
                  <c:v>1.4395</c:v>
                </c:pt>
                <c:pt idx="288">
                  <c:v>1.4810000000000001</c:v>
                </c:pt>
                <c:pt idx="289">
                  <c:v>1.486</c:v>
                </c:pt>
                <c:pt idx="290">
                  <c:v>1.4710000000000001</c:v>
                </c:pt>
                <c:pt idx="291">
                  <c:v>1.4710000000000001</c:v>
                </c:pt>
                <c:pt idx="292">
                  <c:v>1.466</c:v>
                </c:pt>
                <c:pt idx="293">
                  <c:v>1.5109999999999999</c:v>
                </c:pt>
                <c:pt idx="294">
                  <c:v>1.542</c:v>
                </c:pt>
                <c:pt idx="295">
                  <c:v>1.5920000000000001</c:v>
                </c:pt>
                <c:pt idx="296">
                  <c:v>1.5860000000000001</c:v>
                </c:pt>
                <c:pt idx="297">
                  <c:v>1.605</c:v>
                </c:pt>
                <c:pt idx="298">
                  <c:v>1.615</c:v>
                </c:pt>
                <c:pt idx="299">
                  <c:v>1.595</c:v>
                </c:pt>
                <c:pt idx="300">
                  <c:v>1.66</c:v>
                </c:pt>
                <c:pt idx="301">
                  <c:v>1.7195</c:v>
                </c:pt>
                <c:pt idx="302">
                  <c:v>1.8294999999999999</c:v>
                </c:pt>
                <c:pt idx="303">
                  <c:v>1.744</c:v>
                </c:pt>
                <c:pt idx="304">
                  <c:v>1.6839999999999999</c:v>
                </c:pt>
                <c:pt idx="305">
                  <c:v>1.7355</c:v>
                </c:pt>
                <c:pt idx="306">
                  <c:v>1.7755000000000001</c:v>
                </c:pt>
                <c:pt idx="307">
                  <c:v>1.7605</c:v>
                </c:pt>
                <c:pt idx="308">
                  <c:v>1.8005</c:v>
                </c:pt>
                <c:pt idx="309">
                  <c:v>1.8105</c:v>
                </c:pt>
                <c:pt idx="310">
                  <c:v>1.7355</c:v>
                </c:pt>
                <c:pt idx="311">
                  <c:v>1.7455000000000001</c:v>
                </c:pt>
                <c:pt idx="312">
                  <c:v>1.7255</c:v>
                </c:pt>
                <c:pt idx="313">
                  <c:v>1.7649999999999999</c:v>
                </c:pt>
                <c:pt idx="314">
                  <c:v>1.7450000000000001</c:v>
                </c:pt>
                <c:pt idx="315">
                  <c:v>1.6870000000000001</c:v>
                </c:pt>
                <c:pt idx="316">
                  <c:v>1.7224999999999999</c:v>
                </c:pt>
                <c:pt idx="317">
                  <c:v>1.7725</c:v>
                </c:pt>
                <c:pt idx="318">
                  <c:v>1.7475000000000001</c:v>
                </c:pt>
                <c:pt idx="319">
                  <c:v>1.7224999999999999</c:v>
                </c:pt>
                <c:pt idx="320">
                  <c:v>1.7024999999999999</c:v>
                </c:pt>
                <c:pt idx="321">
                  <c:v>1.706</c:v>
                </c:pt>
                <c:pt idx="322">
                  <c:v>1.6859999999999999</c:v>
                </c:pt>
                <c:pt idx="323">
                  <c:v>1.726</c:v>
                </c:pt>
                <c:pt idx="324">
                  <c:v>1.7410000000000001</c:v>
                </c:pt>
                <c:pt idx="325">
                  <c:v>1.786</c:v>
                </c:pt>
                <c:pt idx="326">
                  <c:v>1.776</c:v>
                </c:pt>
                <c:pt idx="327">
                  <c:v>1.776</c:v>
                </c:pt>
                <c:pt idx="328">
                  <c:v>1.776</c:v>
                </c:pt>
                <c:pt idx="329">
                  <c:v>1.776</c:v>
                </c:pt>
                <c:pt idx="330">
                  <c:v>1.7609999999999999</c:v>
                </c:pt>
                <c:pt idx="331">
                  <c:v>1.736</c:v>
                </c:pt>
                <c:pt idx="332">
                  <c:v>1.696</c:v>
                </c:pt>
                <c:pt idx="333">
                  <c:v>1.7310000000000001</c:v>
                </c:pt>
                <c:pt idx="334">
                  <c:v>1.726</c:v>
                </c:pt>
                <c:pt idx="335">
                  <c:v>1.7010000000000001</c:v>
                </c:pt>
                <c:pt idx="336">
                  <c:v>1.6825000000000001</c:v>
                </c:pt>
                <c:pt idx="337">
                  <c:v>1.643</c:v>
                </c:pt>
                <c:pt idx="338">
                  <c:v>1.6579999999999999</c:v>
                </c:pt>
                <c:pt idx="339">
                  <c:v>1.7030000000000001</c:v>
                </c:pt>
                <c:pt idx="340">
                  <c:v>1.6930000000000001</c:v>
                </c:pt>
                <c:pt idx="341">
                  <c:v>1.6479999999999999</c:v>
                </c:pt>
                <c:pt idx="342">
                  <c:v>1.6475</c:v>
                </c:pt>
                <c:pt idx="343">
                  <c:v>1.6475</c:v>
                </c:pt>
                <c:pt idx="344">
                  <c:v>1.6475</c:v>
                </c:pt>
                <c:pt idx="345">
                  <c:v>1.6575</c:v>
                </c:pt>
                <c:pt idx="346">
                  <c:v>1.6875</c:v>
                </c:pt>
                <c:pt idx="347">
                  <c:v>1.7324999999999999</c:v>
                </c:pt>
                <c:pt idx="348">
                  <c:v>1.7175</c:v>
                </c:pt>
                <c:pt idx="349">
                  <c:v>1.7175</c:v>
                </c:pt>
                <c:pt idx="350">
                  <c:v>1.6924999999999999</c:v>
                </c:pt>
                <c:pt idx="351">
                  <c:v>1.6924999999999999</c:v>
                </c:pt>
                <c:pt idx="352">
                  <c:v>1.6635</c:v>
                </c:pt>
                <c:pt idx="353">
                  <c:v>1.6385000000000001</c:v>
                </c:pt>
                <c:pt idx="354">
                  <c:v>1.6639999999999999</c:v>
                </c:pt>
                <c:pt idx="355">
                  <c:v>1.704</c:v>
                </c:pt>
                <c:pt idx="356">
                  <c:v>1.734</c:v>
                </c:pt>
                <c:pt idx="357">
                  <c:v>1.734</c:v>
                </c:pt>
                <c:pt idx="358">
                  <c:v>1.714</c:v>
                </c:pt>
                <c:pt idx="359">
                  <c:v>1.714</c:v>
                </c:pt>
                <c:pt idx="360">
                  <c:v>1.728</c:v>
                </c:pt>
                <c:pt idx="361">
                  <c:v>1.7330000000000001</c:v>
                </c:pt>
                <c:pt idx="362">
                  <c:v>1.738</c:v>
                </c:pt>
                <c:pt idx="363">
                  <c:v>1.718</c:v>
                </c:pt>
                <c:pt idx="364">
                  <c:v>1.718</c:v>
                </c:pt>
                <c:pt idx="365">
                  <c:v>1.698</c:v>
                </c:pt>
                <c:pt idx="366">
                  <c:v>1.6879999999999999</c:v>
                </c:pt>
                <c:pt idx="367">
                  <c:v>1.7155</c:v>
                </c:pt>
                <c:pt idx="368">
                  <c:v>1.7070000000000001</c:v>
                </c:pt>
                <c:pt idx="369">
                  <c:v>1.722</c:v>
                </c:pt>
                <c:pt idx="370">
                  <c:v>1.712</c:v>
                </c:pt>
                <c:pt idx="371">
                  <c:v>1.69</c:v>
                </c:pt>
                <c:pt idx="372">
                  <c:v>1.6950000000000001</c:v>
                </c:pt>
                <c:pt idx="373">
                  <c:v>1.6870000000000001</c:v>
                </c:pt>
                <c:pt idx="374">
                  <c:v>1.702</c:v>
                </c:pt>
                <c:pt idx="375">
                  <c:v>1.6970000000000001</c:v>
                </c:pt>
                <c:pt idx="376">
                  <c:v>1.6719999999999999</c:v>
                </c:pt>
                <c:pt idx="377">
                  <c:v>1.677</c:v>
                </c:pt>
                <c:pt idx="378">
                  <c:v>1.6120000000000001</c:v>
                </c:pt>
                <c:pt idx="379">
                  <c:v>1.637</c:v>
                </c:pt>
                <c:pt idx="380">
                  <c:v>1.6519999999999999</c:v>
                </c:pt>
                <c:pt idx="381">
                  <c:v>1.6419999999999999</c:v>
                </c:pt>
                <c:pt idx="382">
                  <c:v>1.6970000000000001</c:v>
                </c:pt>
                <c:pt idx="383">
                  <c:v>1.6719999999999999</c:v>
                </c:pt>
                <c:pt idx="384">
                  <c:v>1.6519999999999999</c:v>
                </c:pt>
                <c:pt idx="385">
                  <c:v>1.6625000000000001</c:v>
                </c:pt>
                <c:pt idx="386">
                  <c:v>1.6425000000000001</c:v>
                </c:pt>
                <c:pt idx="387">
                  <c:v>1.6325000000000001</c:v>
                </c:pt>
                <c:pt idx="388">
                  <c:v>1.6425000000000001</c:v>
                </c:pt>
                <c:pt idx="389">
                  <c:v>1.6325000000000001</c:v>
                </c:pt>
                <c:pt idx="390">
                  <c:v>1.6375</c:v>
                </c:pt>
                <c:pt idx="391">
                  <c:v>1.6025</c:v>
                </c:pt>
                <c:pt idx="392">
                  <c:v>1.579</c:v>
                </c:pt>
                <c:pt idx="393">
                  <c:v>1.5589999999999999</c:v>
                </c:pt>
                <c:pt idx="394">
                  <c:v>1.5740000000000001</c:v>
                </c:pt>
                <c:pt idx="395">
                  <c:v>1.5389999999999999</c:v>
                </c:pt>
                <c:pt idx="396">
                  <c:v>1.4884999999999999</c:v>
                </c:pt>
                <c:pt idx="397">
                  <c:v>1.4235</c:v>
                </c:pt>
                <c:pt idx="398">
                  <c:v>1.4735</c:v>
                </c:pt>
                <c:pt idx="399">
                  <c:v>1.4635</c:v>
                </c:pt>
                <c:pt idx="400">
                  <c:v>1.4684999999999999</c:v>
                </c:pt>
                <c:pt idx="401">
                  <c:v>1.5085</c:v>
                </c:pt>
                <c:pt idx="402">
                  <c:v>1.4784999999999999</c:v>
                </c:pt>
                <c:pt idx="403">
                  <c:v>1.4684999999999999</c:v>
                </c:pt>
                <c:pt idx="404">
                  <c:v>1.3845000000000001</c:v>
                </c:pt>
                <c:pt idx="405">
                  <c:v>1.2945</c:v>
                </c:pt>
                <c:pt idx="406">
                  <c:v>1.3545</c:v>
                </c:pt>
                <c:pt idx="407">
                  <c:v>1.405</c:v>
                </c:pt>
                <c:pt idx="408">
                  <c:v>1.42</c:v>
                </c:pt>
                <c:pt idx="409">
                  <c:v>1.405</c:v>
                </c:pt>
                <c:pt idx="410">
                  <c:v>1.39</c:v>
                </c:pt>
                <c:pt idx="411">
                  <c:v>1.4</c:v>
                </c:pt>
                <c:pt idx="412">
                  <c:v>1.4145000000000001</c:v>
                </c:pt>
                <c:pt idx="413">
                  <c:v>1.4245000000000001</c:v>
                </c:pt>
                <c:pt idx="414">
                  <c:v>1.4245000000000001</c:v>
                </c:pt>
                <c:pt idx="415">
                  <c:v>1.3895</c:v>
                </c:pt>
                <c:pt idx="416">
                  <c:v>1.3594999999999999</c:v>
                </c:pt>
                <c:pt idx="417">
                  <c:v>1.3545</c:v>
                </c:pt>
                <c:pt idx="418">
                  <c:v>1.4295</c:v>
                </c:pt>
                <c:pt idx="419">
                  <c:v>1.4195</c:v>
                </c:pt>
                <c:pt idx="420">
                  <c:v>1.4345000000000001</c:v>
                </c:pt>
                <c:pt idx="421">
                  <c:v>1.4590000000000001</c:v>
                </c:pt>
                <c:pt idx="422">
                  <c:v>1.478</c:v>
                </c:pt>
                <c:pt idx="423">
                  <c:v>1.514</c:v>
                </c:pt>
                <c:pt idx="424">
                  <c:v>1.464</c:v>
                </c:pt>
                <c:pt idx="425">
                  <c:v>1.4470000000000001</c:v>
                </c:pt>
                <c:pt idx="426">
                  <c:v>1.4225000000000001</c:v>
                </c:pt>
                <c:pt idx="427">
                  <c:v>1.4075</c:v>
                </c:pt>
                <c:pt idx="428">
                  <c:v>1.3791</c:v>
                </c:pt>
                <c:pt idx="429">
                  <c:v>1.3979999999999999</c:v>
                </c:pt>
                <c:pt idx="430">
                  <c:v>1.4192</c:v>
                </c:pt>
                <c:pt idx="431">
                  <c:v>1.4844999999999999</c:v>
                </c:pt>
                <c:pt idx="432">
                  <c:v>1.5189999999999999</c:v>
                </c:pt>
                <c:pt idx="433">
                  <c:v>1.5119</c:v>
                </c:pt>
                <c:pt idx="434">
                  <c:v>1.5038</c:v>
                </c:pt>
                <c:pt idx="435">
                  <c:v>1.5024999999999999</c:v>
                </c:pt>
                <c:pt idx="436">
                  <c:v>1.518</c:v>
                </c:pt>
                <c:pt idx="437">
                  <c:v>1.5085</c:v>
                </c:pt>
                <c:pt idx="438">
                  <c:v>1.5215000000000001</c:v>
                </c:pt>
                <c:pt idx="439">
                  <c:v>1.5295000000000001</c:v>
                </c:pt>
                <c:pt idx="440">
                  <c:v>1.5705</c:v>
                </c:pt>
                <c:pt idx="441">
                  <c:v>1.5699000000000001</c:v>
                </c:pt>
                <c:pt idx="442">
                  <c:v>1.5625</c:v>
                </c:pt>
                <c:pt idx="443">
                  <c:v>1.5797000000000001</c:v>
                </c:pt>
                <c:pt idx="444">
                  <c:v>1.5769</c:v>
                </c:pt>
                <c:pt idx="445">
                  <c:v>1.6073</c:v>
                </c:pt>
                <c:pt idx="446">
                  <c:v>1.6094999999999999</c:v>
                </c:pt>
                <c:pt idx="447">
                  <c:v>1.6325000000000001</c:v>
                </c:pt>
                <c:pt idx="448">
                  <c:v>1.6725000000000001</c:v>
                </c:pt>
                <c:pt idx="449">
                  <c:v>1.6375</c:v>
                </c:pt>
                <c:pt idx="450">
                  <c:v>1.6475</c:v>
                </c:pt>
                <c:pt idx="451">
                  <c:v>1.6351</c:v>
                </c:pt>
                <c:pt idx="452">
                  <c:v>1.6884999999999999</c:v>
                </c:pt>
                <c:pt idx="453">
                  <c:v>1.7030000000000001</c:v>
                </c:pt>
                <c:pt idx="454">
                  <c:v>1.73</c:v>
                </c:pt>
                <c:pt idx="455">
                  <c:v>1.7725</c:v>
                </c:pt>
                <c:pt idx="456">
                  <c:v>1.8075000000000001</c:v>
                </c:pt>
                <c:pt idx="457">
                  <c:v>1.84</c:v>
                </c:pt>
                <c:pt idx="458">
                  <c:v>1.835</c:v>
                </c:pt>
                <c:pt idx="459">
                  <c:v>1.8505</c:v>
                </c:pt>
                <c:pt idx="460">
                  <c:v>1.8779999999999999</c:v>
                </c:pt>
                <c:pt idx="461">
                  <c:v>1.8645</c:v>
                </c:pt>
                <c:pt idx="462">
                  <c:v>1.8594999999999999</c:v>
                </c:pt>
                <c:pt idx="463">
                  <c:v>1.8925000000000001</c:v>
                </c:pt>
                <c:pt idx="464">
                  <c:v>1.9278</c:v>
                </c:pt>
                <c:pt idx="465">
                  <c:v>1.9259999999999999</c:v>
                </c:pt>
                <c:pt idx="466">
                  <c:v>1.8735999999999999</c:v>
                </c:pt>
                <c:pt idx="467">
                  <c:v>1.835</c:v>
                </c:pt>
                <c:pt idx="468">
                  <c:v>1.875</c:v>
                </c:pt>
                <c:pt idx="469">
                  <c:v>1.9379999999999999</c:v>
                </c:pt>
                <c:pt idx="470">
                  <c:v>1.9245000000000001</c:v>
                </c:pt>
                <c:pt idx="471">
                  <c:v>1.8925000000000001</c:v>
                </c:pt>
                <c:pt idx="472">
                  <c:v>1.9096</c:v>
                </c:pt>
                <c:pt idx="473">
                  <c:v>1.9159999999999999</c:v>
                </c:pt>
                <c:pt idx="474">
                  <c:v>1.9137</c:v>
                </c:pt>
                <c:pt idx="475">
                  <c:v>1.9044000000000001</c:v>
                </c:pt>
                <c:pt idx="476">
                  <c:v>1.8424</c:v>
                </c:pt>
                <c:pt idx="477">
                  <c:v>1.863</c:v>
                </c:pt>
                <c:pt idx="478">
                  <c:v>1.8725000000000001</c:v>
                </c:pt>
                <c:pt idx="479">
                  <c:v>1.8725000000000001</c:v>
                </c:pt>
                <c:pt idx="480">
                  <c:v>1.8207</c:v>
                </c:pt>
                <c:pt idx="481">
                  <c:v>1.8274999999999999</c:v>
                </c:pt>
                <c:pt idx="482">
                  <c:v>1.7595000000000001</c:v>
                </c:pt>
                <c:pt idx="483">
                  <c:v>1.7250000000000001</c:v>
                </c:pt>
                <c:pt idx="484">
                  <c:v>1.75</c:v>
                </c:pt>
                <c:pt idx="485">
                  <c:v>1.7524999999999999</c:v>
                </c:pt>
                <c:pt idx="486">
                  <c:v>1.7885</c:v>
                </c:pt>
                <c:pt idx="487">
                  <c:v>1.8160000000000001</c:v>
                </c:pt>
                <c:pt idx="488">
                  <c:v>1.8089999999999999</c:v>
                </c:pt>
                <c:pt idx="489">
                  <c:v>1.8454999999999999</c:v>
                </c:pt>
                <c:pt idx="490">
                  <c:v>1.8374999999999999</c:v>
                </c:pt>
                <c:pt idx="491">
                  <c:v>1.8345</c:v>
                </c:pt>
                <c:pt idx="492">
                  <c:v>1.7875000000000001</c:v>
                </c:pt>
                <c:pt idx="493">
                  <c:v>1.7353000000000001</c:v>
                </c:pt>
                <c:pt idx="494">
                  <c:v>1.7649999999999999</c:v>
                </c:pt>
                <c:pt idx="495">
                  <c:v>1.831</c:v>
                </c:pt>
                <c:pt idx="496">
                  <c:v>1.8525</c:v>
                </c:pt>
                <c:pt idx="497">
                  <c:v>1.845</c:v>
                </c:pt>
                <c:pt idx="498">
                  <c:v>1.762</c:v>
                </c:pt>
                <c:pt idx="499">
                  <c:v>1.7614000000000001</c:v>
                </c:pt>
                <c:pt idx="500">
                  <c:v>1.65</c:v>
                </c:pt>
                <c:pt idx="501">
                  <c:v>1.645</c:v>
                </c:pt>
                <c:pt idx="502">
                  <c:v>1.6</c:v>
                </c:pt>
                <c:pt idx="503">
                  <c:v>1.6409</c:v>
                </c:pt>
                <c:pt idx="504">
                  <c:v>1.5729</c:v>
                </c:pt>
                <c:pt idx="505">
                  <c:v>1.59</c:v>
                </c:pt>
                <c:pt idx="506">
                  <c:v>1.6456999999999999</c:v>
                </c:pt>
                <c:pt idx="507">
                  <c:v>1.633</c:v>
                </c:pt>
                <c:pt idx="508">
                  <c:v>1.64</c:v>
                </c:pt>
                <c:pt idx="509">
                  <c:v>1.5805</c:v>
                </c:pt>
                <c:pt idx="510">
                  <c:v>1.6125</c:v>
                </c:pt>
                <c:pt idx="511">
                  <c:v>1.6220000000000001</c:v>
                </c:pt>
                <c:pt idx="512">
                  <c:v>1.6950000000000001</c:v>
                </c:pt>
                <c:pt idx="513">
                  <c:v>1.6375</c:v>
                </c:pt>
                <c:pt idx="514">
                  <c:v>1.6281000000000001</c:v>
                </c:pt>
                <c:pt idx="515">
                  <c:v>1.7350000000000001</c:v>
                </c:pt>
                <c:pt idx="516">
                  <c:v>1.7675000000000001</c:v>
                </c:pt>
                <c:pt idx="517">
                  <c:v>1.7909999999999999</c:v>
                </c:pt>
                <c:pt idx="518">
                  <c:v>1.7868999999999999</c:v>
                </c:pt>
                <c:pt idx="519">
                  <c:v>1.8032999999999999</c:v>
                </c:pt>
                <c:pt idx="520">
                  <c:v>1.8068</c:v>
                </c:pt>
                <c:pt idx="521">
                  <c:v>1.84</c:v>
                </c:pt>
                <c:pt idx="522">
                  <c:v>1.8514999999999999</c:v>
                </c:pt>
                <c:pt idx="523">
                  <c:v>1.8525</c:v>
                </c:pt>
                <c:pt idx="524">
                  <c:v>1.875</c:v>
                </c:pt>
                <c:pt idx="525">
                  <c:v>1.8845000000000001</c:v>
                </c:pt>
                <c:pt idx="526">
                  <c:v>1.905</c:v>
                </c:pt>
                <c:pt idx="527">
                  <c:v>1.95</c:v>
                </c:pt>
                <c:pt idx="528">
                  <c:v>1.972</c:v>
                </c:pt>
                <c:pt idx="529">
                  <c:v>1.9869000000000001</c:v>
                </c:pt>
                <c:pt idx="530">
                  <c:v>1.9810000000000001</c:v>
                </c:pt>
                <c:pt idx="531">
                  <c:v>1.9560999999999999</c:v>
                </c:pt>
                <c:pt idx="532">
                  <c:v>1.9590000000000001</c:v>
                </c:pt>
                <c:pt idx="533">
                  <c:v>1.9850000000000001</c:v>
                </c:pt>
                <c:pt idx="534">
                  <c:v>2.0419999999999998</c:v>
                </c:pt>
                <c:pt idx="535">
                  <c:v>2.06</c:v>
                </c:pt>
                <c:pt idx="536">
                  <c:v>2.0779999999999998</c:v>
                </c:pt>
                <c:pt idx="537">
                  <c:v>2.04</c:v>
                </c:pt>
                <c:pt idx="538">
                  <c:v>1.99</c:v>
                </c:pt>
                <c:pt idx="539">
                  <c:v>1.978</c:v>
                </c:pt>
                <c:pt idx="540">
                  <c:v>1.9811000000000001</c:v>
                </c:pt>
                <c:pt idx="541">
                  <c:v>2.0249999999999999</c:v>
                </c:pt>
                <c:pt idx="542">
                  <c:v>2.04</c:v>
                </c:pt>
                <c:pt idx="543">
                  <c:v>2.085</c:v>
                </c:pt>
                <c:pt idx="544">
                  <c:v>2.1189</c:v>
                </c:pt>
                <c:pt idx="545">
                  <c:v>2.1190000000000002</c:v>
                </c:pt>
                <c:pt idx="546">
                  <c:v>2.1225000000000001</c:v>
                </c:pt>
                <c:pt idx="547">
                  <c:v>2.2080000000000002</c:v>
                </c:pt>
                <c:pt idx="548">
                  <c:v>2.2244000000000002</c:v>
                </c:pt>
                <c:pt idx="549">
                  <c:v>2.2240000000000002</c:v>
                </c:pt>
                <c:pt idx="550">
                  <c:v>2.384999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4A7-4466-918A-6DD272D088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507483055"/>
        <c:axId val="1507487215"/>
      </c:lineChart>
      <c:dateAx>
        <c:axId val="150748305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1507487215"/>
        <c:crosses val="autoZero"/>
        <c:auto val="0"/>
        <c:lblOffset val="100"/>
        <c:baseTimeUnit val="days"/>
        <c:majorUnit val="50"/>
        <c:majorTimeUnit val="months"/>
      </c:dateAx>
      <c:valAx>
        <c:axId val="15074872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prstDash val="dashDot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150748305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  <c:userShapes r:id="rId4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Hovednæring og kommune'!$P$552</c:f>
              <c:strCache>
                <c:ptCount val="1"/>
                <c:pt idx="0">
                  <c:v>Verdiskapning</c:v>
                </c:pt>
              </c:strCache>
            </c:strRef>
          </c:tx>
          <c:spPr>
            <a:solidFill>
              <a:srgbClr val="188CE5">
                <a:lumMod val="50000"/>
              </a:srgbClr>
            </a:solidFill>
            <a:ln>
              <a:noFill/>
            </a:ln>
            <a:effectLst/>
          </c:spPr>
          <c:invertIfNegative val="0"/>
          <c:cat>
            <c:strRef>
              <c:f>'Hovednæring og kommune'!$O$553:$O$564</c:f>
              <c:strCache>
                <c:ptCount val="12"/>
                <c:pt idx="0">
                  <c:v>Medienæringen</c:v>
                </c:pt>
                <c:pt idx="1">
                  <c:v>Bank og Finans</c:v>
                </c:pt>
                <c:pt idx="2">
                  <c:v>Reiseliv</c:v>
                </c:pt>
                <c:pt idx="3">
                  <c:v>Jordbruk og skogbruk</c:v>
                </c:pt>
                <c:pt idx="4">
                  <c:v>Varehandel</c:v>
                </c:pt>
                <c:pt idx="5">
                  <c:v>Maritim</c:v>
                </c:pt>
                <c:pt idx="6">
                  <c:v>Fornybar energi</c:v>
                </c:pt>
                <c:pt idx="7">
                  <c:v>Marin</c:v>
                </c:pt>
                <c:pt idx="8">
                  <c:v>Industri</c:v>
                </c:pt>
                <c:pt idx="9">
                  <c:v>Tjenesteyting</c:v>
                </c:pt>
                <c:pt idx="10">
                  <c:v>Bygg, Anlegg og Eiendom</c:v>
                </c:pt>
                <c:pt idx="11">
                  <c:v>Olje og gass</c:v>
                </c:pt>
              </c:strCache>
            </c:strRef>
          </c:cat>
          <c:val>
            <c:numRef>
              <c:f>'Hovednæring og kommune'!$P$553:$P$564</c:f>
              <c:numCache>
                <c:formatCode>General</c:formatCode>
                <c:ptCount val="12"/>
                <c:pt idx="0">
                  <c:v>17841</c:v>
                </c:pt>
                <c:pt idx="1">
                  <c:v>103570.1102</c:v>
                </c:pt>
                <c:pt idx="2">
                  <c:v>227484</c:v>
                </c:pt>
                <c:pt idx="3">
                  <c:v>250234.0647895585</c:v>
                </c:pt>
                <c:pt idx="4">
                  <c:v>738844</c:v>
                </c:pt>
                <c:pt idx="5">
                  <c:v>814057.17320000008</c:v>
                </c:pt>
                <c:pt idx="6">
                  <c:v>875657</c:v>
                </c:pt>
                <c:pt idx="7">
                  <c:v>907659.06670000008</c:v>
                </c:pt>
                <c:pt idx="8">
                  <c:v>1012021</c:v>
                </c:pt>
                <c:pt idx="9">
                  <c:v>1474866</c:v>
                </c:pt>
                <c:pt idx="10">
                  <c:v>2009304</c:v>
                </c:pt>
                <c:pt idx="11">
                  <c:v>3636208.1613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095-4DA5-A0BC-F5674AAE47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axId val="566062360"/>
        <c:axId val="566069248"/>
      </c:barChart>
      <c:catAx>
        <c:axId val="56606236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9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566069248"/>
        <c:crosses val="autoZero"/>
        <c:auto val="1"/>
        <c:lblAlgn val="ctr"/>
        <c:lblOffset val="100"/>
        <c:noMultiLvlLbl val="0"/>
      </c:catAx>
      <c:valAx>
        <c:axId val="56606924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rgbClr val="FFFFFF">
                  <a:lumMod val="95000"/>
                </a:srgb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9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5660623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4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pivotSource>
    <c:name>[Nordhordland databaseuttrekk.xlsx]Nordhordland hovednæring!PivotTable2</c:name>
    <c:fmtId val="-1"/>
  </c:pivotSource>
  <c:chart>
    <c:autoTitleDeleted val="1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nb-NO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nb-NO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nb-NO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Nordhordland hovednæring'!$D$43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rgbClr val="0C4672"/>
            </a:solidFill>
            <a:ln>
              <a:noFill/>
            </a:ln>
            <a:effectLst/>
          </c:spPr>
          <c:invertIfNegative val="0"/>
          <c:cat>
            <c:strRef>
              <c:f>'Nordhordland hovednæring'!$C$44:$C$56</c:f>
              <c:strCache>
                <c:ptCount val="12"/>
                <c:pt idx="0">
                  <c:v>Bank og Finans</c:v>
                </c:pt>
                <c:pt idx="1">
                  <c:v>Medienæringen</c:v>
                </c:pt>
                <c:pt idx="2">
                  <c:v>Fornybar energi</c:v>
                </c:pt>
                <c:pt idx="3">
                  <c:v>Jordbruk og skogbruk</c:v>
                </c:pt>
                <c:pt idx="4">
                  <c:v>Reiseliv</c:v>
                </c:pt>
                <c:pt idx="5">
                  <c:v>Maritim</c:v>
                </c:pt>
                <c:pt idx="6">
                  <c:v>Marin</c:v>
                </c:pt>
                <c:pt idx="7">
                  <c:v>Industri</c:v>
                </c:pt>
                <c:pt idx="8">
                  <c:v>Varehandel</c:v>
                </c:pt>
                <c:pt idx="9">
                  <c:v>Bygg, Anlegg og Eiendom</c:v>
                </c:pt>
                <c:pt idx="10">
                  <c:v>Olje og gass</c:v>
                </c:pt>
                <c:pt idx="11">
                  <c:v>Tjenesteyting</c:v>
                </c:pt>
              </c:strCache>
            </c:strRef>
          </c:cat>
          <c:val>
            <c:numRef>
              <c:f>'Nordhordland hovednæring'!$D$44:$D$56</c:f>
              <c:numCache>
                <c:formatCode>General</c:formatCode>
                <c:ptCount val="12"/>
                <c:pt idx="0">
                  <c:v>27</c:v>
                </c:pt>
                <c:pt idx="1">
                  <c:v>31</c:v>
                </c:pt>
                <c:pt idx="2">
                  <c:v>177</c:v>
                </c:pt>
                <c:pt idx="3">
                  <c:v>491</c:v>
                </c:pt>
                <c:pt idx="4">
                  <c:v>577</c:v>
                </c:pt>
                <c:pt idx="5">
                  <c:v>658</c:v>
                </c:pt>
                <c:pt idx="6">
                  <c:v>714</c:v>
                </c:pt>
                <c:pt idx="7">
                  <c:v>1415</c:v>
                </c:pt>
                <c:pt idx="8">
                  <c:v>1852</c:v>
                </c:pt>
                <c:pt idx="9">
                  <c:v>2156</c:v>
                </c:pt>
                <c:pt idx="10">
                  <c:v>2553</c:v>
                </c:pt>
                <c:pt idx="11">
                  <c:v>28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636-4253-B27D-6B335DD11C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axId val="1555582592"/>
        <c:axId val="1555584232"/>
      </c:barChart>
      <c:catAx>
        <c:axId val="155558259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pPr>
            <a:endParaRPr lang="nb-NO"/>
          </a:p>
        </c:txPr>
        <c:crossAx val="1555584232"/>
        <c:crosses val="autoZero"/>
        <c:auto val="1"/>
        <c:lblAlgn val="ctr"/>
        <c:lblOffset val="100"/>
        <c:noMultiLvlLbl val="0"/>
      </c:catAx>
      <c:valAx>
        <c:axId val="155558423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rgbClr val="FFFFFF">
                  <a:lumMod val="95000"/>
                </a:srgb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pPr>
            <a:endParaRPr lang="nb-NO"/>
          </a:p>
        </c:txPr>
        <c:crossAx val="15555825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4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spPr>
            <a:solidFill>
              <a:schemeClr val="accent2">
                <a:lumMod val="75000"/>
              </a:schemeClr>
            </a:solidFill>
            <a:ln>
              <a:solidFill>
                <a:schemeClr val="tx1"/>
              </a:solidFill>
            </a:ln>
          </c:spPr>
          <c:dPt>
            <c:idx val="0"/>
            <c:bubble3D val="0"/>
            <c:spPr>
              <a:solidFill>
                <a:schemeClr val="accent2">
                  <a:lumMod val="75000"/>
                </a:schemeClr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0C4-4589-8868-14A247DC3DB8}"/>
              </c:ext>
            </c:extLst>
          </c:dPt>
          <c:dPt>
            <c:idx val="1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0C4-4589-8868-14A247DC3DB8}"/>
              </c:ext>
            </c:extLst>
          </c:dPt>
          <c:dPt>
            <c:idx val="2"/>
            <c:bubble3D val="0"/>
            <c:spPr>
              <a:solidFill>
                <a:schemeClr val="bg1">
                  <a:lumMod val="60000"/>
                  <a:lumOff val="40000"/>
                </a:schemeClr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20C4-4589-8868-14A247DC3DB8}"/>
              </c:ext>
            </c:extLst>
          </c:dPt>
          <c:dPt>
            <c:idx val="3"/>
            <c:bubble3D val="0"/>
            <c:spPr>
              <a:solidFill>
                <a:schemeClr val="accent3">
                  <a:lumMod val="50000"/>
                </a:schemeClr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20C4-4589-8868-14A247DC3DB8}"/>
              </c:ext>
            </c:extLst>
          </c:dPt>
          <c:cat>
            <c:strRef>
              <c:f>'Muligheter til scenarioene'!$C$41:$C$44</c:f>
              <c:strCache>
                <c:ptCount val="4"/>
                <c:pt idx="0">
                  <c:v>Marin</c:v>
                </c:pt>
                <c:pt idx="1">
                  <c:v>Fornybar energi</c:v>
                </c:pt>
                <c:pt idx="2">
                  <c:v>Industri</c:v>
                </c:pt>
                <c:pt idx="3">
                  <c:v>Tjenesteyting</c:v>
                </c:pt>
              </c:strCache>
            </c:strRef>
          </c:cat>
          <c:val>
            <c:numRef>
              <c:f>'Muligheter til scenarioene'!$D$41:$D$44</c:f>
              <c:numCache>
                <c:formatCode>General</c:formatCode>
                <c:ptCount val="4"/>
                <c:pt idx="0">
                  <c:v>208</c:v>
                </c:pt>
                <c:pt idx="1">
                  <c:v>49</c:v>
                </c:pt>
                <c:pt idx="2">
                  <c:v>290</c:v>
                </c:pt>
                <c:pt idx="3">
                  <c:v>2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20C4-4589-8868-14A247DC3D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spPr>
            <a:ln>
              <a:solidFill>
                <a:schemeClr val="tx1"/>
              </a:solidFill>
            </a:ln>
          </c:spPr>
          <c:dPt>
            <c:idx val="0"/>
            <c:bubble3D val="0"/>
            <c:spPr>
              <a:solidFill>
                <a:schemeClr val="accent2">
                  <a:lumMod val="75000"/>
                </a:schemeClr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AB5-47E9-B6CB-C7E90FDC4C7C}"/>
              </c:ext>
            </c:extLst>
          </c:dPt>
          <c:dPt>
            <c:idx val="1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AB5-47E9-B6CB-C7E90FDC4C7C}"/>
              </c:ext>
            </c:extLst>
          </c:dPt>
          <c:dPt>
            <c:idx val="2"/>
            <c:bubble3D val="0"/>
            <c:spPr>
              <a:solidFill>
                <a:schemeClr val="accent3">
                  <a:lumMod val="50000"/>
                </a:schemeClr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2AB5-47E9-B6CB-C7E90FDC4C7C}"/>
              </c:ext>
            </c:extLst>
          </c:dPt>
          <c:dPt>
            <c:idx val="3"/>
            <c:bubble3D val="0"/>
            <c:spPr>
              <a:solidFill>
                <a:schemeClr val="bg1">
                  <a:lumMod val="40000"/>
                  <a:lumOff val="60000"/>
                </a:schemeClr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2AB5-47E9-B6CB-C7E90FDC4C7C}"/>
              </c:ext>
            </c:extLst>
          </c:dPt>
          <c:dPt>
            <c:idx val="4"/>
            <c:bubble3D val="0"/>
            <c:spPr>
              <a:pattFill prst="ltDnDiag">
                <a:fgClr>
                  <a:schemeClr val="bg1">
                    <a:lumMod val="60000"/>
                    <a:lumOff val="40000"/>
                  </a:schemeClr>
                </a:fgClr>
                <a:bgClr>
                  <a:schemeClr val="tx1"/>
                </a:bgClr>
              </a:patt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2AB5-47E9-B6CB-C7E90FDC4C7C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2AB5-47E9-B6CB-C7E90FDC4C7C}"/>
              </c:ext>
            </c:extLst>
          </c:dPt>
          <c:cat>
            <c:strRef>
              <c:f>'Muligheter til scenarioene'!$C$50:$C$55</c:f>
              <c:strCache>
                <c:ptCount val="5"/>
                <c:pt idx="0">
                  <c:v>Marin</c:v>
                </c:pt>
                <c:pt idx="1">
                  <c:v>Fornybar energi</c:v>
                </c:pt>
                <c:pt idx="2">
                  <c:v>Tjenesteyting</c:v>
                </c:pt>
                <c:pt idx="3">
                  <c:v>Industri</c:v>
                </c:pt>
                <c:pt idx="4">
                  <c:v>Med batteri</c:v>
                </c:pt>
              </c:strCache>
            </c:strRef>
          </c:cat>
          <c:val>
            <c:numRef>
              <c:f>'Muligheter til scenarioene'!$D$50:$D$55</c:f>
              <c:numCache>
                <c:formatCode>General</c:formatCode>
                <c:ptCount val="6"/>
                <c:pt idx="0">
                  <c:v>208</c:v>
                </c:pt>
                <c:pt idx="1">
                  <c:v>49</c:v>
                </c:pt>
                <c:pt idx="2">
                  <c:v>250</c:v>
                </c:pt>
                <c:pt idx="3">
                  <c:v>290</c:v>
                </c:pt>
                <c:pt idx="4">
                  <c:v>1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2AB5-47E9-B6CB-C7E90FDC4C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415749475890987"/>
          <c:y val="2.8438697318007664E-2"/>
          <c:w val="0.65837264150943398"/>
          <c:h val="0.96258620689655172"/>
        </c:manualLayout>
      </c:layout>
      <c:doughnutChart>
        <c:varyColors val="1"/>
        <c:ser>
          <c:idx val="0"/>
          <c:order val="0"/>
          <c:spPr>
            <a:ln>
              <a:solidFill>
                <a:schemeClr val="tx1"/>
              </a:solidFill>
            </a:ln>
          </c:spPr>
          <c:dPt>
            <c:idx val="0"/>
            <c:bubble3D val="0"/>
            <c:spPr>
              <a:solidFill>
                <a:schemeClr val="accent2">
                  <a:lumMod val="50000"/>
                </a:schemeClr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85A-4041-BE8D-0DC72DB06798}"/>
              </c:ext>
            </c:extLst>
          </c:dPt>
          <c:dPt>
            <c:idx val="1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85A-4041-BE8D-0DC72DB06798}"/>
              </c:ext>
            </c:extLst>
          </c:dPt>
          <c:dPt>
            <c:idx val="2"/>
            <c:bubble3D val="0"/>
            <c:spPr>
              <a:solidFill>
                <a:schemeClr val="accent3">
                  <a:lumMod val="50000"/>
                </a:schemeClr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85A-4041-BE8D-0DC72DB06798}"/>
              </c:ext>
            </c:extLst>
          </c:dPt>
          <c:dPt>
            <c:idx val="3"/>
            <c:bubble3D val="0"/>
            <c:spPr>
              <a:solidFill>
                <a:schemeClr val="bg1">
                  <a:lumMod val="40000"/>
                  <a:lumOff val="60000"/>
                </a:schemeClr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85A-4041-BE8D-0DC72DB06798}"/>
              </c:ext>
            </c:extLst>
          </c:dPt>
          <c:dPt>
            <c:idx val="4"/>
            <c:bubble3D val="0"/>
            <c:spPr>
              <a:pattFill prst="ltUpDiag">
                <a:fgClr>
                  <a:schemeClr val="bg1">
                    <a:lumMod val="40000"/>
                    <a:lumOff val="60000"/>
                  </a:schemeClr>
                </a:fgClr>
                <a:bgClr>
                  <a:schemeClr val="tx1">
                    <a:lumMod val="95000"/>
                  </a:schemeClr>
                </a:bgClr>
              </a:patt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485A-4041-BE8D-0DC72DB06798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485A-4041-BE8D-0DC72DB06798}"/>
              </c:ext>
            </c:extLst>
          </c:dPt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b-N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485A-4041-BE8D-0DC72DB06798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b-N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485A-4041-BE8D-0DC72DB06798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Muligheter til scenarioene'!$C$49:$C$54</c:f>
              <c:strCache>
                <c:ptCount val="5"/>
                <c:pt idx="0">
                  <c:v>Marin</c:v>
                </c:pt>
                <c:pt idx="1">
                  <c:v>Fornybar energi</c:v>
                </c:pt>
                <c:pt idx="2">
                  <c:v>Tjenesteyting</c:v>
                </c:pt>
                <c:pt idx="3">
                  <c:v>Industri</c:v>
                </c:pt>
                <c:pt idx="4">
                  <c:v>Med batteri</c:v>
                </c:pt>
              </c:strCache>
            </c:strRef>
          </c:cat>
          <c:val>
            <c:numRef>
              <c:f>'Muligheter til scenarioene'!$D$49:$D$54</c:f>
              <c:numCache>
                <c:formatCode>General</c:formatCode>
                <c:ptCount val="6"/>
                <c:pt idx="0">
                  <c:v>208</c:v>
                </c:pt>
                <c:pt idx="1">
                  <c:v>49</c:v>
                </c:pt>
                <c:pt idx="2">
                  <c:v>250</c:v>
                </c:pt>
                <c:pt idx="3">
                  <c:v>290</c:v>
                </c:pt>
                <c:pt idx="4">
                  <c:v>1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485A-4041-BE8D-0DC72DB067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737552410901466"/>
          <c:y val="1.3840996168582375E-2"/>
          <c:w val="0.67501310272536696"/>
          <c:h val="0.98615900383141764"/>
        </c:manualLayout>
      </c:layout>
      <c:doughnutChart>
        <c:varyColors val="1"/>
        <c:ser>
          <c:idx val="0"/>
          <c:order val="0"/>
          <c:spPr>
            <a:ln>
              <a:solidFill>
                <a:schemeClr val="tx1"/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BDA-4C59-9D47-BB773C1CDAF5}"/>
              </c:ext>
            </c:extLst>
          </c:dPt>
          <c:dPt>
            <c:idx val="1"/>
            <c:bubble3D val="0"/>
            <c:spPr>
              <a:solidFill>
                <a:schemeClr val="accent2">
                  <a:lumMod val="50000"/>
                </a:schemeClr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BDA-4C59-9D47-BB773C1CDAF5}"/>
              </c:ext>
            </c:extLst>
          </c:dPt>
          <c:dPt>
            <c:idx val="2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0BDA-4C59-9D47-BB773C1CDAF5}"/>
              </c:ext>
            </c:extLst>
          </c:dPt>
          <c:dPt>
            <c:idx val="3"/>
            <c:bubble3D val="0"/>
            <c:spPr>
              <a:solidFill>
                <a:schemeClr val="accent3">
                  <a:lumMod val="50000"/>
                </a:schemeClr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0BDA-4C59-9D47-BB773C1CDAF5}"/>
              </c:ext>
            </c:extLst>
          </c:dPt>
          <c:dPt>
            <c:idx val="4"/>
            <c:bubble3D val="0"/>
            <c:spPr>
              <a:solidFill>
                <a:schemeClr val="bg1">
                  <a:lumMod val="40000"/>
                  <a:lumOff val="60000"/>
                </a:schemeClr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0BDA-4C59-9D47-BB773C1CDAF5}"/>
              </c:ext>
            </c:extLst>
          </c:dPt>
          <c:dPt>
            <c:idx val="5"/>
            <c:bubble3D val="0"/>
            <c:spPr>
              <a:pattFill prst="ltDnDiag">
                <a:fgClr>
                  <a:schemeClr val="bg1">
                    <a:lumMod val="40000"/>
                    <a:lumOff val="60000"/>
                  </a:schemeClr>
                </a:fgClr>
                <a:bgClr>
                  <a:schemeClr val="tx1"/>
                </a:bgClr>
              </a:patt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0BDA-4C59-9D47-BB773C1CDAF5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b-N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0BDA-4C59-9D47-BB773C1CDAF5}"/>
                </c:ext>
              </c:extLst>
            </c:dLbl>
            <c:dLbl>
              <c:idx val="3"/>
              <c:layout>
                <c:manualLayout>
                  <c:x val="-3.3847852234084805E-3"/>
                  <c:y val="6.27405280672676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b-N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0BDA-4C59-9D47-BB773C1CDAF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Muligheter til scenarioene'!$A$48:$A$53</c:f>
              <c:strCache>
                <c:ptCount val="6"/>
                <c:pt idx="0">
                  <c:v>Med batteri</c:v>
                </c:pt>
                <c:pt idx="1">
                  <c:v>Marin</c:v>
                </c:pt>
                <c:pt idx="2">
                  <c:v>Fornybar energi</c:v>
                </c:pt>
                <c:pt idx="3">
                  <c:v>Tjenesteyting</c:v>
                </c:pt>
                <c:pt idx="4">
                  <c:v>Industri</c:v>
                </c:pt>
                <c:pt idx="5">
                  <c:v>Med batteri</c:v>
                </c:pt>
              </c:strCache>
            </c:strRef>
          </c:cat>
          <c:val>
            <c:numRef>
              <c:f>'Muligheter til scenarioene'!$B$48:$B$53</c:f>
              <c:numCache>
                <c:formatCode>General</c:formatCode>
                <c:ptCount val="6"/>
                <c:pt idx="1">
                  <c:v>8.85</c:v>
                </c:pt>
                <c:pt idx="2">
                  <c:v>1.4490000000000001</c:v>
                </c:pt>
                <c:pt idx="3">
                  <c:v>0.75</c:v>
                </c:pt>
                <c:pt idx="4">
                  <c:v>8.7000000000000011</c:v>
                </c:pt>
                <c:pt idx="5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0BDA-4C59-9D47-BB773C1CDA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9926467385444922E-2"/>
          <c:y val="2.8200380836918785E-2"/>
          <c:w val="0.71315878901993168"/>
          <c:h val="0.88949345122104917"/>
        </c:manualLayout>
      </c:layout>
      <c:doughnutChart>
        <c:varyColors val="1"/>
        <c:ser>
          <c:idx val="0"/>
          <c:order val="0"/>
          <c:spPr>
            <a:ln>
              <a:solidFill>
                <a:schemeClr val="tx1"/>
              </a:solidFill>
            </a:ln>
          </c:spPr>
          <c:dPt>
            <c:idx val="0"/>
            <c:bubble3D val="0"/>
            <c:spPr>
              <a:solidFill>
                <a:schemeClr val="bg1">
                  <a:lumMod val="40000"/>
                  <a:lumOff val="60000"/>
                </a:schemeClr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79F-4FA1-A489-2ED80FC061BA}"/>
              </c:ext>
            </c:extLst>
          </c:dPt>
          <c:dPt>
            <c:idx val="1"/>
            <c:bubble3D val="0"/>
            <c:spPr>
              <a:pattFill prst="ltUpDiag">
                <a:fgClr>
                  <a:schemeClr val="bg1">
                    <a:lumMod val="40000"/>
                    <a:lumOff val="60000"/>
                  </a:schemeClr>
                </a:fgClr>
                <a:bgClr>
                  <a:schemeClr val="tx1"/>
                </a:bgClr>
              </a:patt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79F-4FA1-A489-2ED80FC061BA}"/>
              </c:ext>
            </c:extLst>
          </c:dPt>
          <c:dPt>
            <c:idx val="2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C79F-4FA1-A489-2ED80FC061BA}"/>
              </c:ext>
            </c:extLst>
          </c:dPt>
          <c:dPt>
            <c:idx val="3"/>
            <c:bubble3D val="0"/>
            <c:spPr>
              <a:solidFill>
                <a:schemeClr val="accent2">
                  <a:lumMod val="50000"/>
                </a:schemeClr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C79F-4FA1-A489-2ED80FC061BA}"/>
              </c:ext>
            </c:extLst>
          </c:dPt>
          <c:dPt>
            <c:idx val="4"/>
            <c:bubble3D val="0"/>
            <c:spPr>
              <a:solidFill>
                <a:schemeClr val="accent3">
                  <a:lumMod val="50000"/>
                </a:schemeClr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C79F-4FA1-A489-2ED80FC061BA}"/>
              </c:ext>
            </c:extLst>
          </c:dPt>
          <c:dPt>
            <c:idx val="5"/>
            <c:bubble3D val="0"/>
            <c:spPr>
              <a:solidFill>
                <a:schemeClr val="accent1">
                  <a:lumMod val="20000"/>
                  <a:lumOff val="80000"/>
                </a:schemeClr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C79F-4FA1-A489-2ED80FC061BA}"/>
              </c:ext>
            </c:extLst>
          </c:dPt>
          <c:dLbls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b-N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C79F-4FA1-A489-2ED80FC061BA}"/>
                </c:ext>
              </c:extLst>
            </c:dLbl>
            <c:dLbl>
              <c:idx val="2"/>
              <c:layout>
                <c:manualLayout>
                  <c:x val="-3.3347228011671531E-2"/>
                  <c:y val="2.3148148148148064E-2"/>
                </c:manualLayout>
              </c:layout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b-N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C79F-4FA1-A489-2ED80FC061BA}"/>
                </c:ext>
              </c:extLst>
            </c:dLbl>
            <c:dLbl>
              <c:idx val="5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b-N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C79F-4FA1-A489-2ED80FC061BA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Muligheter til scenarioene'!$B$100:$B$105</c:f>
              <c:strCache>
                <c:ptCount val="6"/>
                <c:pt idx="0">
                  <c:v>Industri</c:v>
                </c:pt>
                <c:pt idx="1">
                  <c:v>Batterifabrikk</c:v>
                </c:pt>
                <c:pt idx="2">
                  <c:v>Fornybar energi</c:v>
                </c:pt>
                <c:pt idx="3">
                  <c:v>Marin</c:v>
                </c:pt>
                <c:pt idx="4">
                  <c:v>Tjenesteyting</c:v>
                </c:pt>
                <c:pt idx="5">
                  <c:v>Andre næringer (bygg og anlegg, reiseliv, m.m.)</c:v>
                </c:pt>
              </c:strCache>
            </c:strRef>
          </c:cat>
          <c:val>
            <c:numRef>
              <c:f>'Muligheter til scenarioene'!$C$100:$C$105</c:f>
              <c:numCache>
                <c:formatCode>General</c:formatCode>
                <c:ptCount val="6"/>
                <c:pt idx="0">
                  <c:v>624</c:v>
                </c:pt>
                <c:pt idx="1">
                  <c:v>2400</c:v>
                </c:pt>
                <c:pt idx="2">
                  <c:v>49</c:v>
                </c:pt>
                <c:pt idx="3">
                  <c:v>208</c:v>
                </c:pt>
                <c:pt idx="4">
                  <c:v>473</c:v>
                </c:pt>
                <c:pt idx="5">
                  <c:v>5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C79F-4FA1-A489-2ED80FC061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329267870188935"/>
          <c:y val="6.1429642316223859E-2"/>
          <c:w val="0.87703731594153678"/>
          <c:h val="0.66314524139812436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ntall fødte</c:v>
                </c:pt>
              </c:strCache>
            </c:strRef>
          </c:tx>
          <c:spPr>
            <a:ln w="28575" cap="rnd">
              <a:solidFill>
                <a:schemeClr val="accent1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Sheet1!$A$2:$A$23</c:f>
              <c:numCache>
                <c:formatCode>m/d/yyyy</c:formatCode>
                <c:ptCount val="22"/>
                <c:pt idx="0">
                  <c:v>36526</c:v>
                </c:pt>
                <c:pt idx="1">
                  <c:v>36922</c:v>
                </c:pt>
                <c:pt idx="2">
                  <c:v>37287</c:v>
                </c:pt>
                <c:pt idx="3">
                  <c:v>37652</c:v>
                </c:pt>
                <c:pt idx="4">
                  <c:v>38017</c:v>
                </c:pt>
                <c:pt idx="5">
                  <c:v>38383</c:v>
                </c:pt>
                <c:pt idx="6">
                  <c:v>38748</c:v>
                </c:pt>
                <c:pt idx="7">
                  <c:v>39113</c:v>
                </c:pt>
                <c:pt idx="8">
                  <c:v>39478</c:v>
                </c:pt>
                <c:pt idx="9">
                  <c:v>39844</c:v>
                </c:pt>
                <c:pt idx="10">
                  <c:v>40209</c:v>
                </c:pt>
                <c:pt idx="11">
                  <c:v>40574</c:v>
                </c:pt>
                <c:pt idx="12">
                  <c:v>40939</c:v>
                </c:pt>
                <c:pt idx="13">
                  <c:v>41305</c:v>
                </c:pt>
                <c:pt idx="14">
                  <c:v>41670</c:v>
                </c:pt>
                <c:pt idx="15">
                  <c:v>42035</c:v>
                </c:pt>
                <c:pt idx="16">
                  <c:v>42400</c:v>
                </c:pt>
                <c:pt idx="17">
                  <c:v>42766</c:v>
                </c:pt>
                <c:pt idx="18">
                  <c:v>43131</c:v>
                </c:pt>
                <c:pt idx="19">
                  <c:v>43496</c:v>
                </c:pt>
                <c:pt idx="20">
                  <c:v>43861</c:v>
                </c:pt>
                <c:pt idx="21">
                  <c:v>44561</c:v>
                </c:pt>
              </c:numCache>
            </c:numRef>
          </c:cat>
          <c:val>
            <c:numRef>
              <c:f>Sheet1!$B$2:$B$23</c:f>
              <c:numCache>
                <c:formatCode>General</c:formatCode>
                <c:ptCount val="22"/>
                <c:pt idx="0">
                  <c:v>3269</c:v>
                </c:pt>
                <c:pt idx="1">
                  <c:v>3092</c:v>
                </c:pt>
                <c:pt idx="2">
                  <c:v>3193</c:v>
                </c:pt>
                <c:pt idx="3">
                  <c:v>3186</c:v>
                </c:pt>
                <c:pt idx="4">
                  <c:v>3294</c:v>
                </c:pt>
                <c:pt idx="5">
                  <c:v>3363</c:v>
                </c:pt>
                <c:pt idx="6">
                  <c:v>3350</c:v>
                </c:pt>
                <c:pt idx="7">
                  <c:v>3371</c:v>
                </c:pt>
                <c:pt idx="8">
                  <c:v>3459</c:v>
                </c:pt>
                <c:pt idx="9">
                  <c:v>3517</c:v>
                </c:pt>
                <c:pt idx="10">
                  <c:v>3547</c:v>
                </c:pt>
                <c:pt idx="11">
                  <c:v>3498</c:v>
                </c:pt>
                <c:pt idx="12">
                  <c:v>3440</c:v>
                </c:pt>
                <c:pt idx="13">
                  <c:v>3441</c:v>
                </c:pt>
                <c:pt idx="14">
                  <c:v>3394</c:v>
                </c:pt>
                <c:pt idx="15">
                  <c:v>3527</c:v>
                </c:pt>
                <c:pt idx="16">
                  <c:v>3551</c:v>
                </c:pt>
                <c:pt idx="17">
                  <c:v>3218</c:v>
                </c:pt>
                <c:pt idx="18">
                  <c:v>3167</c:v>
                </c:pt>
                <c:pt idx="19">
                  <c:v>3192</c:v>
                </c:pt>
                <c:pt idx="20">
                  <c:v>3118</c:v>
                </c:pt>
                <c:pt idx="21">
                  <c:v>32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327-4DF6-B930-AD6062731B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71984175"/>
        <c:axId val="1171986671"/>
      </c:lineChart>
      <c:dateAx>
        <c:axId val="1171984175"/>
        <c:scaling>
          <c:orientation val="minMax"/>
          <c:max val="44562"/>
        </c:scaling>
        <c:delete val="0"/>
        <c:axPos val="b"/>
        <c:numFmt formatCode="yyyy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1171986671"/>
        <c:crosses val="autoZero"/>
        <c:auto val="0"/>
        <c:lblOffset val="100"/>
        <c:baseTimeUnit val="years"/>
        <c:minorUnit val="1"/>
      </c:dateAx>
      <c:valAx>
        <c:axId val="11719866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Dot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117198417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252343900431239"/>
          <c:y val="6.7847349776642835E-2"/>
          <c:w val="0.65701386761986369"/>
          <c:h val="0.93215265022335714"/>
        </c:manualLayout>
      </c:layout>
      <c:doughnutChart>
        <c:varyColors val="1"/>
        <c:ser>
          <c:idx val="0"/>
          <c:order val="0"/>
          <c:spPr>
            <a:ln>
              <a:solidFill>
                <a:schemeClr val="tx1"/>
              </a:solidFill>
            </a:ln>
          </c:spPr>
          <c:dPt>
            <c:idx val="0"/>
            <c:bubble3D val="0"/>
            <c:spPr>
              <a:solidFill>
                <a:schemeClr val="bg1">
                  <a:lumMod val="20000"/>
                  <a:lumOff val="80000"/>
                </a:schemeClr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8E6-4ED5-B3D2-41F587C5BF54}"/>
              </c:ext>
            </c:extLst>
          </c:dPt>
          <c:dPt>
            <c:idx val="1"/>
            <c:bubble3D val="0"/>
            <c:spPr>
              <a:solidFill>
                <a:schemeClr val="accent3">
                  <a:lumMod val="20000"/>
                  <a:lumOff val="80000"/>
                </a:schemeClr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8E6-4ED5-B3D2-41F587C5BF54}"/>
              </c:ext>
            </c:extLst>
          </c:dPt>
          <c:cat>
            <c:strRef>
              <c:f>'Muligheter til scenarioene'!$B$76:$B$77</c:f>
              <c:strCache>
                <c:ptCount val="2"/>
                <c:pt idx="0">
                  <c:v>Kraftkrevende industri</c:v>
                </c:pt>
                <c:pt idx="1">
                  <c:v>Ikke kraftkrevende industri</c:v>
                </c:pt>
              </c:strCache>
            </c:strRef>
          </c:cat>
          <c:val>
            <c:numRef>
              <c:f>'Muligheter til scenarioene'!$C$76:$C$77</c:f>
              <c:numCache>
                <c:formatCode>0%</c:formatCode>
                <c:ptCount val="2"/>
                <c:pt idx="0">
                  <c:v>0.7</c:v>
                </c:pt>
                <c:pt idx="1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8E6-4ED5-B3D2-41F587C5BF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'Hovednæring-pivot_Opp'!$B$117:$B$128</c:f>
              <c:strCache>
                <c:ptCount val="12"/>
                <c:pt idx="0">
                  <c:v>Fornybar energi</c:v>
                </c:pt>
                <c:pt idx="1">
                  <c:v>Bank og Finans</c:v>
                </c:pt>
                <c:pt idx="2">
                  <c:v>Jordbruk og skogbruk</c:v>
                </c:pt>
                <c:pt idx="3">
                  <c:v>Medienæringen</c:v>
                </c:pt>
                <c:pt idx="4">
                  <c:v>Marin</c:v>
                </c:pt>
                <c:pt idx="5">
                  <c:v>Maritim</c:v>
                </c:pt>
                <c:pt idx="6">
                  <c:v>Industri</c:v>
                </c:pt>
                <c:pt idx="7">
                  <c:v>Reiseliv</c:v>
                </c:pt>
                <c:pt idx="8">
                  <c:v>Bygg, Anlegg og Eiendom</c:v>
                </c:pt>
                <c:pt idx="9">
                  <c:v>Varehandel</c:v>
                </c:pt>
                <c:pt idx="10">
                  <c:v>Olje og gass</c:v>
                </c:pt>
                <c:pt idx="11">
                  <c:v>Tjenesteyting</c:v>
                </c:pt>
              </c:strCache>
            </c:strRef>
          </c:cat>
          <c:val>
            <c:numRef>
              <c:f>'Hovednæring-pivot_Opp'!$C$117:$C$128</c:f>
              <c:numCache>
                <c:formatCode>#,##0</c:formatCode>
                <c:ptCount val="12"/>
                <c:pt idx="0">
                  <c:v>0</c:v>
                </c:pt>
                <c:pt idx="1">
                  <c:v>40</c:v>
                </c:pt>
                <c:pt idx="2">
                  <c:v>45</c:v>
                </c:pt>
                <c:pt idx="3">
                  <c:v>257</c:v>
                </c:pt>
                <c:pt idx="4">
                  <c:v>604</c:v>
                </c:pt>
                <c:pt idx="5">
                  <c:v>642</c:v>
                </c:pt>
                <c:pt idx="6">
                  <c:v>935</c:v>
                </c:pt>
                <c:pt idx="7">
                  <c:v>944</c:v>
                </c:pt>
                <c:pt idx="8">
                  <c:v>2177</c:v>
                </c:pt>
                <c:pt idx="9">
                  <c:v>2146</c:v>
                </c:pt>
                <c:pt idx="10">
                  <c:v>2163</c:v>
                </c:pt>
                <c:pt idx="11">
                  <c:v>24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B9A-4F8A-871C-D152C22D99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951763536"/>
        <c:axId val="951760912"/>
      </c:barChart>
      <c:catAx>
        <c:axId val="95176353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951760912"/>
        <c:crosses val="autoZero"/>
        <c:auto val="1"/>
        <c:lblAlgn val="ctr"/>
        <c:lblOffset val="100"/>
        <c:noMultiLvlLbl val="0"/>
      </c:catAx>
      <c:valAx>
        <c:axId val="95176091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9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9517635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'Hovednæring-pivot_Opp'!$B$26:$B$37</c:f>
              <c:strCache>
                <c:ptCount val="12"/>
                <c:pt idx="0">
                  <c:v>Olje og gass</c:v>
                </c:pt>
                <c:pt idx="1">
                  <c:v>Bygg, Anlegg og Eiendom</c:v>
                </c:pt>
                <c:pt idx="2">
                  <c:v>Tjenesteyting</c:v>
                </c:pt>
                <c:pt idx="3">
                  <c:v>Marin</c:v>
                </c:pt>
                <c:pt idx="4">
                  <c:v>Varehandel</c:v>
                </c:pt>
                <c:pt idx="5">
                  <c:v>Maritim</c:v>
                </c:pt>
                <c:pt idx="6">
                  <c:v>Industri</c:v>
                </c:pt>
                <c:pt idx="7">
                  <c:v>Reiseliv</c:v>
                </c:pt>
                <c:pt idx="8">
                  <c:v>Bank og Finans</c:v>
                </c:pt>
                <c:pt idx="9">
                  <c:v>Medienæringen</c:v>
                </c:pt>
                <c:pt idx="10">
                  <c:v>Fornybar energi</c:v>
                </c:pt>
                <c:pt idx="11">
                  <c:v>Jordbruk og skogbruk</c:v>
                </c:pt>
              </c:strCache>
            </c:strRef>
          </c:cat>
          <c:val>
            <c:numRef>
              <c:f>'Hovednæring-pivot_Opp'!$C$26:$C$37</c:f>
              <c:numCache>
                <c:formatCode>#,##0</c:formatCode>
                <c:ptCount val="12"/>
                <c:pt idx="0">
                  <c:v>2244374.7766999998</c:v>
                </c:pt>
                <c:pt idx="1">
                  <c:v>1821268</c:v>
                </c:pt>
                <c:pt idx="2">
                  <c:v>1031869</c:v>
                </c:pt>
                <c:pt idx="3">
                  <c:v>715426.83299999998</c:v>
                </c:pt>
                <c:pt idx="4">
                  <c:v>890296</c:v>
                </c:pt>
                <c:pt idx="5">
                  <c:v>621502.00049999997</c:v>
                </c:pt>
                <c:pt idx="6">
                  <c:v>611019</c:v>
                </c:pt>
                <c:pt idx="7">
                  <c:v>289920</c:v>
                </c:pt>
                <c:pt idx="8">
                  <c:v>540739</c:v>
                </c:pt>
                <c:pt idx="9">
                  <c:v>231012</c:v>
                </c:pt>
                <c:pt idx="10">
                  <c:v>5938</c:v>
                </c:pt>
                <c:pt idx="11">
                  <c:v>15287.4834374533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FA1-43B8-8577-C2BF95E925A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7"/>
        <c:axId val="1307366320"/>
        <c:axId val="1307370584"/>
      </c:barChart>
      <c:catAx>
        <c:axId val="13073663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1307370584"/>
        <c:crosses val="autoZero"/>
        <c:auto val="1"/>
        <c:lblAlgn val="ctr"/>
        <c:lblOffset val="100"/>
        <c:noMultiLvlLbl val="0"/>
      </c:catAx>
      <c:valAx>
        <c:axId val="13073705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9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nb-NO">
                    <a:solidFill>
                      <a:schemeClr val="bg2"/>
                    </a:solidFill>
                  </a:rPr>
                  <a:t>Verdiskapning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pPr>
              <a:endParaRPr lang="nb-NO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13073663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ntall innbyggere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  <a:effectLst/>
          </c:spPr>
          <c:invertIfNegative val="0"/>
          <c:cat>
            <c:numRef>
              <c:f>Sheet1!$A$2:$A$20</c:f>
              <c:numCache>
                <c:formatCode>m/d/yyyy</c:formatCode>
                <c:ptCount val="19"/>
                <c:pt idx="0">
                  <c:v>44592</c:v>
                </c:pt>
                <c:pt idx="1">
                  <c:v>44957</c:v>
                </c:pt>
                <c:pt idx="2">
                  <c:v>45322</c:v>
                </c:pt>
                <c:pt idx="3">
                  <c:v>45688</c:v>
                </c:pt>
                <c:pt idx="4">
                  <c:v>46053</c:v>
                </c:pt>
                <c:pt idx="5">
                  <c:v>46418</c:v>
                </c:pt>
                <c:pt idx="6">
                  <c:v>46783</c:v>
                </c:pt>
                <c:pt idx="7">
                  <c:v>47149</c:v>
                </c:pt>
                <c:pt idx="8">
                  <c:v>47514</c:v>
                </c:pt>
                <c:pt idx="9">
                  <c:v>47879</c:v>
                </c:pt>
                <c:pt idx="10">
                  <c:v>48244</c:v>
                </c:pt>
              </c:numCache>
            </c:numRef>
          </c:cat>
          <c:val>
            <c:numRef>
              <c:f>Sheet1!$B$2:$B$20</c:f>
              <c:numCache>
                <c:formatCode>0</c:formatCode>
                <c:ptCount val="19"/>
                <c:pt idx="0">
                  <c:v>287349</c:v>
                </c:pt>
                <c:pt idx="1">
                  <c:v>289014</c:v>
                </c:pt>
                <c:pt idx="2">
                  <c:v>290532</c:v>
                </c:pt>
                <c:pt idx="3">
                  <c:v>291952</c:v>
                </c:pt>
                <c:pt idx="4">
                  <c:v>293310</c:v>
                </c:pt>
                <c:pt idx="5">
                  <c:v>294675</c:v>
                </c:pt>
                <c:pt idx="6">
                  <c:v>296054</c:v>
                </c:pt>
                <c:pt idx="7">
                  <c:v>297442</c:v>
                </c:pt>
                <c:pt idx="8">
                  <c:v>298834</c:v>
                </c:pt>
                <c:pt idx="9">
                  <c:v>300221</c:v>
                </c:pt>
                <c:pt idx="10">
                  <c:v>3015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56E-421A-868C-F3A96104B7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70819104"/>
        <c:axId val="1770817024"/>
      </c:barChart>
      <c:dateAx>
        <c:axId val="1770819104"/>
        <c:scaling>
          <c:orientation val="minMax"/>
        </c:scaling>
        <c:delete val="0"/>
        <c:axPos val="b"/>
        <c:numFmt formatCode="yyyy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1770817024"/>
        <c:crosses val="autoZero"/>
        <c:auto val="1"/>
        <c:lblOffset val="100"/>
        <c:baseTimeUnit val="years"/>
      </c:dateAx>
      <c:valAx>
        <c:axId val="17708170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Dot"/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17708191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NYBYGG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cat>
            <c:numRef>
              <c:f>'Ark1'!$A$2:$A$9</c:f>
              <c:numCache>
                <c:formatCode>General</c:formatCode>
                <c:ptCount val="8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  <c:pt idx="7">
                  <c:v>2023</c:v>
                </c:pt>
              </c:numCache>
            </c:numRef>
          </c:cat>
          <c:val>
            <c:numRef>
              <c:f>'Ark1'!$B$2:$B$9</c:f>
              <c:numCache>
                <c:formatCode>General</c:formatCode>
                <c:ptCount val="8"/>
                <c:pt idx="0">
                  <c:v>32500</c:v>
                </c:pt>
                <c:pt idx="1">
                  <c:v>0</c:v>
                </c:pt>
                <c:pt idx="2">
                  <c:v>10000</c:v>
                </c:pt>
                <c:pt idx="3">
                  <c:v>19500</c:v>
                </c:pt>
                <c:pt idx="4">
                  <c:v>15000</c:v>
                </c:pt>
                <c:pt idx="5">
                  <c:v>20000</c:v>
                </c:pt>
                <c:pt idx="6">
                  <c:v>30000</c:v>
                </c:pt>
                <c:pt idx="7">
                  <c:v>4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F33-4914-89A0-15C6D7553A09}"/>
            </c:ext>
          </c:extLst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KONVERTERING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'Ark1'!$A$2:$A$9</c:f>
              <c:numCache>
                <c:formatCode>General</c:formatCode>
                <c:ptCount val="8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  <c:pt idx="7">
                  <c:v>2023</c:v>
                </c:pt>
              </c:numCache>
            </c:numRef>
          </c:cat>
          <c:val>
            <c:numRef>
              <c:f>'Ark1'!$C$2:$C$9</c:f>
              <c:numCache>
                <c:formatCode>General</c:formatCode>
                <c:ptCount val="8"/>
                <c:pt idx="0">
                  <c:v>0</c:v>
                </c:pt>
                <c:pt idx="1">
                  <c:v>-5000</c:v>
                </c:pt>
                <c:pt idx="2">
                  <c:v>-15000</c:v>
                </c:pt>
                <c:pt idx="3">
                  <c:v>-10000</c:v>
                </c:pt>
                <c:pt idx="4">
                  <c:v>-40000</c:v>
                </c:pt>
                <c:pt idx="5">
                  <c:v>-10000</c:v>
                </c:pt>
                <c:pt idx="6">
                  <c:v>-5000</c:v>
                </c:pt>
                <c:pt idx="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F33-4914-89A0-15C6D7553A09}"/>
            </c:ext>
          </c:extLst>
        </c:ser>
        <c:ser>
          <c:idx val="2"/>
          <c:order val="2"/>
          <c:tx>
            <c:strRef>
              <c:f>'Ark1'!$D$1</c:f>
              <c:strCache>
                <c:ptCount val="1"/>
                <c:pt idx="0">
                  <c:v>NETTO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cat>
            <c:numRef>
              <c:f>'Ark1'!$A$2:$A$9</c:f>
              <c:numCache>
                <c:formatCode>General</c:formatCode>
                <c:ptCount val="8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  <c:pt idx="7">
                  <c:v>2023</c:v>
                </c:pt>
              </c:numCache>
            </c:numRef>
          </c:cat>
          <c:val>
            <c:numRef>
              <c:f>'Ark1'!$D$2:$D$9</c:f>
              <c:numCache>
                <c:formatCode>General</c:formatCode>
                <c:ptCount val="8"/>
                <c:pt idx="1">
                  <c:v>-5000</c:v>
                </c:pt>
                <c:pt idx="2">
                  <c:v>-5000</c:v>
                </c:pt>
                <c:pt idx="3">
                  <c:v>9500</c:v>
                </c:pt>
                <c:pt idx="4">
                  <c:v>-25000</c:v>
                </c:pt>
                <c:pt idx="5">
                  <c:v>15000</c:v>
                </c:pt>
                <c:pt idx="6">
                  <c:v>25000</c:v>
                </c:pt>
                <c:pt idx="7">
                  <c:v>4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F33-4914-89A0-15C6D7553A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048767488"/>
        <c:axId val="1048767816"/>
      </c:barChart>
      <c:catAx>
        <c:axId val="10487674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3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1048767816"/>
        <c:crosses val="autoZero"/>
        <c:auto val="1"/>
        <c:lblAlgn val="ctr"/>
        <c:lblOffset val="100"/>
        <c:noMultiLvlLbl val="0"/>
      </c:catAx>
      <c:valAx>
        <c:axId val="10487678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10487674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9620603282872169E-2"/>
          <c:y val="3.7562876607654533E-2"/>
          <c:w val="0.93734116361517261"/>
          <c:h val="0.6103444883956626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ksisterende bygg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cat>
            <c:strRef>
              <c:f>Sheet1!$A$2:$A$10</c:f>
              <c:strCache>
                <c:ptCount val="9"/>
                <c:pt idx="0">
                  <c:v>Bergen sentrum</c:v>
                </c:pt>
                <c:pt idx="1">
                  <c:v>Marineh./Solheimsv.</c:v>
                </c:pt>
                <c:pt idx="2">
                  <c:v>Næringskorridoren</c:v>
                </c:pt>
                <c:pt idx="3">
                  <c:v>Bergen sør</c:v>
                </c:pt>
                <c:pt idx="4">
                  <c:v>Fyllingsdalen</c:v>
                </c:pt>
                <c:pt idx="5">
                  <c:v>Sandsli/Kokstad/Flesland</c:v>
                </c:pt>
                <c:pt idx="6">
                  <c:v>Espehaugen/Lønningen</c:v>
                </c:pt>
                <c:pt idx="7">
                  <c:v>Bergen vest</c:v>
                </c:pt>
                <c:pt idx="8">
                  <c:v>Bergen nord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1700</c:v>
                </c:pt>
                <c:pt idx="1">
                  <c:v>1700</c:v>
                </c:pt>
                <c:pt idx="2">
                  <c:v>1600</c:v>
                </c:pt>
                <c:pt idx="3">
                  <c:v>1600</c:v>
                </c:pt>
                <c:pt idx="4">
                  <c:v>1500</c:v>
                </c:pt>
                <c:pt idx="5">
                  <c:v>1300</c:v>
                </c:pt>
                <c:pt idx="6">
                  <c:v>1200</c:v>
                </c:pt>
                <c:pt idx="7">
                  <c:v>1500</c:v>
                </c:pt>
                <c:pt idx="8">
                  <c:v>14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F01-4CC6-986F-036A8E19B9F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ybygg/Total rehab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  <a:effectLst/>
          </c:spPr>
          <c:invertIfNegative val="0"/>
          <c:cat>
            <c:strRef>
              <c:f>Sheet1!$A$2:$A$10</c:f>
              <c:strCache>
                <c:ptCount val="9"/>
                <c:pt idx="0">
                  <c:v>Bergen sentrum</c:v>
                </c:pt>
                <c:pt idx="1">
                  <c:v>Marineh./Solheimsv.</c:v>
                </c:pt>
                <c:pt idx="2">
                  <c:v>Næringskorridoren</c:v>
                </c:pt>
                <c:pt idx="3">
                  <c:v>Bergen sør</c:v>
                </c:pt>
                <c:pt idx="4">
                  <c:v>Fyllingsdalen</c:v>
                </c:pt>
                <c:pt idx="5">
                  <c:v>Sandsli/Kokstad/Flesland</c:v>
                </c:pt>
                <c:pt idx="6">
                  <c:v>Espehaugen/Lønningen</c:v>
                </c:pt>
                <c:pt idx="7">
                  <c:v>Bergen vest</c:v>
                </c:pt>
                <c:pt idx="8">
                  <c:v>Bergen nord</c:v>
                </c:pt>
              </c:strCache>
            </c:strRef>
          </c:cat>
          <c:val>
            <c:numRef>
              <c:f>Sheet1!$C$2:$C$10</c:f>
              <c:numCache>
                <c:formatCode>General</c:formatCode>
                <c:ptCount val="9"/>
                <c:pt idx="0">
                  <c:v>1200</c:v>
                </c:pt>
                <c:pt idx="1">
                  <c:v>800</c:v>
                </c:pt>
                <c:pt idx="2">
                  <c:v>800</c:v>
                </c:pt>
                <c:pt idx="3">
                  <c:v>300</c:v>
                </c:pt>
                <c:pt idx="4">
                  <c:v>350</c:v>
                </c:pt>
                <c:pt idx="5">
                  <c:v>300</c:v>
                </c:pt>
                <c:pt idx="6">
                  <c:v>300</c:v>
                </c:pt>
                <c:pt idx="7">
                  <c:v>300</c:v>
                </c:pt>
                <c:pt idx="8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F01-4CC6-986F-036A8E19B9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0"/>
        <c:overlap val="100"/>
        <c:axId val="269381951"/>
        <c:axId val="269393183"/>
      </c:barChart>
      <c:catAx>
        <c:axId val="26938195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b" anchorCtr="0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269393183"/>
        <c:crosses val="autoZero"/>
        <c:auto val="1"/>
        <c:lblAlgn val="ctr"/>
        <c:lblOffset val="100"/>
        <c:noMultiLvlLbl val="0"/>
      </c:catAx>
      <c:valAx>
        <c:axId val="269393183"/>
        <c:scaling>
          <c:orientation val="minMax"/>
          <c:min val="1000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prstDash val="dashDot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26938195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  <c:userShapes r:id="rId4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9715850736049296E-2"/>
          <c:y val="0.11101068223153431"/>
          <c:w val="0.87990008495314898"/>
          <c:h val="0.71045388797652598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'Ark1'!$C$1</c:f>
              <c:strCache>
                <c:ptCount val="1"/>
                <c:pt idx="0">
                  <c:v>AREAL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Pt>
            <c:idx val="17"/>
            <c:invertIfNegative val="0"/>
            <c:bubble3D val="0"/>
            <c:spPr>
              <a:solidFill>
                <a:srgbClr val="FF0000"/>
              </a:solidFill>
              <a:ln>
                <a:noFill/>
                <a:prstDash val="sysDot"/>
              </a:ln>
              <a:effectLst/>
            </c:spPr>
            <c:extLst>
              <c:ext xmlns:c16="http://schemas.microsoft.com/office/drawing/2014/chart" uri="{C3380CC4-5D6E-409C-BE32-E72D297353CC}">
                <c16:uniqueId val="{00000007-8C10-4BA9-BB3F-67A8256BB5CE}"/>
              </c:ext>
            </c:extLst>
          </c:dPt>
          <c:dPt>
            <c:idx val="18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8C10-4BA9-BB3F-67A8256BB5CE}"/>
              </c:ext>
            </c:extLst>
          </c:dPt>
          <c:dPt>
            <c:idx val="20"/>
            <c:invertIfNegative val="0"/>
            <c:bubble3D val="0"/>
            <c:spPr>
              <a:solidFill>
                <a:srgbClr val="00206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969F-4AEF-AB5B-D5E5A3565DFF}"/>
              </c:ext>
            </c:extLst>
          </c:dPt>
          <c:dPt>
            <c:idx val="21"/>
            <c:invertIfNegative val="0"/>
            <c:bubble3D val="0"/>
            <c:spPr>
              <a:solidFill>
                <a:srgbClr val="00206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969F-4AEF-AB5B-D5E5A3565DFF}"/>
              </c:ext>
            </c:extLst>
          </c:dPt>
          <c:cat>
            <c:numRef>
              <c:f>'Ark1'!$A$2:$A$23</c:f>
              <c:numCache>
                <c:formatCode>General</c:formatCode>
                <c:ptCount val="22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</c:v>
                </c:pt>
                <c:pt idx="12">
                  <c:v>2014</c:v>
                </c:pt>
                <c:pt idx="13">
                  <c:v>2015</c:v>
                </c:pt>
                <c:pt idx="14">
                  <c:v>2016</c:v>
                </c:pt>
                <c:pt idx="15">
                  <c:v>2017</c:v>
                </c:pt>
                <c:pt idx="16">
                  <c:v>2018</c:v>
                </c:pt>
                <c:pt idx="17">
                  <c:v>2019</c:v>
                </c:pt>
                <c:pt idx="18">
                  <c:v>2020</c:v>
                </c:pt>
                <c:pt idx="19">
                  <c:v>2021</c:v>
                </c:pt>
                <c:pt idx="20">
                  <c:v>2022</c:v>
                </c:pt>
                <c:pt idx="21">
                  <c:v>2023</c:v>
                </c:pt>
              </c:numCache>
            </c:numRef>
          </c:cat>
          <c:val>
            <c:numRef>
              <c:f>'Ark1'!$C$2:$C$23</c:f>
              <c:numCache>
                <c:formatCode>General</c:formatCode>
                <c:ptCount val="22"/>
                <c:pt idx="9">
                  <c:v>140000</c:v>
                </c:pt>
                <c:pt idx="10">
                  <c:v>145000</c:v>
                </c:pt>
                <c:pt idx="11">
                  <c:v>160000</c:v>
                </c:pt>
                <c:pt idx="12">
                  <c:v>180000</c:v>
                </c:pt>
                <c:pt idx="13">
                  <c:v>190000</c:v>
                </c:pt>
                <c:pt idx="14">
                  <c:v>200000</c:v>
                </c:pt>
                <c:pt idx="15">
                  <c:v>220500</c:v>
                </c:pt>
                <c:pt idx="16">
                  <c:v>209000</c:v>
                </c:pt>
                <c:pt idx="17">
                  <c:v>186300</c:v>
                </c:pt>
                <c:pt idx="18">
                  <c:v>196800</c:v>
                </c:pt>
                <c:pt idx="19">
                  <c:v>212500.00000000003</c:v>
                </c:pt>
                <c:pt idx="20">
                  <c:v>227500</c:v>
                </c:pt>
                <c:pt idx="21">
                  <c:v>243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36E-4B04-9098-25238AC144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-1378228544"/>
        <c:axId val="-1433543696"/>
      </c:barChart>
      <c:lineChart>
        <c:grouping val="standar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PROSENT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Pt>
            <c:idx val="15"/>
            <c:marker>
              <c:symbol val="none"/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27C0-4A7C-A1BD-C4D9BC0018AE}"/>
              </c:ext>
            </c:extLst>
          </c:dPt>
          <c:dPt>
            <c:idx val="16"/>
            <c:marker>
              <c:symbol val="none"/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2-27C0-4A7C-A1BD-C4D9BC0018AE}"/>
              </c:ext>
            </c:extLst>
          </c:dPt>
          <c:dPt>
            <c:idx val="17"/>
            <c:marker>
              <c:symbol val="none"/>
            </c:marker>
            <c:bubble3D val="0"/>
            <c:spPr>
              <a:ln w="28575" cap="rnd">
                <a:solidFill>
                  <a:schemeClr val="accent1"/>
                </a:solidFill>
                <a:prstDash val="solid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27C0-4A7C-A1BD-C4D9BC0018AE}"/>
              </c:ext>
            </c:extLst>
          </c:dPt>
          <c:dPt>
            <c:idx val="18"/>
            <c:marker>
              <c:symbol val="none"/>
            </c:marker>
            <c:bubble3D val="0"/>
            <c:spPr>
              <a:ln w="28575" cap="rnd">
                <a:solidFill>
                  <a:schemeClr val="accent1"/>
                </a:solidFill>
                <a:prstDash val="sysDash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9-8C10-4BA9-BB3F-67A8256BB5CE}"/>
              </c:ext>
            </c:extLst>
          </c:dPt>
          <c:cat>
            <c:numRef>
              <c:f>'Ark1'!$A$2:$A$23</c:f>
              <c:numCache>
                <c:formatCode>General</c:formatCode>
                <c:ptCount val="22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</c:v>
                </c:pt>
                <c:pt idx="12">
                  <c:v>2014</c:v>
                </c:pt>
                <c:pt idx="13">
                  <c:v>2015</c:v>
                </c:pt>
                <c:pt idx="14">
                  <c:v>2016</c:v>
                </c:pt>
                <c:pt idx="15">
                  <c:v>2017</c:v>
                </c:pt>
                <c:pt idx="16">
                  <c:v>2018</c:v>
                </c:pt>
                <c:pt idx="17">
                  <c:v>2019</c:v>
                </c:pt>
                <c:pt idx="18">
                  <c:v>2020</c:v>
                </c:pt>
                <c:pt idx="19">
                  <c:v>2021</c:v>
                </c:pt>
                <c:pt idx="20">
                  <c:v>2022</c:v>
                </c:pt>
                <c:pt idx="21">
                  <c:v>2023</c:v>
                </c:pt>
              </c:numCache>
            </c:numRef>
          </c:cat>
          <c:val>
            <c:numRef>
              <c:f>'Ark1'!$B$2:$B$23</c:f>
              <c:numCache>
                <c:formatCode>General</c:formatCode>
                <c:ptCount val="22"/>
                <c:pt idx="0">
                  <c:v>4.4999999999999998E-2</c:v>
                </c:pt>
                <c:pt idx="1">
                  <c:v>6.5000000000000002E-2</c:v>
                </c:pt>
                <c:pt idx="2">
                  <c:v>7.4999999999999997E-2</c:v>
                </c:pt>
                <c:pt idx="3">
                  <c:v>7.4999999999999997E-2</c:v>
                </c:pt>
                <c:pt idx="4">
                  <c:v>7.0999999999999994E-2</c:v>
                </c:pt>
                <c:pt idx="5">
                  <c:v>7.0000000000000007E-2</c:v>
                </c:pt>
                <c:pt idx="6">
                  <c:v>5.5E-2</c:v>
                </c:pt>
                <c:pt idx="7">
                  <c:v>0.06</c:v>
                </c:pt>
                <c:pt idx="8">
                  <c:v>6.2E-2</c:v>
                </c:pt>
                <c:pt idx="9">
                  <c:v>6.5000000000000002E-2</c:v>
                </c:pt>
                <c:pt idx="10">
                  <c:v>6.7000000000000004E-2</c:v>
                </c:pt>
                <c:pt idx="11">
                  <c:v>7.0000000000000007E-2</c:v>
                </c:pt>
                <c:pt idx="12">
                  <c:v>7.8E-2</c:v>
                </c:pt>
                <c:pt idx="13">
                  <c:v>9.5000000000000001E-2</c:v>
                </c:pt>
                <c:pt idx="14">
                  <c:v>0.1</c:v>
                </c:pt>
                <c:pt idx="15">
                  <c:v>0.105</c:v>
                </c:pt>
                <c:pt idx="16">
                  <c:v>9.5000000000000001E-2</c:v>
                </c:pt>
                <c:pt idx="17">
                  <c:v>8.1000000000000003E-2</c:v>
                </c:pt>
                <c:pt idx="18">
                  <c:v>8.2000000000000003E-2</c:v>
                </c:pt>
                <c:pt idx="19">
                  <c:v>8.5000000000000006E-2</c:v>
                </c:pt>
                <c:pt idx="20">
                  <c:v>8.7499999999999994E-2</c:v>
                </c:pt>
                <c:pt idx="21">
                  <c:v>0.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36E-4B04-9098-25238AC144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1433547760"/>
        <c:axId val="-1433545984"/>
      </c:lineChart>
      <c:catAx>
        <c:axId val="-14335477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Helvetica Neue Light"/>
                <a:ea typeface="+mn-ea"/>
                <a:cs typeface="+mn-cs"/>
              </a:defRPr>
            </a:pPr>
            <a:endParaRPr lang="nb-NO"/>
          </a:p>
        </c:txPr>
        <c:crossAx val="-1433545984"/>
        <c:crossesAt val="5.000000000000001E-3"/>
        <c:auto val="1"/>
        <c:lblAlgn val="ctr"/>
        <c:lblOffset val="100"/>
        <c:tickLblSkip val="2"/>
        <c:noMultiLvlLbl val="0"/>
      </c:catAx>
      <c:valAx>
        <c:axId val="-1433545984"/>
        <c:scaling>
          <c:orientation val="minMax"/>
          <c:max val="0.10500000000000001"/>
          <c:min val="3.5000000000000003E-2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\ 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Helvetica Neue Light"/>
                <a:ea typeface="+mn-ea"/>
                <a:cs typeface="+mn-cs"/>
              </a:defRPr>
            </a:pPr>
            <a:endParaRPr lang="nb-NO"/>
          </a:p>
        </c:txPr>
        <c:crossAx val="-1433547760"/>
        <c:crosses val="autoZero"/>
        <c:crossBetween val="between"/>
        <c:majorUnit val="5.000000000000001E-3"/>
      </c:valAx>
      <c:valAx>
        <c:axId val="-1433543696"/>
        <c:scaling>
          <c:orientation val="minMax"/>
          <c:max val="300000"/>
          <c:min val="50000"/>
        </c:scaling>
        <c:delete val="0"/>
        <c:axPos val="r"/>
        <c:numFmt formatCode="#,##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Helvetica Neue Light"/>
                <a:ea typeface="+mn-ea"/>
                <a:cs typeface="+mn-cs"/>
              </a:defRPr>
            </a:pPr>
            <a:endParaRPr lang="nb-NO"/>
          </a:p>
        </c:txPr>
        <c:crossAx val="-1378228544"/>
        <c:crosses val="max"/>
        <c:crossBetween val="between"/>
        <c:majorUnit val="20000"/>
      </c:valAx>
      <c:catAx>
        <c:axId val="-137822854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-143354369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Helvetica Neue Ligh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b="0" i="0">
          <a:latin typeface="Helvetica Neue Light"/>
        </a:defRPr>
      </a:pPr>
      <a:endParaRPr lang="nb-NO"/>
    </a:p>
  </c:txPr>
  <c:externalData r:id="rId3">
    <c:autoUpdate val="0"/>
  </c:externalData>
  <c:userShapes r:id="rId4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651499482936919"/>
          <c:y val="0.12955465587044535"/>
          <c:w val="0.88417786970010337"/>
          <c:h val="0.483805668016194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A=Høy standard</c:v>
                </c:pt>
              </c:strCache>
            </c:strRef>
          </c:tx>
          <c:spPr>
            <a:solidFill>
              <a:srgbClr val="FF0000"/>
            </a:solidFill>
            <a:ln w="10583">
              <a:solidFill>
                <a:schemeClr val="tx1"/>
              </a:solidFill>
              <a:prstDash val="solid"/>
            </a:ln>
          </c:spPr>
          <c:invertIfNegative val="0"/>
          <c:cat>
            <c:strRef>
              <c:f>Sheet1!$B$1:$I$1</c:f>
              <c:strCache>
                <c:ptCount val="8"/>
                <c:pt idx="0">
                  <c:v> Nord</c:v>
                </c:pt>
                <c:pt idx="1">
                  <c:v>Sentrum</c:v>
                </c:pt>
                <c:pt idx="2">
                  <c:v>RandSoneS</c:v>
                </c:pt>
                <c:pt idx="3">
                  <c:v> Syd</c:v>
                </c:pt>
                <c:pt idx="4">
                  <c:v>Sandsli</c:v>
                </c:pt>
                <c:pt idx="5">
                  <c:v>Kokstad</c:v>
                </c:pt>
                <c:pt idx="6">
                  <c:v>Fyllingsdalen</c:v>
                </c:pt>
                <c:pt idx="7">
                  <c:v>Syd-Vest</c:v>
                </c:pt>
              </c:strCache>
            </c:strRef>
          </c:cat>
          <c:val>
            <c:numRef>
              <c:f>Sheet1!$B$2:$I$2</c:f>
              <c:numCache>
                <c:formatCode>General</c:formatCode>
                <c:ptCount val="8"/>
                <c:pt idx="0">
                  <c:v>1100</c:v>
                </c:pt>
                <c:pt idx="1">
                  <c:v>1550</c:v>
                </c:pt>
                <c:pt idx="2">
                  <c:v>1500</c:v>
                </c:pt>
                <c:pt idx="4">
                  <c:v>1200</c:v>
                </c:pt>
                <c:pt idx="5">
                  <c:v>1100</c:v>
                </c:pt>
                <c:pt idx="6">
                  <c:v>13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22B-4CB2-95A9-7C5E1BBC847E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B=God standard</c:v>
                </c:pt>
              </c:strCache>
            </c:strRef>
          </c:tx>
          <c:spPr>
            <a:solidFill>
              <a:srgbClr val="0000FF"/>
            </a:solidFill>
            <a:ln w="10583">
              <a:solidFill>
                <a:schemeClr val="tx1"/>
              </a:solidFill>
              <a:prstDash val="solid"/>
            </a:ln>
          </c:spPr>
          <c:invertIfNegative val="0"/>
          <c:cat>
            <c:strRef>
              <c:f>Sheet1!$B$1:$I$1</c:f>
              <c:strCache>
                <c:ptCount val="8"/>
                <c:pt idx="0">
                  <c:v> Nord</c:v>
                </c:pt>
                <c:pt idx="1">
                  <c:v>Sentrum</c:v>
                </c:pt>
                <c:pt idx="2">
                  <c:v>RandSoneS</c:v>
                </c:pt>
                <c:pt idx="3">
                  <c:v> Syd</c:v>
                </c:pt>
                <c:pt idx="4">
                  <c:v>Sandsli</c:v>
                </c:pt>
                <c:pt idx="5">
                  <c:v>Kokstad</c:v>
                </c:pt>
                <c:pt idx="6">
                  <c:v>Fyllingsdalen</c:v>
                </c:pt>
                <c:pt idx="7">
                  <c:v>Syd-Vest</c:v>
                </c:pt>
              </c:strCache>
            </c:strRef>
          </c:cat>
          <c:val>
            <c:numRef>
              <c:f>Sheet1!$B$3:$I$3</c:f>
              <c:numCache>
                <c:formatCode>General</c:formatCode>
                <c:ptCount val="8"/>
                <c:pt idx="0">
                  <c:v>1000</c:v>
                </c:pt>
                <c:pt idx="1">
                  <c:v>1200</c:v>
                </c:pt>
                <c:pt idx="2">
                  <c:v>1100</c:v>
                </c:pt>
                <c:pt idx="3">
                  <c:v>900</c:v>
                </c:pt>
                <c:pt idx="4">
                  <c:v>950</c:v>
                </c:pt>
                <c:pt idx="5">
                  <c:v>950</c:v>
                </c:pt>
                <c:pt idx="6">
                  <c:v>925</c:v>
                </c:pt>
                <c:pt idx="7">
                  <c:v>9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22B-4CB2-95A9-7C5E1BBC847E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C=Ordinære lokaler</c:v>
                </c:pt>
              </c:strCache>
            </c:strRef>
          </c:tx>
          <c:spPr>
            <a:solidFill>
              <a:srgbClr val="FFCC00"/>
            </a:solidFill>
            <a:ln w="10583">
              <a:solidFill>
                <a:schemeClr val="tx1"/>
              </a:solidFill>
              <a:prstDash val="solid"/>
            </a:ln>
          </c:spPr>
          <c:invertIfNegative val="0"/>
          <c:cat>
            <c:strRef>
              <c:f>Sheet1!$B$1:$I$1</c:f>
              <c:strCache>
                <c:ptCount val="8"/>
                <c:pt idx="0">
                  <c:v> Nord</c:v>
                </c:pt>
                <c:pt idx="1">
                  <c:v>Sentrum</c:v>
                </c:pt>
                <c:pt idx="2">
                  <c:v>RandSoneS</c:v>
                </c:pt>
                <c:pt idx="3">
                  <c:v> Syd</c:v>
                </c:pt>
                <c:pt idx="4">
                  <c:v>Sandsli</c:v>
                </c:pt>
                <c:pt idx="5">
                  <c:v>Kokstad</c:v>
                </c:pt>
                <c:pt idx="6">
                  <c:v>Fyllingsdalen</c:v>
                </c:pt>
                <c:pt idx="7">
                  <c:v>Syd-Vest</c:v>
                </c:pt>
              </c:strCache>
            </c:strRef>
          </c:cat>
          <c:val>
            <c:numRef>
              <c:f>Sheet1!$B$4:$I$4</c:f>
              <c:numCache>
                <c:formatCode>General</c:formatCode>
                <c:ptCount val="8"/>
                <c:pt idx="0">
                  <c:v>700</c:v>
                </c:pt>
                <c:pt idx="1">
                  <c:v>900</c:v>
                </c:pt>
                <c:pt idx="2">
                  <c:v>900</c:v>
                </c:pt>
                <c:pt idx="3">
                  <c:v>700</c:v>
                </c:pt>
                <c:pt idx="7">
                  <c:v>7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22B-4CB2-95A9-7C5E1BBC84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2247552"/>
        <c:axId val="52286208"/>
      </c:barChart>
      <c:catAx>
        <c:axId val="522475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2646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 sz="1667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nb-NO"/>
          </a:p>
        </c:txPr>
        <c:crossAx val="52286208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52286208"/>
        <c:scaling>
          <c:orientation val="minMax"/>
          <c:max val="1600"/>
        </c:scaling>
        <c:delete val="0"/>
        <c:axPos val="l"/>
        <c:majorGridlines>
          <c:spPr>
            <a:ln w="2646">
              <a:solidFill>
                <a:schemeClr val="tx1"/>
              </a:solidFill>
              <a:prstDash val="solid"/>
            </a:ln>
          </c:spPr>
        </c:majorGridlines>
        <c:numFmt formatCode="General" sourceLinked="1"/>
        <c:majorTickMark val="out"/>
        <c:minorTickMark val="none"/>
        <c:tickLblPos val="nextTo"/>
        <c:spPr>
          <a:ln w="2646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667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nb-NO"/>
          </a:p>
        </c:txPr>
        <c:crossAx val="52247552"/>
        <c:crosses val="autoZero"/>
        <c:crossBetween val="between"/>
        <c:majorUnit val="200"/>
      </c:valAx>
      <c:spPr>
        <a:noFill/>
        <a:ln w="21167">
          <a:noFill/>
        </a:ln>
      </c:spPr>
    </c:plotArea>
    <c:legend>
      <c:legendPos val="t"/>
      <c:layout>
        <c:manualLayout>
          <c:xMode val="edge"/>
          <c:yMode val="edge"/>
          <c:x val="1.1118832522585128E-2"/>
          <c:y val="4.9654932839277447E-3"/>
          <c:w val="0.82109617373319543"/>
          <c:h val="8.0971659919028341E-2"/>
        </c:manualLayout>
      </c:layout>
      <c:overlay val="0"/>
      <c:spPr>
        <a:solidFill>
          <a:schemeClr val="bg1"/>
        </a:solidFill>
        <a:ln w="21167">
          <a:noFill/>
        </a:ln>
      </c:spPr>
      <c:txPr>
        <a:bodyPr/>
        <a:lstStyle/>
        <a:p>
          <a:pPr>
            <a:defRPr sz="1533" b="1" i="0" u="none" strike="noStrike" baseline="0">
              <a:solidFill>
                <a:schemeClr val="tx1"/>
              </a:solidFill>
              <a:latin typeface="Arial"/>
              <a:ea typeface="Arial"/>
              <a:cs typeface="Arial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50" b="1" i="0" u="none" strike="noStrike" baseline="0">
          <a:solidFill>
            <a:schemeClr val="tx1"/>
          </a:solidFill>
          <a:latin typeface="Times New Roman"/>
          <a:ea typeface="Times New Roman"/>
          <a:cs typeface="Times New Roman"/>
        </a:defRPr>
      </a:pPr>
      <a:endParaRPr lang="nb-NO"/>
    </a:p>
  </c:txPr>
  <c:externalData r:id="rId1">
    <c:autoUpdate val="0"/>
  </c:externalData>
  <c:userShapes r:id="rId2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PRIME YIELD</c:v>
                </c:pt>
              </c:strCache>
            </c:strRef>
          </c:tx>
          <c:spPr>
            <a:ln w="19050" cap="rnd" cmpd="sng" algn="ctr">
              <a:solidFill>
                <a:schemeClr val="accent1">
                  <a:shade val="95000"/>
                  <a:satMod val="105000"/>
                </a:schemeClr>
              </a:solidFill>
              <a:round/>
            </a:ln>
            <a:effectLst/>
          </c:spPr>
          <c:marker>
            <c:symbol val="circle"/>
            <c:size val="17"/>
            <c:spPr>
              <a:solidFill>
                <a:schemeClr val="lt1"/>
              </a:solidFill>
              <a:ln>
                <a:noFill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'Ark1'!$A$2:$A$23</c:f>
              <c:numCache>
                <c:formatCode>General</c:formatCode>
                <c:ptCount val="22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</c:v>
                </c:pt>
                <c:pt idx="12">
                  <c:v>2014</c:v>
                </c:pt>
                <c:pt idx="13">
                  <c:v>2015</c:v>
                </c:pt>
                <c:pt idx="14">
                  <c:v>2016</c:v>
                </c:pt>
                <c:pt idx="15">
                  <c:v>2017</c:v>
                </c:pt>
                <c:pt idx="16">
                  <c:v>2018</c:v>
                </c:pt>
                <c:pt idx="17">
                  <c:v>2019</c:v>
                </c:pt>
                <c:pt idx="18">
                  <c:v>2020</c:v>
                </c:pt>
                <c:pt idx="19">
                  <c:v>2021</c:v>
                </c:pt>
                <c:pt idx="20">
                  <c:v>2022</c:v>
                </c:pt>
              </c:numCache>
            </c:numRef>
          </c:cat>
          <c:val>
            <c:numRef>
              <c:f>'Ark1'!$B$2:$B$23</c:f>
              <c:numCache>
                <c:formatCode>General</c:formatCode>
                <c:ptCount val="22"/>
                <c:pt idx="0">
                  <c:v>7.8</c:v>
                </c:pt>
                <c:pt idx="1">
                  <c:v>7.8</c:v>
                </c:pt>
                <c:pt idx="2">
                  <c:v>7.5</c:v>
                </c:pt>
                <c:pt idx="3">
                  <c:v>7.4</c:v>
                </c:pt>
                <c:pt idx="4">
                  <c:v>6</c:v>
                </c:pt>
                <c:pt idx="5">
                  <c:v>6.3</c:v>
                </c:pt>
                <c:pt idx="6">
                  <c:v>7</c:v>
                </c:pt>
                <c:pt idx="7">
                  <c:v>6</c:v>
                </c:pt>
                <c:pt idx="8">
                  <c:v>6.3</c:v>
                </c:pt>
                <c:pt idx="9">
                  <c:v>6.1</c:v>
                </c:pt>
                <c:pt idx="10">
                  <c:v>6</c:v>
                </c:pt>
                <c:pt idx="11">
                  <c:v>5.9</c:v>
                </c:pt>
                <c:pt idx="12">
                  <c:v>5.9</c:v>
                </c:pt>
                <c:pt idx="13">
                  <c:v>5.5</c:v>
                </c:pt>
                <c:pt idx="14">
                  <c:v>5.25</c:v>
                </c:pt>
                <c:pt idx="15">
                  <c:v>4.75</c:v>
                </c:pt>
                <c:pt idx="16">
                  <c:v>4.5999999999999996</c:v>
                </c:pt>
                <c:pt idx="17">
                  <c:v>4.4000000000000004</c:v>
                </c:pt>
                <c:pt idx="18">
                  <c:v>4</c:v>
                </c:pt>
                <c:pt idx="19">
                  <c:v>3.75</c:v>
                </c:pt>
                <c:pt idx="20">
                  <c:v>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10F-4B01-8C04-3E38403CEBC6}"/>
            </c:ext>
          </c:extLst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SEKUNDÆR YIELD</c:v>
                </c:pt>
              </c:strCache>
            </c:strRef>
          </c:tx>
          <c:spPr>
            <a:ln w="19050" cap="rnd" cmpd="sng" algn="ctr">
              <a:solidFill>
                <a:srgbClr val="FF0000"/>
              </a:solidFill>
              <a:round/>
            </a:ln>
            <a:effectLst/>
          </c:spPr>
          <c:marker>
            <c:symbol val="circle"/>
            <c:size val="17"/>
            <c:spPr>
              <a:solidFill>
                <a:schemeClr val="lt1"/>
              </a:solidFill>
              <a:ln>
                <a:noFill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accent2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'Ark1'!$A$2:$A$23</c:f>
              <c:numCache>
                <c:formatCode>General</c:formatCode>
                <c:ptCount val="22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</c:v>
                </c:pt>
                <c:pt idx="12">
                  <c:v>2014</c:v>
                </c:pt>
                <c:pt idx="13">
                  <c:v>2015</c:v>
                </c:pt>
                <c:pt idx="14">
                  <c:v>2016</c:v>
                </c:pt>
                <c:pt idx="15">
                  <c:v>2017</c:v>
                </c:pt>
                <c:pt idx="16">
                  <c:v>2018</c:v>
                </c:pt>
                <c:pt idx="17">
                  <c:v>2019</c:v>
                </c:pt>
                <c:pt idx="18">
                  <c:v>2020</c:v>
                </c:pt>
                <c:pt idx="19">
                  <c:v>2021</c:v>
                </c:pt>
                <c:pt idx="20">
                  <c:v>2022</c:v>
                </c:pt>
              </c:numCache>
            </c:numRef>
          </c:cat>
          <c:val>
            <c:numRef>
              <c:f>'Ark1'!$C$2:$C$23</c:f>
              <c:numCache>
                <c:formatCode>General</c:formatCode>
                <c:ptCount val="22"/>
                <c:pt idx="0">
                  <c:v>9.5</c:v>
                </c:pt>
                <c:pt idx="1">
                  <c:v>9.5</c:v>
                </c:pt>
                <c:pt idx="2">
                  <c:v>9</c:v>
                </c:pt>
                <c:pt idx="3">
                  <c:v>8.5</c:v>
                </c:pt>
                <c:pt idx="4">
                  <c:v>8</c:v>
                </c:pt>
                <c:pt idx="5">
                  <c:v>8.5</c:v>
                </c:pt>
                <c:pt idx="6">
                  <c:v>9</c:v>
                </c:pt>
                <c:pt idx="7">
                  <c:v>9</c:v>
                </c:pt>
                <c:pt idx="8">
                  <c:v>8</c:v>
                </c:pt>
                <c:pt idx="9">
                  <c:v>7.75</c:v>
                </c:pt>
                <c:pt idx="10">
                  <c:v>7.5</c:v>
                </c:pt>
                <c:pt idx="11">
                  <c:v>7.3</c:v>
                </c:pt>
                <c:pt idx="12">
                  <c:v>7.5</c:v>
                </c:pt>
                <c:pt idx="13">
                  <c:v>6.75</c:v>
                </c:pt>
                <c:pt idx="14">
                  <c:v>6.75</c:v>
                </c:pt>
                <c:pt idx="15">
                  <c:v>6.75</c:v>
                </c:pt>
                <c:pt idx="16">
                  <c:v>6.75</c:v>
                </c:pt>
                <c:pt idx="17">
                  <c:v>6.4</c:v>
                </c:pt>
                <c:pt idx="18">
                  <c:v>6</c:v>
                </c:pt>
                <c:pt idx="19">
                  <c:v>5.75</c:v>
                </c:pt>
                <c:pt idx="20">
                  <c:v>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10F-4B01-8C04-3E38403CEBC6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304215304"/>
        <c:axId val="304207760"/>
      </c:lineChart>
      <c:catAx>
        <c:axId val="3042153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30"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04207760"/>
        <c:crosses val="autoZero"/>
        <c:auto val="1"/>
        <c:lblAlgn val="ctr"/>
        <c:lblOffset val="100"/>
        <c:noMultiLvlLbl val="0"/>
      </c:catAx>
      <c:valAx>
        <c:axId val="30420776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042153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dk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solidFill>
      <a:schemeClr val="lt1"/>
    </a:soli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'Ark1'!$K$1</c:f>
              <c:strCache>
                <c:ptCount val="1"/>
                <c:pt idx="0">
                  <c:v>TORGALMENNINGEN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Ark1'!$J$2:$J$22</c:f>
              <c:numCache>
                <c:formatCode>General</c:formatCode>
                <c:ptCount val="21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  <c:pt idx="15">
                  <c:v>2016</c:v>
                </c:pt>
                <c:pt idx="16">
                  <c:v>2017</c:v>
                </c:pt>
                <c:pt idx="17">
                  <c:v>2018</c:v>
                </c:pt>
                <c:pt idx="18">
                  <c:v>2019</c:v>
                </c:pt>
                <c:pt idx="19">
                  <c:v>2020</c:v>
                </c:pt>
                <c:pt idx="20">
                  <c:v>2021</c:v>
                </c:pt>
              </c:numCache>
            </c:numRef>
          </c:cat>
          <c:val>
            <c:numRef>
              <c:f>'Ark1'!$K$2:$K$22</c:f>
              <c:numCache>
                <c:formatCode>#\ ##0_ ;\-#\ ##0\ </c:formatCode>
                <c:ptCount val="21"/>
                <c:pt idx="0">
                  <c:v>54.846153846153847</c:v>
                </c:pt>
                <c:pt idx="1">
                  <c:v>56.261538461538464</c:v>
                </c:pt>
                <c:pt idx="2">
                  <c:v>59.984000000000002</c:v>
                </c:pt>
                <c:pt idx="3">
                  <c:v>62.286486486486481</c:v>
                </c:pt>
                <c:pt idx="4">
                  <c:v>78.66</c:v>
                </c:pt>
                <c:pt idx="5">
                  <c:v>76.666666666666671</c:v>
                </c:pt>
                <c:pt idx="6">
                  <c:v>70.57714285714286</c:v>
                </c:pt>
                <c:pt idx="7">
                  <c:v>84.18</c:v>
                </c:pt>
                <c:pt idx="8">
                  <c:v>81.923809523809524</c:v>
                </c:pt>
                <c:pt idx="9">
                  <c:v>86.41967213114755</c:v>
                </c:pt>
                <c:pt idx="10">
                  <c:v>89.7</c:v>
                </c:pt>
                <c:pt idx="11">
                  <c:v>93.091525423728797</c:v>
                </c:pt>
                <c:pt idx="12">
                  <c:v>94.962711864406771</c:v>
                </c:pt>
                <c:pt idx="13">
                  <c:v>103.87636363636364</c:v>
                </c:pt>
                <c:pt idx="14">
                  <c:v>110.92571428571428</c:v>
                </c:pt>
                <c:pt idx="15">
                  <c:v>118.68</c:v>
                </c:pt>
                <c:pt idx="16">
                  <c:v>127.25052631578947</c:v>
                </c:pt>
                <c:pt idx="17">
                  <c:v>136.77333333333334</c:v>
                </c:pt>
                <c:pt idx="18">
                  <c:v>147.41647058823531</c:v>
                </c:pt>
                <c:pt idx="19">
                  <c:v>159.38999999999999</c:v>
                </c:pt>
                <c:pt idx="20">
                  <c:v>1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BC5-42CF-8684-45D40494A51A}"/>
            </c:ext>
          </c:extLst>
        </c:ser>
        <c:ser>
          <c:idx val="1"/>
          <c:order val="1"/>
          <c:tx>
            <c:strRef>
              <c:f>'Ark1'!$L$1</c:f>
              <c:strCache>
                <c:ptCount val="1"/>
                <c:pt idx="0">
                  <c:v>AKSJER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Ark1'!$J$2:$J$22</c:f>
              <c:numCache>
                <c:formatCode>General</c:formatCode>
                <c:ptCount val="21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  <c:pt idx="15">
                  <c:v>2016</c:v>
                </c:pt>
                <c:pt idx="16">
                  <c:v>2017</c:v>
                </c:pt>
                <c:pt idx="17">
                  <c:v>2018</c:v>
                </c:pt>
                <c:pt idx="18">
                  <c:v>2019</c:v>
                </c:pt>
                <c:pt idx="19">
                  <c:v>2020</c:v>
                </c:pt>
                <c:pt idx="20">
                  <c:v>2021</c:v>
                </c:pt>
              </c:numCache>
            </c:numRef>
          </c:cat>
          <c:val>
            <c:numRef>
              <c:f>'Ark1'!$L$2:$L$22</c:f>
              <c:numCache>
                <c:formatCode>_-"kr"\ * #\ ##0_-;\-"kr"\ * #\ ##0_-;_-"kr"\ * "-"??_-;_-@_-</c:formatCode>
                <c:ptCount val="21"/>
                <c:pt idx="0">
                  <c:v>55</c:v>
                </c:pt>
                <c:pt idx="1">
                  <c:v>50</c:v>
                </c:pt>
                <c:pt idx="2">
                  <c:v>47</c:v>
                </c:pt>
                <c:pt idx="3">
                  <c:v>55</c:v>
                </c:pt>
                <c:pt idx="4">
                  <c:v>65</c:v>
                </c:pt>
                <c:pt idx="5">
                  <c:v>75</c:v>
                </c:pt>
                <c:pt idx="6">
                  <c:v>85</c:v>
                </c:pt>
                <c:pt idx="7">
                  <c:v>55</c:v>
                </c:pt>
                <c:pt idx="8">
                  <c:v>75</c:v>
                </c:pt>
                <c:pt idx="9">
                  <c:v>90</c:v>
                </c:pt>
                <c:pt idx="10">
                  <c:v>105</c:v>
                </c:pt>
                <c:pt idx="11">
                  <c:v>120</c:v>
                </c:pt>
                <c:pt idx="12">
                  <c:v>135</c:v>
                </c:pt>
                <c:pt idx="13">
                  <c:v>150</c:v>
                </c:pt>
                <c:pt idx="14">
                  <c:v>165</c:v>
                </c:pt>
                <c:pt idx="15">
                  <c:v>180</c:v>
                </c:pt>
                <c:pt idx="16">
                  <c:v>195</c:v>
                </c:pt>
                <c:pt idx="17">
                  <c:v>210</c:v>
                </c:pt>
                <c:pt idx="18">
                  <c:v>170</c:v>
                </c:pt>
                <c:pt idx="19">
                  <c:v>230</c:v>
                </c:pt>
                <c:pt idx="20">
                  <c:v>2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BC5-42CF-8684-45D40494A5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54328984"/>
        <c:axId val="754334232"/>
      </c:lineChart>
      <c:catAx>
        <c:axId val="7543289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754334232"/>
        <c:crosses val="autoZero"/>
        <c:auto val="1"/>
        <c:lblAlgn val="ctr"/>
        <c:lblOffset val="100"/>
        <c:noMultiLvlLbl val="0"/>
      </c:catAx>
      <c:valAx>
        <c:axId val="7543342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\ ##0_ ;\-#\ ##0\ 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7543289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34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330" kern="1200"/>
  </cs:categoryAxis>
  <cs:chartArea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cs:styleClr val="auto"/>
    </cs:fontRef>
    <cs:spPr/>
    <cs:defRPr sz="1197" b="1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 w="9575">
        <a:solidFill>
          <a:schemeClr val="lt1">
            <a:lumMod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19050" cap="rnd" cmpd="sng" algn="ctr">
        <a:solidFill>
          <a:schemeClr val="phClr">
            <a:shade val="95000"/>
            <a:satMod val="105000"/>
          </a:schemeClr>
        </a:solidFill>
        <a:round/>
      </a:ln>
    </cs:spPr>
  </cs:dataPointLine>
  <cs:dataPointMarker>
    <cs:lnRef idx="0"/>
    <cs:fillRef idx="0"/>
    <cs:effectRef idx="0"/>
    <cs:fontRef idx="minor">
      <a:schemeClr val="dk1"/>
    </cs:fontRef>
    <cs:spPr>
      <a:solidFill>
        <a:schemeClr val="lt1"/>
      </a:solidFill>
    </cs:spPr>
  </cs:dataPointMarker>
  <cs:dataPointMarkerLayout symbol="circle" size="17"/>
  <cs:dataPointWireframe>
    <cs:lnRef idx="0">
      <cs:styleClr val="auto"/>
    </cs:lnRef>
    <cs:fillRef idx="1"/>
    <cs:effectRef idx="0"/>
    <cs:fontRef idx="minor">
      <a:schemeClr val="dk1"/>
    </cs:fontRef>
    <cs:spPr>
      <a:ln w="9525">
        <a:solidFill>
          <a:schemeClr val="phClr"/>
        </a:solidFill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dk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dk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seriesLine>
  <cs:title>
    <cs:lnRef idx="0"/>
    <cs:fillRef idx="0"/>
    <cs:effectRef idx="0"/>
    <cs:fontRef idx="minor">
      <a:schemeClr val="dk1"/>
    </cs:fontRef>
    <cs:defRPr sz="1915" b="0" kern="1200" cap="all" spc="0" baseline="0">
      <a:gradFill>
        <a:gsLst>
          <a:gs pos="0">
            <a:schemeClr val="dk1">
              <a:lumMod val="50000"/>
              <a:lumOff val="50000"/>
            </a:schemeClr>
          </a:gs>
          <a:gs pos="100000">
            <a:schemeClr val="dk1">
              <a:lumMod val="85000"/>
              <a:lumOff val="15000"/>
            </a:schemeClr>
          </a:gs>
        </a:gsLst>
        <a:lin ang="5400000" scaled="0"/>
      </a:gradFill>
    </cs:defRPr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9671</cdr:x>
      <cdr:y>0.10923</cdr:y>
    </cdr:from>
    <cdr:to>
      <cdr:x>0.21567</cdr:x>
      <cdr:y>0.15293</cdr:y>
    </cdr:to>
    <cdr:sp macro="" textlink="">
      <cdr:nvSpPr>
        <cdr:cNvPr id="2" name="Star: 7 Points 1">
          <a:extLst xmlns:a="http://schemas.openxmlformats.org/drawingml/2006/main">
            <a:ext uri="{FF2B5EF4-FFF2-40B4-BE49-F238E27FC236}">
              <a16:creationId xmlns:a16="http://schemas.microsoft.com/office/drawing/2014/main" id="{2DE7877F-E6D0-49B4-8EF6-C7D1D363C7D4}"/>
            </a:ext>
          </a:extLst>
        </cdr:cNvPr>
        <cdr:cNvSpPr/>
      </cdr:nvSpPr>
      <cdr:spPr>
        <a:xfrm xmlns:a="http://schemas.openxmlformats.org/drawingml/2006/main">
          <a:off x="2202584" y="494168"/>
          <a:ext cx="212352" cy="197684"/>
        </a:xfrm>
        <a:prstGeom xmlns:a="http://schemas.openxmlformats.org/drawingml/2006/main" prst="star7">
          <a:avLst/>
        </a:prstGeom>
        <a:solidFill xmlns:a="http://schemas.openxmlformats.org/drawingml/2006/main">
          <a:schemeClr val="accent1">
            <a:lumMod val="60000"/>
            <a:lumOff val="40000"/>
          </a:schemeClr>
        </a:solidFill>
        <a:ln xmlns:a="http://schemas.openxmlformats.org/drawingml/2006/main">
          <a:solidFill>
            <a:schemeClr val="accent1">
              <a:lumMod val="60000"/>
              <a:lumOff val="40000"/>
            </a:schemeClr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nb-NO"/>
          </a:defPPr>
          <a:lvl1pPr marL="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nb-NO"/>
        </a:p>
      </cdr:txBody>
    </cdr:sp>
  </cdr:relSizeAnchor>
  <cdr:relSizeAnchor xmlns:cdr="http://schemas.openxmlformats.org/drawingml/2006/chartDrawing">
    <cdr:from>
      <cdr:x>0.61091</cdr:x>
      <cdr:y>0.3735</cdr:y>
    </cdr:from>
    <cdr:to>
      <cdr:x>0.62987</cdr:x>
      <cdr:y>0.41719</cdr:y>
    </cdr:to>
    <cdr:sp macro="" textlink="">
      <cdr:nvSpPr>
        <cdr:cNvPr id="3" name="Star: 7 Points 2">
          <a:extLst xmlns:a="http://schemas.openxmlformats.org/drawingml/2006/main">
            <a:ext uri="{FF2B5EF4-FFF2-40B4-BE49-F238E27FC236}">
              <a16:creationId xmlns:a16="http://schemas.microsoft.com/office/drawing/2014/main" id="{672FE3C0-1961-4F6E-9816-2E82BB7343F0}"/>
            </a:ext>
          </a:extLst>
        </cdr:cNvPr>
        <cdr:cNvSpPr/>
      </cdr:nvSpPr>
      <cdr:spPr>
        <a:xfrm xmlns:a="http://schemas.openxmlformats.org/drawingml/2006/main">
          <a:off x="6840488" y="1689702"/>
          <a:ext cx="212300" cy="197652"/>
        </a:xfrm>
        <a:prstGeom xmlns:a="http://schemas.openxmlformats.org/drawingml/2006/main" prst="star7">
          <a:avLst/>
        </a:prstGeom>
        <a:solidFill xmlns:a="http://schemas.openxmlformats.org/drawingml/2006/main">
          <a:schemeClr val="accent1">
            <a:lumMod val="60000"/>
            <a:lumOff val="40000"/>
          </a:schemeClr>
        </a:solidFill>
        <a:ln xmlns:a="http://schemas.openxmlformats.org/drawingml/2006/main">
          <a:solidFill>
            <a:schemeClr val="accent1">
              <a:lumMod val="60000"/>
              <a:lumOff val="40000"/>
            </a:schemeClr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nb-NO" dirty="0"/>
        </a:p>
      </cdr:txBody>
    </cdr:sp>
  </cdr:relSizeAnchor>
  <cdr:relSizeAnchor xmlns:cdr="http://schemas.openxmlformats.org/drawingml/2006/chartDrawing">
    <cdr:from>
      <cdr:x>0.29786</cdr:x>
      <cdr:y>0.15602</cdr:y>
    </cdr:from>
    <cdr:to>
      <cdr:x>0.31682</cdr:x>
      <cdr:y>0.19971</cdr:y>
    </cdr:to>
    <cdr:sp macro="" textlink="">
      <cdr:nvSpPr>
        <cdr:cNvPr id="4" name="Star: 7 Points 2">
          <a:extLst xmlns:a="http://schemas.openxmlformats.org/drawingml/2006/main">
            <a:ext uri="{FF2B5EF4-FFF2-40B4-BE49-F238E27FC236}">
              <a16:creationId xmlns:a16="http://schemas.microsoft.com/office/drawing/2014/main" id="{7251E04F-071E-4F10-8790-B7D751091795}"/>
            </a:ext>
          </a:extLst>
        </cdr:cNvPr>
        <cdr:cNvSpPr/>
      </cdr:nvSpPr>
      <cdr:spPr>
        <a:xfrm xmlns:a="http://schemas.openxmlformats.org/drawingml/2006/main">
          <a:off x="3335195" y="705845"/>
          <a:ext cx="212300" cy="197652"/>
        </a:xfrm>
        <a:prstGeom xmlns:a="http://schemas.openxmlformats.org/drawingml/2006/main" prst="star7">
          <a:avLst/>
        </a:prstGeom>
        <a:solidFill xmlns:a="http://schemas.openxmlformats.org/drawingml/2006/main">
          <a:schemeClr val="accent1">
            <a:lumMod val="60000"/>
            <a:lumOff val="40000"/>
          </a:schemeClr>
        </a:solidFill>
        <a:ln xmlns:a="http://schemas.openxmlformats.org/drawingml/2006/main">
          <a:solidFill>
            <a:schemeClr val="accent1">
              <a:lumMod val="60000"/>
              <a:lumOff val="40000"/>
            </a:schemeClr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nb-NO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66044</cdr:x>
      <cdr:y>0.93231</cdr:y>
    </cdr:from>
    <cdr:to>
      <cdr:x>0.71662</cdr:x>
      <cdr:y>0.96697</cdr:y>
    </cdr:to>
    <cdr:sp macro="" textlink="">
      <cdr:nvSpPr>
        <cdr:cNvPr id="2" name="Rektangel 1">
          <a:extLst xmlns:a="http://schemas.openxmlformats.org/drawingml/2006/main">
            <a:ext uri="{FF2B5EF4-FFF2-40B4-BE49-F238E27FC236}">
              <a16:creationId xmlns:a16="http://schemas.microsoft.com/office/drawing/2014/main" id="{CC247281-0771-44AA-8AB3-E7809A950A70}"/>
            </a:ext>
          </a:extLst>
        </cdr:cNvPr>
        <cdr:cNvSpPr/>
      </cdr:nvSpPr>
      <cdr:spPr>
        <a:xfrm xmlns:a="http://schemas.openxmlformats.org/drawingml/2006/main">
          <a:off x="5208729" y="4056780"/>
          <a:ext cx="443060" cy="150829"/>
        </a:xfrm>
        <a:prstGeom xmlns:a="http://schemas.openxmlformats.org/drawingml/2006/main" prst="rect">
          <a:avLst/>
        </a:prstGeom>
        <a:solidFill xmlns:a="http://schemas.openxmlformats.org/drawingml/2006/main">
          <a:srgbClr val="002060"/>
        </a:solidFill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nb-NO"/>
        </a:p>
      </cdr:txBody>
    </cdr:sp>
  </cdr:relSizeAnchor>
  <cdr:relSizeAnchor xmlns:cdr="http://schemas.openxmlformats.org/drawingml/2006/chartDrawing">
    <cdr:from>
      <cdr:x>0.72021</cdr:x>
      <cdr:y>0.91464</cdr:y>
    </cdr:from>
    <cdr:to>
      <cdr:x>0.84093</cdr:x>
      <cdr:y>0.9845</cdr:y>
    </cdr:to>
    <cdr:sp macro="" textlink="">
      <cdr:nvSpPr>
        <cdr:cNvPr id="3" name="TekstSylinder 2">
          <a:extLst xmlns:a="http://schemas.openxmlformats.org/drawingml/2006/main">
            <a:ext uri="{FF2B5EF4-FFF2-40B4-BE49-F238E27FC236}">
              <a16:creationId xmlns:a16="http://schemas.microsoft.com/office/drawing/2014/main" id="{7822F92E-DA25-45E4-90DA-39497F698142}"/>
            </a:ext>
          </a:extLst>
        </cdr:cNvPr>
        <cdr:cNvSpPr txBox="1"/>
      </cdr:nvSpPr>
      <cdr:spPr>
        <a:xfrm xmlns:a="http://schemas.openxmlformats.org/drawingml/2006/main">
          <a:off x="5680069" y="3979906"/>
          <a:ext cx="952108" cy="30398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nb-NO" sz="1100" dirty="0">
              <a:latin typeface="Helvetica Neue Light" panose="02000403000000020004"/>
            </a:rPr>
            <a:t>PROGNOSE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40975</cdr:x>
      <cdr:y>0.527</cdr:y>
    </cdr:from>
    <cdr:to>
      <cdr:x>0.417</cdr:x>
      <cdr:y>0.5655</cdr:y>
    </cdr:to>
    <cdr:sp macro="" textlink="">
      <cdr:nvSpPr>
        <cdr:cNvPr id="1025" name="Tekst 1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3774074" y="2479719"/>
          <a:ext cx="66777" cy="181156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xmlns:mc="http://schemas.openxmlformats.org/markup-compatibility/2006" val="000000" mc:Ignorable="a14" a14:legacySpreadsheetColorIndex="64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xmlns:mc="http://schemas.openxmlformats.org/markup-compatibility/2006" val="FFFFFF" mc:Ignorable="a14" a14:legacySpreadsheetColorIndex="65"/>
              </a:solidFill>
              <a:miter lim="800000"/>
              <a:headEnd/>
              <a:tailEnd/>
            </a14:hiddenLine>
          </a:ext>
        </a:extLst>
      </cdr:spPr>
      <cdr:txBody>
        <a:bodyPr xmlns:a="http://schemas.openxmlformats.org/drawingml/2006/main" wrap="none" lIns="18288" tIns="0" rIns="0" bIns="0" anchor="ctr" upright="1">
          <a:spAutoFit/>
        </a:bodyPr>
        <a:lstStyle xmlns:a="http://schemas.openxmlformats.org/drawingml/2006/main"/>
        <a:p xmlns:a="http://schemas.openxmlformats.org/drawingml/2006/main">
          <a:pPr algn="ctr" rtl="0">
            <a:defRPr sz="1000"/>
          </a:pPr>
          <a:endParaRPr lang="nb-NO"/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77088</cdr:x>
      <cdr:y>0.9121</cdr:y>
    </cdr:from>
    <cdr:to>
      <cdr:x>0.95355</cdr:x>
      <cdr:y>1</cdr:y>
    </cdr:to>
    <cdr:sp macro="" textlink="">
      <cdr:nvSpPr>
        <cdr:cNvPr id="4" name="Snakkeboble: oval 3">
          <a:extLst xmlns:a="http://schemas.openxmlformats.org/drawingml/2006/main">
            <a:ext uri="{FF2B5EF4-FFF2-40B4-BE49-F238E27FC236}">
              <a16:creationId xmlns:a16="http://schemas.microsoft.com/office/drawing/2014/main" id="{36BFFFFC-5E0B-B3B3-DFA8-53780267D87A}"/>
            </a:ext>
          </a:extLst>
        </cdr:cNvPr>
        <cdr:cNvSpPr/>
      </cdr:nvSpPr>
      <cdr:spPr>
        <a:xfrm xmlns:a="http://schemas.openxmlformats.org/drawingml/2006/main">
          <a:off x="8738744" y="3968873"/>
          <a:ext cx="2070792" cy="382465"/>
        </a:xfrm>
        <a:prstGeom xmlns:a="http://schemas.openxmlformats.org/drawingml/2006/main" prst="wedgeEllipseCallout">
          <a:avLst>
            <a:gd name="adj1" fmla="val 49841"/>
            <a:gd name="adj2" fmla="val -69153"/>
          </a:avLst>
        </a:prstGeom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pPr algn="ctr"/>
          <a:r>
            <a:rPr lang="nb-NO" dirty="0"/>
            <a:t>ANSLÅR 10 – 12 MRD</a:t>
          </a:r>
        </a:p>
      </cdr:txBody>
    </cdr:sp>
  </cdr:relSizeAnchor>
  <cdr:relSizeAnchor xmlns:cdr="http://schemas.openxmlformats.org/drawingml/2006/chartDrawing">
    <cdr:from>
      <cdr:x>0.93647</cdr:x>
      <cdr:y>0.50671</cdr:y>
    </cdr:from>
    <cdr:to>
      <cdr:x>0.96618</cdr:x>
      <cdr:y>0.75406</cdr:y>
    </cdr:to>
    <cdr:sp macro="" textlink="">
      <cdr:nvSpPr>
        <cdr:cNvPr id="2" name="Rektangel 1">
          <a:extLst xmlns:a="http://schemas.openxmlformats.org/drawingml/2006/main">
            <a:ext uri="{FF2B5EF4-FFF2-40B4-BE49-F238E27FC236}">
              <a16:creationId xmlns:a16="http://schemas.microsoft.com/office/drawing/2014/main" id="{7BC879D4-39E4-00D9-9A69-E913339643B5}"/>
            </a:ext>
          </a:extLst>
        </cdr:cNvPr>
        <cdr:cNvSpPr/>
      </cdr:nvSpPr>
      <cdr:spPr>
        <a:xfrm xmlns:a="http://schemas.openxmlformats.org/drawingml/2006/main">
          <a:off x="10615861" y="2204852"/>
          <a:ext cx="336884" cy="1076331"/>
        </a:xfrm>
        <a:prstGeom xmlns:a="http://schemas.openxmlformats.org/drawingml/2006/main" prst="rect">
          <a:avLst/>
        </a:prstGeom>
        <a:solidFill xmlns:a="http://schemas.openxmlformats.org/drawingml/2006/main">
          <a:srgbClr val="4472C4">
            <a:alpha val="27059"/>
          </a:srgbClr>
        </a:solidFill>
        <a:ln xmlns:a="http://schemas.openxmlformats.org/drawingml/2006/main">
          <a:solidFill>
            <a:schemeClr val="accent1">
              <a:shade val="50000"/>
              <a:alpha val="50000"/>
            </a:schemeClr>
          </a:solidFill>
          <a:prstDash val="lgDash"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nb-NO"/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90576</cdr:x>
      <cdr:y>0.87076</cdr:y>
    </cdr:from>
    <cdr:to>
      <cdr:x>0.99318</cdr:x>
      <cdr:y>0.92875</cdr:y>
    </cdr:to>
    <cdr:sp macro="" textlink="">
      <cdr:nvSpPr>
        <cdr:cNvPr id="2" name="TekstSylinder 1">
          <a:extLst xmlns:a="http://schemas.openxmlformats.org/drawingml/2006/main">
            <a:ext uri="{FF2B5EF4-FFF2-40B4-BE49-F238E27FC236}">
              <a16:creationId xmlns:a16="http://schemas.microsoft.com/office/drawing/2014/main" id="{3D6483D9-504E-F306-20BB-78868656FB87}"/>
            </a:ext>
          </a:extLst>
        </cdr:cNvPr>
        <cdr:cNvSpPr txBox="1"/>
      </cdr:nvSpPr>
      <cdr:spPr>
        <a:xfrm xmlns:a="http://schemas.openxmlformats.org/drawingml/2006/main">
          <a:off x="10430917" y="3467159"/>
          <a:ext cx="1006764" cy="230910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nb-NO" sz="1200" dirty="0"/>
            <a:t>Mai 2022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2C916BC-BFD5-4641-B947-5BE9EA759EEF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8626535-DC6C-43AC-B2FF-4450A6DD441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714375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E7C38A-D867-4240-B978-D969FE1BC68D}" type="slidenum">
              <a:rPr kumimoji="0" lang="nb-NO" alt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nb-NO" alt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024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0488" y="744538"/>
            <a:ext cx="6616700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04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nb-NO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695798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8626535-DC6C-43AC-B2FF-4450A6DD4413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358190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76444" indent="-298633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94530" indent="-238906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72342" indent="-238906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150154" indent="-238906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627966" indent="-23890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3105779" indent="-23890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583590" indent="-23890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4061402" indent="-23890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98A3B35-2B42-46C0-A3AC-E2807CC28F62}" type="slidenum">
              <a:rPr kumimoji="0" lang="nb-NO" alt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nb-NO" alt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45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80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nb-NO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897373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20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626535-DC6C-43AC-B2FF-4450A6DD4413}" type="slidenum">
              <a:rPr lang="nb-NO" smtClean="0"/>
              <a:t>2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8790235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8626535-DC6C-43AC-B2FF-4450A6DD4413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158424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626535-DC6C-43AC-B2FF-4450A6DD4413}" type="slidenum">
              <a:rPr lang="nb-NO" smtClean="0"/>
              <a:t>2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7012118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76444" indent="-298633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94530" indent="-238906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72342" indent="-238906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150154" indent="-238906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627966" indent="-23890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3105779" indent="-23890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583590" indent="-23890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4061402" indent="-23890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77E2E4C-FE39-49B0-802E-17D54AC963CD}" type="slidenum">
              <a:rPr kumimoji="0" lang="nb-NO" alt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nb-NO" alt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25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2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nb-NO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231109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76444" indent="-298633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94530" indent="-238906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72342" indent="-238906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150154" indent="-238906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627966" indent="-23890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3105779" indent="-23890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583590" indent="-23890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4061402" indent="-23890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C373B70-52CA-4E9F-BB8F-E92F4E255EC5}" type="slidenum">
              <a:rPr kumimoji="0" lang="nb-NO" alt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nb-NO" alt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94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9460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nb-NO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459706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Verdiskapning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200"/>
              <a:t>Grafen over viser verdiskapning i Nordhordland fordelt på næring og eksklusiv offentlig sektor. Total verdiskapning for regionen i 2019 er 12,1 milliarder NOK*. Nordhordlands næringer er forholdsvis tungt knyttet til  eksportnæringer som olje og gass, marin, fornybar energi og maritim næring. Samlet står disse næringene for 54% av verdiskapningen i regionen. Samtidig skjer det betydelig verdiskapning i næringene tjenesteyting, industri og bygg, anlegg og eiendom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20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200"/>
              <a:t>Sysselsetting:</a:t>
            </a:r>
            <a:br>
              <a:rPr lang="nb-NO" sz="1200"/>
            </a:br>
            <a:r>
              <a:rPr lang="nb-NO" sz="1200"/>
              <a:t>Sysselsettingsbildet viser at en stor andel av de sysselsatte jobber i næringene som også har høy verdiskaping, herunder tjenesteyting, olje og gass, bygg, anlegg og eiendom. Andelen som er sysselsatte i næringer som varehandel og jordbruk og skogbruk er høyere enn deres respektive andeler av verdiskapingen. Tilsvarende ser vi at antallet sysselsatte innen fornybar energi er svært lavt, relativt til verdiskapingen i næringen. Totalt er det 13 507 sysselsatte i privat sektor i Nordhordland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200">
              <a:highlight>
                <a:srgbClr val="FFFFFF"/>
              </a:highlight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200">
                <a:highlight>
                  <a:srgbClr val="FFFFFF"/>
                </a:highlight>
              </a:rPr>
              <a:t>Sysselsettingstall for jordbruk og skogbruk er hentet fra SSB. Totalt er det 13 507 sysselsatte i privat sektor i Nordhordland, målt etter regnskapstall, samt </a:t>
            </a:r>
            <a:r>
              <a:rPr lang="nb-NO" sz="1200" err="1">
                <a:highlight>
                  <a:srgbClr val="FFFFFF"/>
                </a:highlight>
              </a:rPr>
              <a:t>NIBIOs</a:t>
            </a:r>
            <a:r>
              <a:rPr lang="nb-NO" sz="1200">
                <a:highlight>
                  <a:srgbClr val="FFFFFF"/>
                </a:highlight>
              </a:rPr>
              <a:t> tall for jordbruk og skogbruk.**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200"/>
          </a:p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3D19E-BFDB-4C92-8EDD-32EDDA8F41D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970678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et er </a:t>
            </a:r>
            <a:r>
              <a:rPr lang="en-US" dirty="0" err="1"/>
              <a:t>veldig</a:t>
            </a:r>
            <a:r>
              <a:rPr lang="en-US" dirty="0"/>
              <a:t> mange </a:t>
            </a:r>
            <a:r>
              <a:rPr lang="en-US" dirty="0" err="1"/>
              <a:t>gode</a:t>
            </a:r>
            <a:r>
              <a:rPr lang="en-US" dirty="0"/>
              <a:t> initiative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ideer</a:t>
            </a:r>
            <a:r>
              <a:rPr lang="en-US" dirty="0"/>
              <a:t> </a:t>
            </a:r>
            <a:r>
              <a:rPr lang="en-US" dirty="0" err="1"/>
              <a:t>som</a:t>
            </a:r>
            <a:r>
              <a:rPr lang="en-US" dirty="0"/>
              <a:t> vi </a:t>
            </a:r>
            <a:r>
              <a:rPr lang="en-US" dirty="0" err="1"/>
              <a:t>har</a:t>
            </a:r>
            <a:r>
              <a:rPr lang="en-US" dirty="0"/>
              <a:t> </a:t>
            </a:r>
            <a:r>
              <a:rPr lang="en-US" dirty="0" err="1"/>
              <a:t>fanget</a:t>
            </a:r>
            <a:r>
              <a:rPr lang="en-US" dirty="0"/>
              <a:t> </a:t>
            </a:r>
            <a:r>
              <a:rPr lang="en-US" dirty="0" err="1"/>
              <a:t>opp</a:t>
            </a:r>
            <a:r>
              <a:rPr lang="en-US" dirty="0"/>
              <a:t> I hele </a:t>
            </a:r>
            <a:r>
              <a:rPr lang="en-US" dirty="0" err="1"/>
              <a:t>regionen</a:t>
            </a:r>
            <a:r>
              <a:rPr lang="en-US" dirty="0"/>
              <a:t>. </a:t>
            </a:r>
            <a:r>
              <a:rPr lang="en-US" dirty="0" err="1"/>
              <a:t>Kartet</a:t>
            </a:r>
            <a:r>
              <a:rPr lang="en-US" dirty="0"/>
              <a:t> </a:t>
            </a:r>
            <a:r>
              <a:rPr lang="en-US" dirty="0" err="1"/>
              <a:t>viser</a:t>
            </a:r>
            <a:r>
              <a:rPr lang="en-US" dirty="0"/>
              <a:t> et klippe av </a:t>
            </a:r>
            <a:r>
              <a:rPr lang="en-US" dirty="0" err="1"/>
              <a:t>disse</a:t>
            </a:r>
            <a:r>
              <a:rPr lang="en-US" dirty="0"/>
              <a:t> </a:t>
            </a:r>
            <a:r>
              <a:rPr lang="en-US" dirty="0" err="1"/>
              <a:t>prosjektene</a:t>
            </a:r>
            <a:r>
              <a:rPr lang="en-US" dirty="0"/>
              <a:t>. Vi </a:t>
            </a:r>
            <a:r>
              <a:rPr lang="en-US" dirty="0" err="1"/>
              <a:t>har</a:t>
            </a:r>
            <a:r>
              <a:rPr lang="en-US" dirty="0"/>
              <a:t> </a:t>
            </a:r>
            <a:r>
              <a:rPr lang="en-US" dirty="0" err="1"/>
              <a:t>ikke</a:t>
            </a:r>
            <a:r>
              <a:rPr lang="en-US" dirty="0"/>
              <a:t> </a:t>
            </a:r>
            <a:r>
              <a:rPr lang="en-US" dirty="0" err="1"/>
              <a:t>gjort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direkt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 </a:t>
            </a:r>
            <a:r>
              <a:rPr lang="en-US" dirty="0" err="1"/>
              <a:t>fra</a:t>
            </a:r>
            <a:r>
              <a:rPr lang="en-US" dirty="0"/>
              <a:t> hotel- </a:t>
            </a:r>
            <a:r>
              <a:rPr lang="en-US" dirty="0" err="1"/>
              <a:t>og</a:t>
            </a:r>
            <a:r>
              <a:rPr lang="en-US" dirty="0"/>
              <a:t> whisky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Fedje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en-US" dirty="0" err="1"/>
              <a:t>landsbasert</a:t>
            </a:r>
            <a:r>
              <a:rPr lang="en-US" dirty="0"/>
              <a:t> </a:t>
            </a:r>
            <a:r>
              <a:rPr lang="en-US" dirty="0" err="1"/>
              <a:t>oppdrett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Skipavika</a:t>
            </a:r>
            <a:r>
              <a:rPr lang="en-US" dirty="0"/>
              <a:t>. </a:t>
            </a:r>
            <a:r>
              <a:rPr lang="en-US" dirty="0" err="1"/>
              <a:t>Når</a:t>
            </a:r>
            <a:r>
              <a:rPr lang="en-US" dirty="0"/>
              <a:t> vi ser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konkrete</a:t>
            </a:r>
            <a:r>
              <a:rPr lang="en-US" dirty="0"/>
              <a:t> planer for nye </a:t>
            </a:r>
            <a:r>
              <a:rPr lang="en-US" dirty="0" err="1"/>
              <a:t>arbeidsplassser</a:t>
            </a:r>
            <a:r>
              <a:rPr lang="en-US" dirty="0"/>
              <a:t> (vi </a:t>
            </a:r>
            <a:r>
              <a:rPr lang="en-US" dirty="0" err="1"/>
              <a:t>har</a:t>
            </a:r>
            <a:r>
              <a:rPr lang="en-US" dirty="0"/>
              <a:t> </a:t>
            </a:r>
            <a:r>
              <a:rPr lang="en-US" dirty="0" err="1"/>
              <a:t>ikke</a:t>
            </a:r>
            <a:r>
              <a:rPr lang="en-US" dirty="0"/>
              <a:t> </a:t>
            </a:r>
            <a:r>
              <a:rPr lang="en-US" dirty="0" err="1"/>
              <a:t>fokusert</a:t>
            </a:r>
            <a:r>
              <a:rPr lang="en-US" dirty="0"/>
              <a:t> her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sidelengs</a:t>
            </a:r>
            <a:r>
              <a:rPr lang="en-US" dirty="0"/>
              <a:t> </a:t>
            </a:r>
            <a:r>
              <a:rPr lang="en-US" dirty="0" err="1"/>
              <a:t>arbeidsplasser</a:t>
            </a:r>
            <a:r>
              <a:rPr lang="en-US" dirty="0"/>
              <a:t>) ser vi at det </a:t>
            </a:r>
            <a:r>
              <a:rPr lang="en-US" dirty="0" err="1"/>
              <a:t>største</a:t>
            </a:r>
            <a:r>
              <a:rPr lang="en-US" dirty="0"/>
              <a:t> </a:t>
            </a:r>
            <a:r>
              <a:rPr lang="en-US" dirty="0" err="1"/>
              <a:t>regionapotensialet</a:t>
            </a:r>
            <a:r>
              <a:rPr lang="en-US" dirty="0"/>
              <a:t> er </a:t>
            </a:r>
            <a:r>
              <a:rPr lang="en-US" dirty="0" err="1"/>
              <a:t>konsentrert</a:t>
            </a:r>
            <a:r>
              <a:rPr lang="en-US" dirty="0"/>
              <a:t> </a:t>
            </a:r>
            <a:r>
              <a:rPr lang="en-US" dirty="0" err="1"/>
              <a:t>rundt</a:t>
            </a:r>
            <a:r>
              <a:rPr lang="en-US" dirty="0"/>
              <a:t> </a:t>
            </a:r>
            <a:r>
              <a:rPr lang="en-US" dirty="0" err="1"/>
              <a:t>Fensfjorden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at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potensiell</a:t>
            </a:r>
            <a:r>
              <a:rPr lang="en-US" dirty="0"/>
              <a:t> </a:t>
            </a:r>
            <a:r>
              <a:rPr lang="en-US" dirty="0" err="1"/>
              <a:t>batterifabrikk</a:t>
            </a:r>
            <a:r>
              <a:rPr lang="en-US" dirty="0"/>
              <a:t> </a:t>
            </a:r>
            <a:r>
              <a:rPr lang="en-US" dirty="0" err="1"/>
              <a:t>vil</a:t>
            </a:r>
            <a:r>
              <a:rPr lang="en-US" dirty="0"/>
              <a:t> </a:t>
            </a:r>
            <a:r>
              <a:rPr lang="en-US" dirty="0" err="1"/>
              <a:t>kunne</a:t>
            </a:r>
            <a:r>
              <a:rPr lang="en-US" dirty="0"/>
              <a:t> </a:t>
            </a:r>
            <a:r>
              <a:rPr lang="en-US" dirty="0" err="1"/>
              <a:t>være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game changer for </a:t>
            </a:r>
            <a:r>
              <a:rPr lang="en-US" dirty="0" err="1"/>
              <a:t>regionen</a:t>
            </a:r>
            <a:r>
              <a:rPr lang="en-US" dirty="0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3D19E-BFDB-4C92-8EDD-32EDDA8F41D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898945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3D19E-BFDB-4C92-8EDD-32EDDA8F41D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83273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626535-DC6C-43AC-B2FF-4450A6DD4413}" type="slidenum">
              <a:rPr lang="nb-NO" smtClean="0"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9686181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2D8A20-27EB-4AD7-8542-613CEE1511EF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119499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n-NO" noProof="0"/>
          </a:p>
          <a:p>
            <a:endParaRPr lang="nn-NO" noProof="0"/>
          </a:p>
          <a:p>
            <a:endParaRPr lang="nb-NO" noProof="0"/>
          </a:p>
          <a:p>
            <a:endParaRPr lang="nb-NO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3D19E-BFDB-4C92-8EDD-32EDDA8F41D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912232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200"/>
              <a:t>Grafen over viser verdiskapning i Øygarden fordelt på næring og eksklusiv offentlig sektor. Total verdiskapning for kommunen i 2019 er i overkant av 9 milliarder NOK. Øygardens næringer er forholdsvis tungt knyttet til  eksportnæringer som olje og gass, marin, fornybar energi og maritim næring. Samlet står disse næringene for 44 % av verdiskapningen i regionen.</a:t>
            </a:r>
            <a:r>
              <a:rPr lang="nb-NO" sz="1200">
                <a:solidFill>
                  <a:srgbClr val="FF0000"/>
                </a:solidFill>
              </a:rPr>
              <a:t> </a:t>
            </a:r>
            <a:r>
              <a:rPr lang="nb-NO" sz="1200"/>
              <a:t>Samtidig skjer det betydelig verdiskapning i næringene bygg, anlegg og eiendom, tjenesteyting og varehandel. </a:t>
            </a:r>
          </a:p>
          <a:p>
            <a:endParaRPr lang="en-US"/>
          </a:p>
          <a:p>
            <a:pPr marL="0" indent="0">
              <a:buNone/>
            </a:pPr>
            <a:r>
              <a:rPr lang="nb-NO" sz="1200"/>
              <a:t>Sysselsettingsbildet viser at en stor andel av de sysselsatte jobber i næringene som også har høy verdiskaping, herunder tjenesteyting, olje og gass, bygg, anlegg og eiendom. Andelen som er sysselsatte i næringer som varehandel og jordbruk og skogbruk er høyere enn deres respektive andeler av verdiskapingen. </a:t>
            </a:r>
          </a:p>
          <a:p>
            <a:pPr marL="0" indent="0">
              <a:buNone/>
            </a:pPr>
            <a:r>
              <a:rPr lang="nb-NO" sz="1200">
                <a:highlight>
                  <a:srgbClr val="FFFFFF"/>
                </a:highlight>
              </a:rPr>
              <a:t>Sysselsettingstall for jordbruk og skogbruk er hentet fra SSB. Totalt er det 12 400 sysselsatte i privat sektor i Øygarden, målt etter regnskapstall, samt </a:t>
            </a:r>
            <a:r>
              <a:rPr lang="nb-NO" sz="1200" err="1">
                <a:highlight>
                  <a:srgbClr val="FFFFFF"/>
                </a:highlight>
              </a:rPr>
              <a:t>NIBIOs</a:t>
            </a:r>
            <a:r>
              <a:rPr lang="nb-NO" sz="1200">
                <a:highlight>
                  <a:srgbClr val="FFFFFF"/>
                </a:highlight>
              </a:rPr>
              <a:t> tall for jordbruk og skogbruk</a:t>
            </a:r>
            <a:r>
              <a:rPr lang="nb-NO" sz="1200" baseline="30000">
                <a:highlight>
                  <a:srgbClr val="FFFFFF"/>
                </a:highlight>
              </a:rPr>
              <a:t>1</a:t>
            </a:r>
            <a:r>
              <a:rPr lang="nb-NO" sz="1200">
                <a:highlight>
                  <a:srgbClr val="FFFFFF"/>
                </a:highlight>
              </a:rPr>
              <a:t>.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3D19E-BFDB-4C92-8EDD-32EDDA8F41D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906581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baseline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E00617-C91F-4FB8-B573-3C171EF78A9B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2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38767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8626535-DC6C-43AC-B2FF-4450A6DD4413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2645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626535-DC6C-43AC-B2FF-4450A6DD4413}" type="slidenum">
              <a:rPr lang="nb-NO" smtClean="0"/>
              <a:t>1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682709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626535-DC6C-43AC-B2FF-4450A6DD4413}" type="slidenum">
              <a:rPr lang="nb-NO" smtClean="0"/>
              <a:t>1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125929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D4CE06-D5A7-4FB4-9BDC-C849FEC20F0F}" type="slidenum">
              <a:rPr kumimoji="0" lang="nb-NO" alt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nb-NO" alt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32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0488" y="744538"/>
            <a:ext cx="6616700" cy="3722687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32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06679" y="4714953"/>
            <a:ext cx="4984320" cy="4467388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r>
              <a:rPr lang="nb-NO" altLang="nb-NO" b="1" dirty="0"/>
              <a:t>NOTATER</a:t>
            </a:r>
          </a:p>
          <a:p>
            <a:r>
              <a:rPr lang="nb-NO" altLang="nb-NO" dirty="0"/>
              <a:t>Fra </a:t>
            </a:r>
            <a:r>
              <a:rPr lang="nb-NO" altLang="nb-NO" dirty="0" err="1"/>
              <a:t>okt</a:t>
            </a:r>
            <a:r>
              <a:rPr lang="nb-NO" altLang="nb-NO" dirty="0"/>
              <a:t> år 2000 til mars 2001 har prisene steget med ca. 5 %. </a:t>
            </a:r>
          </a:p>
          <a:p>
            <a:r>
              <a:rPr lang="nb-NO" altLang="nb-NO" dirty="0"/>
              <a:t>Fra mars 2001 til okt. 2001 har prisene vært stabile.</a:t>
            </a:r>
          </a:p>
        </p:txBody>
      </p:sp>
    </p:spTree>
    <p:extLst>
      <p:ext uri="{BB962C8B-B14F-4D97-AF65-F5344CB8AC3E}">
        <p14:creationId xmlns:p14="http://schemas.microsoft.com/office/powerpoint/2010/main" val="32947552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8626535-DC6C-43AC-B2FF-4450A6DD4413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43295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626535-DC6C-43AC-B2FF-4450A6DD4413}" type="slidenum">
              <a:rPr lang="nb-NO" smtClean="0"/>
              <a:t>2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3616341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8626535-DC6C-43AC-B2FF-4450A6DD4413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35758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1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1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1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1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1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1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1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1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8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9.bin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0.bin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1.bin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2.bin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0.xml"/><Relationship Id="rId4" Type="http://schemas.openxmlformats.org/officeDocument/2006/relationships/image" Target="../media/image20.emf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1.xml"/><Relationship Id="rId4" Type="http://schemas.openxmlformats.org/officeDocument/2006/relationships/image" Target="../media/image20.emf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6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7.bin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8.bin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9.bin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20.bin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34.xml"/><Relationship Id="rId4" Type="http://schemas.openxmlformats.org/officeDocument/2006/relationships/image" Target="../media/image20.emf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35.xml"/><Relationship Id="rId4" Type="http://schemas.openxmlformats.org/officeDocument/2006/relationships/image" Target="../media/image20.emf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24.bin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25.bin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26.bin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21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27.bin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28.bin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29.bin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50.xml"/><Relationship Id="rId4" Type="http://schemas.openxmlformats.org/officeDocument/2006/relationships/image" Target="../media/image20.emf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51.xml"/><Relationship Id="rId4" Type="http://schemas.openxmlformats.org/officeDocument/2006/relationships/image" Target="../media/image20.emf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40.svg"/><Relationship Id="rId3" Type="http://schemas.openxmlformats.org/officeDocument/2006/relationships/image" Target="../media/image30.svg"/><Relationship Id="rId7" Type="http://schemas.openxmlformats.org/officeDocument/2006/relationships/image" Target="../media/image34.svg"/><Relationship Id="rId12" Type="http://schemas.openxmlformats.org/officeDocument/2006/relationships/image" Target="../media/image39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5.xml"/><Relationship Id="rId6" Type="http://schemas.openxmlformats.org/officeDocument/2006/relationships/image" Target="../media/image33.png"/><Relationship Id="rId11" Type="http://schemas.openxmlformats.org/officeDocument/2006/relationships/image" Target="../media/image38.svg"/><Relationship Id="rId5" Type="http://schemas.openxmlformats.org/officeDocument/2006/relationships/image" Target="../media/image32.svg"/><Relationship Id="rId10" Type="http://schemas.openxmlformats.org/officeDocument/2006/relationships/image" Target="../media/image37.png"/><Relationship Id="rId4" Type="http://schemas.openxmlformats.org/officeDocument/2006/relationships/image" Target="../media/image31.png"/><Relationship Id="rId9" Type="http://schemas.openxmlformats.org/officeDocument/2006/relationships/image" Target="../media/image36.svg"/></Relationships>
</file>

<file path=ppt/slideLayouts/_rels/slideLayout2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svg"/><Relationship Id="rId3" Type="http://schemas.openxmlformats.org/officeDocument/2006/relationships/image" Target="../media/image42.png"/><Relationship Id="rId7" Type="http://schemas.openxmlformats.org/officeDocument/2006/relationships/image" Target="../media/image31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5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5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5.xml"/></Relationships>
</file>

<file path=ppt/slideLayouts/_rels/slideLayout2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svg"/><Relationship Id="rId3" Type="http://schemas.openxmlformats.org/officeDocument/2006/relationships/image" Target="../media/image26.png"/><Relationship Id="rId7" Type="http://schemas.openxmlformats.org/officeDocument/2006/relationships/image" Target="../media/image27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5.xml"/><Relationship Id="rId6" Type="http://schemas.openxmlformats.org/officeDocument/2006/relationships/image" Target="../media/image24.png"/><Relationship Id="rId5" Type="http://schemas.openxmlformats.org/officeDocument/2006/relationships/image" Target="../media/image25.png"/><Relationship Id="rId4" Type="http://schemas.openxmlformats.org/officeDocument/2006/relationships/image" Target="../media/image22.png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5.xml"/><Relationship Id="rId6" Type="http://schemas.openxmlformats.org/officeDocument/2006/relationships/image" Target="../media/image24.png"/><Relationship Id="rId5" Type="http://schemas.openxmlformats.org/officeDocument/2006/relationships/image" Target="../media/image25.png"/><Relationship Id="rId4" Type="http://schemas.openxmlformats.org/officeDocument/2006/relationships/image" Target="../media/image22.png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15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17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17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eg"/><Relationship Id="rId1" Type="http://schemas.openxmlformats.org/officeDocument/2006/relationships/slideMaster" Target="../slideMasters/slideMaster17.xml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eg"/><Relationship Id="rId1" Type="http://schemas.openxmlformats.org/officeDocument/2006/relationships/slideMaster" Target="../slideMasters/slideMaster17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eg"/><Relationship Id="rId1" Type="http://schemas.openxmlformats.org/officeDocument/2006/relationships/slideMaster" Target="../slideMasters/slideMaster18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eg"/><Relationship Id="rId1" Type="http://schemas.openxmlformats.org/officeDocument/2006/relationships/slideMaster" Target="../slideMasters/slideMaster18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eg"/><Relationship Id="rId1" Type="http://schemas.openxmlformats.org/officeDocument/2006/relationships/slideMaster" Target="../slideMasters/slideMaster18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33.bin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34.bin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35.bin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36.bin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37.bin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20.xml"/><Relationship Id="rId1" Type="http://schemas.openxmlformats.org/officeDocument/2006/relationships/tags" Target="../tags/tag64.xml"/><Relationship Id="rId4" Type="http://schemas.openxmlformats.org/officeDocument/2006/relationships/image" Target="../media/image20.emf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20.xml"/><Relationship Id="rId1" Type="http://schemas.openxmlformats.org/officeDocument/2006/relationships/tags" Target="../tags/tag65.xml"/><Relationship Id="rId4" Type="http://schemas.openxmlformats.org/officeDocument/2006/relationships/image" Target="../media/image20.emf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23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jpeg"/><Relationship Id="rId1" Type="http://schemas.openxmlformats.org/officeDocument/2006/relationships/slideMaster" Target="../slideMasters/slideMaster23.xml"/></Relationships>
</file>

<file path=ppt/slideLayouts/_rels/slideLayout3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eg"/><Relationship Id="rId1" Type="http://schemas.openxmlformats.org/officeDocument/2006/relationships/slideMaster" Target="../slideMasters/slideMaster23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23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0779647-558C-4642-A453-5E95CCE957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BE871D43-DDAD-4B04-85F0-6E85455BCE9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5B1379F8-4DBF-46A1-BD98-ED78E4F774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815ABA-5AD9-4CFD-83D4-B9B9C9C5CC9C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F612BCB9-B3ED-4714-AE6B-846AFFBB19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34212388-B43E-4F62-9741-526018224A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DC2A16-8918-4093-8FB3-00182BD6EED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981662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DBFF2F8D-472A-4320-84ED-D5BCE7B9AB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8F3D472D-61C3-459A-BEDA-DC4D4685FAB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108C515-2D4D-4DC8-933D-6B5350B50C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815ABA-5AD9-4CFD-83D4-B9B9C9C5CC9C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CF7447F-4B45-4FF7-B860-9DF33D1DE8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885794A-1E6D-4069-B892-F366EA485D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DC2A16-8918-4093-8FB3-00182BD6EED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3007694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rside mintgro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ktangel 12"/>
          <p:cNvSpPr/>
          <p:nvPr/>
        </p:nvSpPr>
        <p:spPr bwMode="auto">
          <a:xfrm>
            <a:off x="1" y="0"/>
            <a:ext cx="12192000" cy="6864000"/>
          </a:xfrm>
          <a:prstGeom prst="rect">
            <a:avLst/>
          </a:prstGeom>
          <a:solidFill>
            <a:srgbClr val="A5E1D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19403" y="3813043"/>
            <a:ext cx="10753195" cy="576000"/>
          </a:xfrm>
          <a:prstGeom prst="rect">
            <a:avLst/>
          </a:prstGeom>
        </p:spPr>
        <p:txBody>
          <a:bodyPr lIns="108000" rtlCol="0"/>
          <a:lstStyle>
            <a:lvl1pPr marL="0" indent="0" algn="l">
              <a:spcBef>
                <a:spcPts val="0"/>
              </a:spcBef>
              <a:buNone/>
              <a:defRPr sz="2133">
                <a:solidFill>
                  <a:schemeClr val="accent2"/>
                </a:solidFill>
                <a:effectLst/>
                <a:latin typeface="Segoe UI"/>
                <a:cs typeface="Segoe UI"/>
              </a:defRPr>
            </a:lvl1pPr>
            <a:lvl2pPr marL="428599" indent="0" algn="ctr">
              <a:buNone/>
              <a:defRPr/>
            </a:lvl2pPr>
            <a:lvl3pPr marL="857199" indent="0" algn="ctr">
              <a:buNone/>
              <a:defRPr/>
            </a:lvl3pPr>
            <a:lvl4pPr marL="1285797" indent="0" algn="ctr">
              <a:buNone/>
              <a:defRPr/>
            </a:lvl4pPr>
            <a:lvl5pPr marL="1714396" indent="0" algn="ctr">
              <a:buNone/>
              <a:defRPr/>
            </a:lvl5pPr>
            <a:lvl6pPr marL="2142996" indent="0" algn="ctr">
              <a:buNone/>
              <a:defRPr/>
            </a:lvl6pPr>
            <a:lvl7pPr marL="2571594" indent="0" algn="ctr">
              <a:buNone/>
              <a:defRPr/>
            </a:lvl7pPr>
            <a:lvl8pPr marL="3000193" indent="0" algn="ctr">
              <a:buNone/>
              <a:defRPr/>
            </a:lvl8pPr>
            <a:lvl9pPr marL="3428793" indent="0" algn="ctr">
              <a:buNone/>
              <a:defRPr/>
            </a:lvl9pPr>
          </a:lstStyle>
          <a:p>
            <a:pPr rtl="0"/>
            <a:r>
              <a:rPr lang="nb-no"/>
              <a:t>Click to edit subtitle style</a:t>
            </a:r>
            <a:endParaRPr lang="en-US"/>
          </a:p>
        </p:txBody>
      </p:sp>
      <p:sp>
        <p:nvSpPr>
          <p:cNvPr id="12" name="Tittel 8"/>
          <p:cNvSpPr>
            <a:spLocks noGrp="1"/>
          </p:cNvSpPr>
          <p:nvPr>
            <p:ph type="title" hasCustomPrompt="1"/>
          </p:nvPr>
        </p:nvSpPr>
        <p:spPr>
          <a:xfrm>
            <a:off x="719403" y="3069000"/>
            <a:ext cx="10753195" cy="720000"/>
          </a:xfrm>
          <a:prstGeom prst="rect">
            <a:avLst/>
          </a:prstGeom>
        </p:spPr>
        <p:txBody>
          <a:bodyPr rtlCol="0" anchor="ctr" anchorCtr="0"/>
          <a:lstStyle>
            <a:lvl1pPr algn="l">
              <a:defRPr sz="5333">
                <a:solidFill>
                  <a:schemeClr val="accent2"/>
                </a:solidFill>
                <a:effectLst/>
                <a:latin typeface="Segoe UI"/>
                <a:cs typeface="Segoe UI"/>
              </a:defRPr>
            </a:lvl1pPr>
          </a:lstStyle>
          <a:p>
            <a:pPr rtl="0"/>
            <a:r>
              <a:rPr lang="nb-no"/>
              <a:t>Click to edit title style</a:t>
            </a:r>
          </a:p>
        </p:txBody>
      </p:sp>
    </p:spTree>
    <p:extLst>
      <p:ext uri="{BB962C8B-B14F-4D97-AF65-F5344CB8AC3E}">
        <p14:creationId xmlns:p14="http://schemas.microsoft.com/office/powerpoint/2010/main" val="4012090297"/>
      </p:ext>
    </p:extLst>
  </p:cSld>
  <p:clrMapOvr>
    <a:masterClrMapping/>
  </p:clrMapOvr>
  <p:transition spd="med"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teldeling med bilde 1: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bilde 5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3048000" cy="6864000"/>
          </a:xfrm>
          <a:prstGeom prst="rect">
            <a:avLst/>
          </a:prstGeom>
        </p:spPr>
        <p:txBody>
          <a:bodyPr rtlCol="0" anchor="ctr" anchorCtr="0"/>
          <a:lstStyle>
            <a:lvl1pPr marL="270111" indent="-270111" algn="ctr">
              <a:spcBef>
                <a:spcPts val="1067"/>
              </a:spcBef>
              <a:buClr>
                <a:schemeClr val="accent2"/>
              </a:buClr>
              <a:buSzPct val="100000"/>
              <a:defRPr b="0" i="0"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rtl="0"/>
            <a:endParaRPr lang="nb-NO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272BA749-D80E-874E-8FD8-316BCFA3A8B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98591" y="3813043"/>
            <a:ext cx="8362039" cy="576000"/>
          </a:xfrm>
          <a:prstGeom prst="rect">
            <a:avLst/>
          </a:prstGeom>
        </p:spPr>
        <p:txBody>
          <a:bodyPr lIns="108000" rtlCol="0"/>
          <a:lstStyle>
            <a:lvl1pPr marL="0" indent="0" algn="l">
              <a:spcBef>
                <a:spcPts val="0"/>
              </a:spcBef>
              <a:buNone/>
              <a:defRPr sz="2133">
                <a:solidFill>
                  <a:schemeClr val="accent2"/>
                </a:solidFill>
                <a:effectLst/>
                <a:latin typeface="Segoe UI"/>
                <a:cs typeface="Segoe UI"/>
              </a:defRPr>
            </a:lvl1pPr>
            <a:lvl2pPr marL="428599" indent="0" algn="ctr">
              <a:buNone/>
              <a:defRPr/>
            </a:lvl2pPr>
            <a:lvl3pPr marL="857199" indent="0" algn="ctr">
              <a:buNone/>
              <a:defRPr/>
            </a:lvl3pPr>
            <a:lvl4pPr marL="1285797" indent="0" algn="ctr">
              <a:buNone/>
              <a:defRPr/>
            </a:lvl4pPr>
            <a:lvl5pPr marL="1714396" indent="0" algn="ctr">
              <a:buNone/>
              <a:defRPr/>
            </a:lvl5pPr>
            <a:lvl6pPr marL="2142996" indent="0" algn="ctr">
              <a:buNone/>
              <a:defRPr/>
            </a:lvl6pPr>
            <a:lvl7pPr marL="2571594" indent="0" algn="ctr">
              <a:buNone/>
              <a:defRPr/>
            </a:lvl7pPr>
            <a:lvl8pPr marL="3000193" indent="0" algn="ctr">
              <a:buNone/>
              <a:defRPr/>
            </a:lvl8pPr>
            <a:lvl9pPr marL="3428793" indent="0" algn="ctr">
              <a:buNone/>
              <a:defRPr/>
            </a:lvl9pPr>
          </a:lstStyle>
          <a:p>
            <a:pPr rtl="0"/>
            <a:r>
              <a:rPr lang="nb-no"/>
              <a:t>Click to edit subtitle style</a:t>
            </a:r>
            <a:endParaRPr lang="en-US"/>
          </a:p>
        </p:txBody>
      </p:sp>
      <p:sp>
        <p:nvSpPr>
          <p:cNvPr id="6" name="Tittel 8">
            <a:extLst>
              <a:ext uri="{FF2B5EF4-FFF2-40B4-BE49-F238E27FC236}">
                <a16:creationId xmlns:a16="http://schemas.microsoft.com/office/drawing/2014/main" id="{B0063F3A-B40D-974A-8261-0412BC25F5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98591" y="3069000"/>
            <a:ext cx="8362039" cy="720000"/>
          </a:xfrm>
          <a:prstGeom prst="rect">
            <a:avLst/>
          </a:prstGeom>
        </p:spPr>
        <p:txBody>
          <a:bodyPr rtlCol="0" anchor="ctr" anchorCtr="0"/>
          <a:lstStyle>
            <a:lvl1pPr algn="l">
              <a:defRPr sz="5333">
                <a:solidFill>
                  <a:schemeClr val="accent2"/>
                </a:solidFill>
                <a:effectLst/>
                <a:latin typeface="Segoe UI"/>
                <a:cs typeface="Segoe UI"/>
              </a:defRPr>
            </a:lvl1pPr>
          </a:lstStyle>
          <a:p>
            <a:pPr rtl="0"/>
            <a:r>
              <a:rPr lang="nb-no"/>
              <a:t>Click to edit title style</a:t>
            </a:r>
          </a:p>
        </p:txBody>
      </p:sp>
    </p:spTree>
    <p:extLst>
      <p:ext uri="{BB962C8B-B14F-4D97-AF65-F5344CB8AC3E}">
        <p14:creationId xmlns:p14="http://schemas.microsoft.com/office/powerpoint/2010/main" val="2755054918"/>
      </p:ext>
    </p:extLst>
  </p:cSld>
  <p:clrMapOvr>
    <a:masterClrMapping/>
  </p:clrMapOvr>
  <p:transition spd="med"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Kapitteldeling med bilde 1: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/>
        </p:nvSpPr>
        <p:spPr bwMode="auto">
          <a:xfrm>
            <a:off x="3048000" y="0"/>
            <a:ext cx="9144000" cy="6858000"/>
          </a:xfrm>
          <a:prstGeom prst="rect">
            <a:avLst/>
          </a:prstGeom>
          <a:solidFill>
            <a:srgbClr val="A5E1D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14" name="Plassholder for bilde 5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3048000" cy="6864000"/>
          </a:xfrm>
          <a:prstGeom prst="rect">
            <a:avLst/>
          </a:prstGeom>
        </p:spPr>
        <p:txBody>
          <a:bodyPr rtlCol="0" anchor="ctr" anchorCtr="0"/>
          <a:lstStyle>
            <a:lvl1pPr marL="270111" indent="-270111" algn="ctr">
              <a:spcBef>
                <a:spcPts val="1067"/>
              </a:spcBef>
              <a:buClr>
                <a:schemeClr val="accent2"/>
              </a:buClr>
              <a:buSzPct val="100000"/>
              <a:defRPr b="0" i="0"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rtl="0"/>
            <a:endParaRPr lang="nb-NO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9A6BF9D1-B70E-C04B-BC53-1433BEF2C8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98591" y="3813043"/>
            <a:ext cx="8362039" cy="576000"/>
          </a:xfrm>
          <a:prstGeom prst="rect">
            <a:avLst/>
          </a:prstGeom>
        </p:spPr>
        <p:txBody>
          <a:bodyPr lIns="108000" rtlCol="0"/>
          <a:lstStyle>
            <a:lvl1pPr marL="0" indent="0" algn="l">
              <a:spcBef>
                <a:spcPts val="0"/>
              </a:spcBef>
              <a:buNone/>
              <a:defRPr sz="2133">
                <a:solidFill>
                  <a:schemeClr val="accent2"/>
                </a:solidFill>
                <a:effectLst/>
                <a:latin typeface="Segoe UI"/>
                <a:cs typeface="Segoe UI"/>
              </a:defRPr>
            </a:lvl1pPr>
            <a:lvl2pPr marL="428599" indent="0" algn="ctr">
              <a:buNone/>
              <a:defRPr/>
            </a:lvl2pPr>
            <a:lvl3pPr marL="857199" indent="0" algn="ctr">
              <a:buNone/>
              <a:defRPr/>
            </a:lvl3pPr>
            <a:lvl4pPr marL="1285797" indent="0" algn="ctr">
              <a:buNone/>
              <a:defRPr/>
            </a:lvl4pPr>
            <a:lvl5pPr marL="1714396" indent="0" algn="ctr">
              <a:buNone/>
              <a:defRPr/>
            </a:lvl5pPr>
            <a:lvl6pPr marL="2142996" indent="0" algn="ctr">
              <a:buNone/>
              <a:defRPr/>
            </a:lvl6pPr>
            <a:lvl7pPr marL="2571594" indent="0" algn="ctr">
              <a:buNone/>
              <a:defRPr/>
            </a:lvl7pPr>
            <a:lvl8pPr marL="3000193" indent="0" algn="ctr">
              <a:buNone/>
              <a:defRPr/>
            </a:lvl8pPr>
            <a:lvl9pPr marL="3428793" indent="0" algn="ctr">
              <a:buNone/>
              <a:defRPr/>
            </a:lvl9pPr>
          </a:lstStyle>
          <a:p>
            <a:pPr rtl="0"/>
            <a:r>
              <a:rPr lang="nb-no"/>
              <a:t>Click to edit subtitle style</a:t>
            </a:r>
            <a:endParaRPr lang="en-US"/>
          </a:p>
        </p:txBody>
      </p:sp>
      <p:sp>
        <p:nvSpPr>
          <p:cNvPr id="7" name="Tittel 8">
            <a:extLst>
              <a:ext uri="{FF2B5EF4-FFF2-40B4-BE49-F238E27FC236}">
                <a16:creationId xmlns:a16="http://schemas.microsoft.com/office/drawing/2014/main" id="{6D0311DB-303E-E94F-AD1C-668BD4809B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98591" y="3069000"/>
            <a:ext cx="8362039" cy="720000"/>
          </a:xfrm>
          <a:prstGeom prst="rect">
            <a:avLst/>
          </a:prstGeom>
        </p:spPr>
        <p:txBody>
          <a:bodyPr rtlCol="0" anchor="ctr" anchorCtr="0"/>
          <a:lstStyle>
            <a:lvl1pPr algn="l">
              <a:defRPr sz="5333">
                <a:solidFill>
                  <a:schemeClr val="accent2"/>
                </a:solidFill>
                <a:effectLst/>
                <a:latin typeface="Segoe UI"/>
                <a:cs typeface="Segoe UI"/>
              </a:defRPr>
            </a:lvl1pPr>
          </a:lstStyle>
          <a:p>
            <a:pPr rtl="0"/>
            <a:r>
              <a:rPr lang="nb-no"/>
              <a:t>Click to edit title style</a:t>
            </a:r>
          </a:p>
        </p:txBody>
      </p:sp>
    </p:spTree>
    <p:extLst>
      <p:ext uri="{BB962C8B-B14F-4D97-AF65-F5344CB8AC3E}">
        <p14:creationId xmlns:p14="http://schemas.microsoft.com/office/powerpoint/2010/main" val="2845140753"/>
      </p:ext>
    </p:extLst>
  </p:cSld>
  <p:clrMapOvr>
    <a:masterClrMapping/>
  </p:clrMapOvr>
  <p:transition spd="med"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Kapitteldeling med bilde 1: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/>
        </p:nvSpPr>
        <p:spPr bwMode="auto">
          <a:xfrm>
            <a:off x="3048000" y="0"/>
            <a:ext cx="9144000" cy="685800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14" name="Plassholder for bilde 5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3048000" cy="6864000"/>
          </a:xfrm>
          <a:prstGeom prst="rect">
            <a:avLst/>
          </a:prstGeom>
        </p:spPr>
        <p:txBody>
          <a:bodyPr rtlCol="0" anchor="ctr" anchorCtr="0"/>
          <a:lstStyle>
            <a:lvl1pPr marL="270111" indent="-270111" algn="ctr">
              <a:spcBef>
                <a:spcPts val="1067"/>
              </a:spcBef>
              <a:buClr>
                <a:schemeClr val="accent2"/>
              </a:buClr>
              <a:buSzPct val="100000"/>
              <a:defRPr b="0" i="0"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rtl="0"/>
            <a:endParaRPr lang="nb-NO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2F8D8D1A-19AC-B741-9F97-0CA89E9449D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98591" y="3813043"/>
            <a:ext cx="8362039" cy="576000"/>
          </a:xfrm>
          <a:prstGeom prst="rect">
            <a:avLst/>
          </a:prstGeom>
        </p:spPr>
        <p:txBody>
          <a:bodyPr lIns="108000" rtlCol="0"/>
          <a:lstStyle>
            <a:lvl1pPr marL="0" indent="0" algn="l">
              <a:spcBef>
                <a:spcPts val="0"/>
              </a:spcBef>
              <a:buNone/>
              <a:defRPr sz="2133">
                <a:solidFill>
                  <a:schemeClr val="bg1"/>
                </a:solidFill>
                <a:effectLst/>
                <a:latin typeface="Segoe UI"/>
                <a:cs typeface="Segoe UI"/>
              </a:defRPr>
            </a:lvl1pPr>
            <a:lvl2pPr marL="428599" indent="0" algn="ctr">
              <a:buNone/>
              <a:defRPr/>
            </a:lvl2pPr>
            <a:lvl3pPr marL="857199" indent="0" algn="ctr">
              <a:buNone/>
              <a:defRPr/>
            </a:lvl3pPr>
            <a:lvl4pPr marL="1285797" indent="0" algn="ctr">
              <a:buNone/>
              <a:defRPr/>
            </a:lvl4pPr>
            <a:lvl5pPr marL="1714396" indent="0" algn="ctr">
              <a:buNone/>
              <a:defRPr/>
            </a:lvl5pPr>
            <a:lvl6pPr marL="2142996" indent="0" algn="ctr">
              <a:buNone/>
              <a:defRPr/>
            </a:lvl6pPr>
            <a:lvl7pPr marL="2571594" indent="0" algn="ctr">
              <a:buNone/>
              <a:defRPr/>
            </a:lvl7pPr>
            <a:lvl8pPr marL="3000193" indent="0" algn="ctr">
              <a:buNone/>
              <a:defRPr/>
            </a:lvl8pPr>
            <a:lvl9pPr marL="3428793" indent="0" algn="ctr">
              <a:buNone/>
              <a:defRPr/>
            </a:lvl9pPr>
          </a:lstStyle>
          <a:p>
            <a:pPr rtl="0"/>
            <a:r>
              <a:rPr lang="nb-no"/>
              <a:t>Click to edit subtitle style</a:t>
            </a:r>
            <a:endParaRPr lang="en-US"/>
          </a:p>
        </p:txBody>
      </p:sp>
      <p:sp>
        <p:nvSpPr>
          <p:cNvPr id="7" name="Tittel 8">
            <a:extLst>
              <a:ext uri="{FF2B5EF4-FFF2-40B4-BE49-F238E27FC236}">
                <a16:creationId xmlns:a16="http://schemas.microsoft.com/office/drawing/2014/main" id="{AF4518CF-8764-C74E-81F2-68157E0B86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98591" y="3069000"/>
            <a:ext cx="8362039" cy="720000"/>
          </a:xfrm>
          <a:prstGeom prst="rect">
            <a:avLst/>
          </a:prstGeom>
        </p:spPr>
        <p:txBody>
          <a:bodyPr rtlCol="0" anchor="ctr" anchorCtr="0"/>
          <a:lstStyle>
            <a:lvl1pPr algn="l">
              <a:defRPr sz="5333">
                <a:solidFill>
                  <a:schemeClr val="bg1"/>
                </a:solidFill>
                <a:effectLst/>
                <a:latin typeface="Segoe UI"/>
                <a:cs typeface="Segoe UI"/>
              </a:defRPr>
            </a:lvl1pPr>
          </a:lstStyle>
          <a:p>
            <a:pPr rtl="0"/>
            <a:r>
              <a:rPr lang="nb-no"/>
              <a:t>Click to edit title style</a:t>
            </a:r>
          </a:p>
        </p:txBody>
      </p:sp>
    </p:spTree>
    <p:extLst>
      <p:ext uri="{BB962C8B-B14F-4D97-AF65-F5344CB8AC3E}">
        <p14:creationId xmlns:p14="http://schemas.microsoft.com/office/powerpoint/2010/main" val="3505833509"/>
      </p:ext>
    </p:extLst>
  </p:cSld>
  <p:clrMapOvr>
    <a:masterClrMapping/>
  </p:clrMapOvr>
  <p:transition spd="med"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4 de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/>
        </p:nvSpPr>
        <p:spPr bwMode="auto">
          <a:xfrm>
            <a:off x="6096000" y="-1"/>
            <a:ext cx="6096000" cy="3432000"/>
          </a:xfrm>
          <a:prstGeom prst="rect">
            <a:avLst/>
          </a:prstGeom>
          <a:solidFill>
            <a:srgbClr val="A5E1D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6" name="Plassholder for bilde 5"/>
          <p:cNvSpPr>
            <a:spLocks noGrp="1"/>
          </p:cNvSpPr>
          <p:nvPr>
            <p:ph type="pic" sz="quarter" idx="12"/>
          </p:nvPr>
        </p:nvSpPr>
        <p:spPr>
          <a:xfrm>
            <a:off x="0" y="1"/>
            <a:ext cx="6096000" cy="3433769"/>
          </a:xfrm>
          <a:prstGeom prst="rect">
            <a:avLst/>
          </a:prstGeom>
        </p:spPr>
        <p:txBody>
          <a:bodyPr rtlCol="0" anchor="ctr" anchorCtr="0"/>
          <a:lstStyle>
            <a:lvl1pPr marL="270111" indent="-270111" algn="ctr">
              <a:spcBef>
                <a:spcPts val="1067"/>
              </a:spcBef>
              <a:buClr>
                <a:schemeClr val="accent2"/>
              </a:buClr>
              <a:buSzPct val="100000"/>
              <a:defRPr b="0" i="0"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rtl="0"/>
            <a:endParaRPr lang="nb-NO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6480043" y="356659"/>
            <a:ext cx="5280587" cy="2688299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accent2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11" name="Plassholder for bilde 5"/>
          <p:cNvSpPr>
            <a:spLocks noGrp="1"/>
          </p:cNvSpPr>
          <p:nvPr>
            <p:ph type="pic" sz="quarter" idx="13"/>
          </p:nvPr>
        </p:nvSpPr>
        <p:spPr>
          <a:xfrm>
            <a:off x="6096000" y="3432001"/>
            <a:ext cx="6096000" cy="3433769"/>
          </a:xfrm>
          <a:prstGeom prst="rect">
            <a:avLst/>
          </a:prstGeom>
        </p:spPr>
        <p:txBody>
          <a:bodyPr rtlCol="0" anchor="ctr" anchorCtr="0"/>
          <a:lstStyle>
            <a:lvl1pPr marL="270111" indent="-270111" algn="ctr">
              <a:spcBef>
                <a:spcPts val="1067"/>
              </a:spcBef>
              <a:buClr>
                <a:schemeClr val="accent2"/>
              </a:buClr>
              <a:buSzPct val="100000"/>
              <a:defRPr b="0" i="0"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rtl="0"/>
            <a:endParaRPr lang="nb-NO"/>
          </a:p>
        </p:txBody>
      </p:sp>
      <p:sp>
        <p:nvSpPr>
          <p:cNvPr id="14" name="Rektangel 13"/>
          <p:cNvSpPr/>
          <p:nvPr/>
        </p:nvSpPr>
        <p:spPr bwMode="auto">
          <a:xfrm>
            <a:off x="0" y="3433768"/>
            <a:ext cx="6096000" cy="343200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335360" y="3813043"/>
            <a:ext cx="5376597" cy="2688299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bg1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3523921"/>
      </p:ext>
    </p:extLst>
  </p:cSld>
  <p:clrMapOvr>
    <a:masterClrMapping/>
  </p:clrMapOvr>
  <p:transition spd="med" advClick="0"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4 de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/>
        </p:nvSpPr>
        <p:spPr bwMode="auto">
          <a:xfrm>
            <a:off x="6096000" y="1"/>
            <a:ext cx="6096000" cy="3424231"/>
          </a:xfrm>
          <a:prstGeom prst="rect">
            <a:avLst/>
          </a:prstGeom>
          <a:solidFill>
            <a:srgbClr val="A5E1D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6" name="Plassholder for bilde 5"/>
          <p:cNvSpPr>
            <a:spLocks noGrp="1"/>
          </p:cNvSpPr>
          <p:nvPr>
            <p:ph type="pic" sz="quarter" idx="12"/>
          </p:nvPr>
        </p:nvSpPr>
        <p:spPr>
          <a:xfrm>
            <a:off x="0" y="-4769"/>
            <a:ext cx="6096000" cy="3433769"/>
          </a:xfrm>
          <a:prstGeom prst="rect">
            <a:avLst/>
          </a:prstGeom>
        </p:spPr>
        <p:txBody>
          <a:bodyPr rtlCol="0" anchor="ctr" anchorCtr="0"/>
          <a:lstStyle>
            <a:lvl1pPr marL="270111" indent="-270111" algn="ctr">
              <a:spcBef>
                <a:spcPts val="1067"/>
              </a:spcBef>
              <a:buClr>
                <a:schemeClr val="accent2"/>
              </a:buClr>
              <a:buSzPct val="100000"/>
              <a:defRPr b="0" i="0"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rtl="0"/>
            <a:endParaRPr lang="nb-NO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6480043" y="356659"/>
            <a:ext cx="5280587" cy="576064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accent2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title style</a:t>
            </a:r>
          </a:p>
        </p:txBody>
      </p:sp>
      <p:sp>
        <p:nvSpPr>
          <p:cNvPr id="11" name="Plassholder for bilde 5"/>
          <p:cNvSpPr>
            <a:spLocks noGrp="1"/>
          </p:cNvSpPr>
          <p:nvPr>
            <p:ph type="pic" sz="quarter" idx="13"/>
          </p:nvPr>
        </p:nvSpPr>
        <p:spPr>
          <a:xfrm>
            <a:off x="6096000" y="3424232"/>
            <a:ext cx="6096000" cy="3433769"/>
          </a:xfrm>
          <a:prstGeom prst="rect">
            <a:avLst/>
          </a:prstGeom>
        </p:spPr>
        <p:txBody>
          <a:bodyPr rtlCol="0" anchor="ctr" anchorCtr="0"/>
          <a:lstStyle>
            <a:lvl1pPr marL="270111" indent="-270111" algn="ctr">
              <a:spcBef>
                <a:spcPts val="1067"/>
              </a:spcBef>
              <a:buClr>
                <a:schemeClr val="accent2"/>
              </a:buClr>
              <a:buSzPct val="100000"/>
              <a:defRPr b="0" i="0"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rtl="0"/>
            <a:endParaRPr lang="nb-NO"/>
          </a:p>
        </p:txBody>
      </p:sp>
      <p:sp>
        <p:nvSpPr>
          <p:cNvPr id="14" name="Rektangel 13"/>
          <p:cNvSpPr/>
          <p:nvPr/>
        </p:nvSpPr>
        <p:spPr bwMode="auto">
          <a:xfrm>
            <a:off x="0" y="3424232"/>
            <a:ext cx="6096000" cy="3433769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35360" y="3813043"/>
            <a:ext cx="5376597" cy="576064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bg1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title sty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35360" y="4485118"/>
            <a:ext cx="5376597" cy="1997079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287993" indent="-239994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bg1"/>
                </a:solidFill>
                <a:latin typeface="Segoe UI"/>
              </a:defRPr>
            </a:lvl1pPr>
            <a:lvl2pPr marL="479988" indent="-191995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4"/>
          </p:nvPr>
        </p:nvSpPr>
        <p:spPr>
          <a:xfrm>
            <a:off x="6473995" y="969429"/>
            <a:ext cx="5286635" cy="1997079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287993" indent="-239994">
              <a:spcBef>
                <a:spcPts val="800"/>
              </a:spcBef>
              <a:buClr>
                <a:schemeClr val="accent2"/>
              </a:buClr>
              <a:buSzPct val="110000"/>
              <a:buFont typeface="Wingdings" charset="2"/>
              <a:buChar char="§"/>
              <a:defRPr sz="1600" baseline="0">
                <a:solidFill>
                  <a:schemeClr val="accent2"/>
                </a:solidFill>
                <a:latin typeface="Segoe UI"/>
              </a:defRPr>
            </a:lvl1pPr>
            <a:lvl2pPr marL="479988" indent="-191995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18709382"/>
      </p:ext>
    </p:extLst>
  </p:cSld>
  <p:clrMapOvr>
    <a:masterClrMapping/>
  </p:clrMapOvr>
  <p:transition spd="med"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orisontal split">
    <p:bg>
      <p:bgPr>
        <a:solidFill>
          <a:srgbClr val="A3E1D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335360" y="356659"/>
            <a:ext cx="11425269" cy="2688299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accent2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14" name="Rektangel 13"/>
          <p:cNvSpPr/>
          <p:nvPr/>
        </p:nvSpPr>
        <p:spPr bwMode="auto">
          <a:xfrm>
            <a:off x="0" y="3401617"/>
            <a:ext cx="12192000" cy="3456384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335360" y="3813043"/>
            <a:ext cx="11425269" cy="2688299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bg1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56960126"/>
      </p:ext>
    </p:extLst>
  </p:cSld>
  <p:clrMapOvr>
    <a:masterClrMapping/>
  </p:clrMapOvr>
  <p:transition spd="med"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Vertikal split">
    <p:bg>
      <p:bgPr>
        <a:solidFill>
          <a:srgbClr val="A3E1D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6480043" y="356659"/>
            <a:ext cx="5280587" cy="6144683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accent2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14" name="Rektangel 13"/>
          <p:cNvSpPr/>
          <p:nvPr/>
        </p:nvSpPr>
        <p:spPr bwMode="auto">
          <a:xfrm>
            <a:off x="0" y="1"/>
            <a:ext cx="6096000" cy="685800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335360" y="356659"/>
            <a:ext cx="5376597" cy="6144683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bg1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87439009"/>
      </p:ext>
    </p:extLst>
  </p:cSld>
  <p:clrMapOvr>
    <a:masterClrMapping/>
  </p:clrMapOvr>
  <p:transition spd="med"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Vertikal split">
    <p:bg>
      <p:bgPr>
        <a:solidFill>
          <a:srgbClr val="A3E1D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384043" y="356659"/>
            <a:ext cx="5280587" cy="6144683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accent2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14" name="Rektangel 13"/>
          <p:cNvSpPr/>
          <p:nvPr/>
        </p:nvSpPr>
        <p:spPr bwMode="auto">
          <a:xfrm>
            <a:off x="6096000" y="1"/>
            <a:ext cx="6096000" cy="685800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6431360" y="356659"/>
            <a:ext cx="5376597" cy="6144683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bg1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09929236"/>
      </p:ext>
    </p:extLst>
  </p:cSld>
  <p:clrMapOvr>
    <a:masterClrMapping/>
  </p:clrMapOvr>
  <p:transition spd="med" advClick="0"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8 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/>
        </p:nvSpPr>
        <p:spPr bwMode="auto">
          <a:xfrm>
            <a:off x="3052800" y="0"/>
            <a:ext cx="3048000" cy="3430168"/>
          </a:xfrm>
          <a:prstGeom prst="rect">
            <a:avLst/>
          </a:prstGeom>
          <a:solidFill>
            <a:srgbClr val="A5E1D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6" name="Plassholder for bilde 5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3048000" cy="3432000"/>
          </a:xfrm>
          <a:prstGeom prst="rect">
            <a:avLst/>
          </a:prstGeom>
        </p:spPr>
        <p:txBody>
          <a:bodyPr rtlCol="0" anchor="ctr" anchorCtr="0"/>
          <a:lstStyle>
            <a:lvl1pPr marL="270111" indent="-270111" algn="ctr">
              <a:spcBef>
                <a:spcPts val="1067"/>
              </a:spcBef>
              <a:buClr>
                <a:schemeClr val="accent2"/>
              </a:buClr>
              <a:buSzPct val="100000"/>
              <a:defRPr b="0" i="0"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rtl="0"/>
            <a:r>
              <a:rPr lang="nb-no"/>
              <a:t>Pull picture to </a:t>
            </a:r>
            <a:br>
              <a:rPr lang="nb-NO"/>
            </a:br>
            <a:r>
              <a:rPr lang="nb-no"/>
              <a:t>the placeholder or click on the icon to add</a:t>
            </a:r>
            <a:endParaRPr lang="nb-NO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3311691" y="356659"/>
            <a:ext cx="2496277" cy="2688299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accent2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10" name="Plassholder for bilde 5"/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"/>
            <a:ext cx="3048000" cy="3433769"/>
          </a:xfrm>
          <a:prstGeom prst="rect">
            <a:avLst/>
          </a:prstGeom>
        </p:spPr>
        <p:txBody>
          <a:bodyPr rtlCol="0" anchor="ctr" anchorCtr="0"/>
          <a:lstStyle>
            <a:lvl1pPr marL="270111" indent="-270111" algn="ctr">
              <a:spcBef>
                <a:spcPts val="1067"/>
              </a:spcBef>
              <a:buClr>
                <a:schemeClr val="accent2"/>
              </a:buClr>
              <a:buSzPct val="100000"/>
              <a:defRPr b="0" i="0"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rtl="0"/>
            <a:r>
              <a:rPr lang="nb-no"/>
              <a:t>Pull picture to </a:t>
            </a:r>
            <a:br>
              <a:rPr lang="nb-NO"/>
            </a:br>
            <a:r>
              <a:rPr lang="nb-no"/>
              <a:t>the placeholder or click on the icon to add</a:t>
            </a:r>
            <a:endParaRPr lang="nb-NO"/>
          </a:p>
        </p:txBody>
      </p:sp>
      <p:sp>
        <p:nvSpPr>
          <p:cNvPr id="12" name="Rektangel 11"/>
          <p:cNvSpPr/>
          <p:nvPr/>
        </p:nvSpPr>
        <p:spPr bwMode="auto">
          <a:xfrm>
            <a:off x="9144000" y="0"/>
            <a:ext cx="3048000" cy="343200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9432032" y="353876"/>
            <a:ext cx="2471936" cy="2688299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accent2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13" name="Plassholder for bilde 5"/>
          <p:cNvSpPr>
            <a:spLocks noGrp="1"/>
          </p:cNvSpPr>
          <p:nvPr>
            <p:ph type="pic" sz="quarter" idx="16" hasCustomPrompt="1"/>
          </p:nvPr>
        </p:nvSpPr>
        <p:spPr>
          <a:xfrm>
            <a:off x="3052800" y="3432001"/>
            <a:ext cx="3048000" cy="3433769"/>
          </a:xfrm>
          <a:prstGeom prst="rect">
            <a:avLst/>
          </a:prstGeom>
        </p:spPr>
        <p:txBody>
          <a:bodyPr rtlCol="0" anchor="ctr" anchorCtr="0"/>
          <a:lstStyle>
            <a:lvl1pPr marL="270111" indent="-270111" algn="ctr">
              <a:spcBef>
                <a:spcPts val="1067"/>
              </a:spcBef>
              <a:buClr>
                <a:schemeClr val="accent2"/>
              </a:buClr>
              <a:buSzPct val="100000"/>
              <a:defRPr b="0" i="0"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rtl="0"/>
            <a:r>
              <a:rPr lang="nb-no"/>
              <a:t>Pull picture to </a:t>
            </a:r>
            <a:br>
              <a:rPr lang="nb-NO"/>
            </a:br>
            <a:r>
              <a:rPr lang="nb-no"/>
              <a:t>the placeholder or click on the icon to add</a:t>
            </a:r>
            <a:endParaRPr lang="nb-NO"/>
          </a:p>
        </p:txBody>
      </p:sp>
      <p:sp>
        <p:nvSpPr>
          <p:cNvPr id="15" name="Rektangel 14"/>
          <p:cNvSpPr/>
          <p:nvPr/>
        </p:nvSpPr>
        <p:spPr bwMode="auto">
          <a:xfrm>
            <a:off x="0" y="3430165"/>
            <a:ext cx="3048000" cy="343200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288032" y="3797184"/>
            <a:ext cx="2471936" cy="2688299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bg1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18" name="Rektangel 17"/>
          <p:cNvSpPr/>
          <p:nvPr/>
        </p:nvSpPr>
        <p:spPr bwMode="auto">
          <a:xfrm>
            <a:off x="6096000" y="3430165"/>
            <a:ext cx="3048000" cy="343200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6354483" y="3793899"/>
            <a:ext cx="2496277" cy="2688299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bg1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20" name="Plassholder for bilde 5"/>
          <p:cNvSpPr>
            <a:spLocks noGrp="1"/>
          </p:cNvSpPr>
          <p:nvPr>
            <p:ph type="pic" sz="quarter" idx="19" hasCustomPrompt="1"/>
          </p:nvPr>
        </p:nvSpPr>
        <p:spPr>
          <a:xfrm>
            <a:off x="9144000" y="3428397"/>
            <a:ext cx="3048000" cy="3433769"/>
          </a:xfrm>
          <a:prstGeom prst="rect">
            <a:avLst/>
          </a:prstGeom>
        </p:spPr>
        <p:txBody>
          <a:bodyPr rtlCol="0" anchor="ctr" anchorCtr="0"/>
          <a:lstStyle>
            <a:lvl1pPr marL="270111" indent="-270111" algn="ctr">
              <a:spcBef>
                <a:spcPts val="1067"/>
              </a:spcBef>
              <a:buClr>
                <a:schemeClr val="accent2"/>
              </a:buClr>
              <a:buSzPct val="100000"/>
              <a:defRPr b="0" i="0"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rtl="0"/>
            <a:r>
              <a:rPr lang="nb-no"/>
              <a:t>Pull picture to </a:t>
            </a:r>
            <a:br>
              <a:rPr lang="nb-NO"/>
            </a:br>
            <a:r>
              <a:rPr lang="nb-no"/>
              <a:t>the placeholder or click on the icon to ad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63233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 advClick="0">
        <p:fade/>
      </p:transition>
    </mc:Choice>
    <mc:Fallback xmlns="">
      <p:transition advClick="0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>
            <a:extLst>
              <a:ext uri="{FF2B5EF4-FFF2-40B4-BE49-F238E27FC236}">
                <a16:creationId xmlns:a16="http://schemas.microsoft.com/office/drawing/2014/main" id="{3CD8EEAF-F1B9-4D3F-A7E5-F2221DB8655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1C211393-76EA-4065-BC31-1BBDCCE8CAE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42B615A1-A22B-494D-ADFD-28AEB12861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815ABA-5AD9-4CFD-83D4-B9B9C9C5CC9C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76F7446B-1FD9-418F-85E3-D21B2F2709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10935016-D7CA-43CF-A99F-66097144EA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DC2A16-8918-4093-8FB3-00182BD6EED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6299982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8 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/>
        </p:nvSpPr>
        <p:spPr bwMode="auto">
          <a:xfrm>
            <a:off x="3053208" y="-1"/>
            <a:ext cx="3042792" cy="3430168"/>
          </a:xfrm>
          <a:prstGeom prst="rect">
            <a:avLst/>
          </a:prstGeom>
          <a:solidFill>
            <a:srgbClr val="00343E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6" name="Plassholder for bilde 5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3050283" cy="3432000"/>
          </a:xfrm>
          <a:prstGeom prst="rect">
            <a:avLst/>
          </a:prstGeom>
        </p:spPr>
        <p:txBody>
          <a:bodyPr rtlCol="0" anchor="ctr" anchorCtr="0"/>
          <a:lstStyle>
            <a:lvl1pPr marL="270111" indent="-270111" algn="ctr">
              <a:spcBef>
                <a:spcPts val="1067"/>
              </a:spcBef>
              <a:buClr>
                <a:schemeClr val="accent2"/>
              </a:buClr>
              <a:buSzPct val="100000"/>
              <a:defRPr b="0" i="0"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rtl="0"/>
            <a:endParaRPr lang="nb-NO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3311691" y="356659"/>
            <a:ext cx="2496277" cy="2688299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accent1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12" name="Rektangel 11"/>
          <p:cNvSpPr/>
          <p:nvPr/>
        </p:nvSpPr>
        <p:spPr bwMode="auto">
          <a:xfrm>
            <a:off x="9144000" y="0"/>
            <a:ext cx="3052800" cy="343200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9432032" y="353876"/>
            <a:ext cx="2471936" cy="2688299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bg1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18" name="Rektangel 17"/>
          <p:cNvSpPr/>
          <p:nvPr/>
        </p:nvSpPr>
        <p:spPr bwMode="auto">
          <a:xfrm>
            <a:off x="6096000" y="3432000"/>
            <a:ext cx="3052800" cy="3426000"/>
          </a:xfrm>
          <a:prstGeom prst="rect">
            <a:avLst/>
          </a:prstGeom>
          <a:solidFill>
            <a:srgbClr val="00AF8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6354483" y="3793899"/>
            <a:ext cx="2496277" cy="2688299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bg1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14" name="Rektangel 13"/>
          <p:cNvSpPr/>
          <p:nvPr/>
        </p:nvSpPr>
        <p:spPr bwMode="auto">
          <a:xfrm>
            <a:off x="6098925" y="0"/>
            <a:ext cx="3052800" cy="343200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6357408" y="356659"/>
            <a:ext cx="2496277" cy="2688299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accent2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23" name="Rektangel 22"/>
          <p:cNvSpPr/>
          <p:nvPr/>
        </p:nvSpPr>
        <p:spPr bwMode="auto">
          <a:xfrm>
            <a:off x="3043200" y="3432000"/>
            <a:ext cx="3052800" cy="3432000"/>
          </a:xfrm>
          <a:prstGeom prst="rect">
            <a:avLst/>
          </a:prstGeom>
          <a:solidFill>
            <a:srgbClr val="14555A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3321463" y="3793899"/>
            <a:ext cx="2496277" cy="2688299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accent1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25" name="Rektangel 24"/>
          <p:cNvSpPr/>
          <p:nvPr/>
        </p:nvSpPr>
        <p:spPr bwMode="auto">
          <a:xfrm>
            <a:off x="0" y="3432000"/>
            <a:ext cx="3052800" cy="343200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258483" y="3793899"/>
            <a:ext cx="2496277" cy="2688299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bg1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27" name="Plassholder for bilde 5"/>
          <p:cNvSpPr>
            <a:spLocks noGrp="1"/>
          </p:cNvSpPr>
          <p:nvPr>
            <p:ph type="pic" sz="quarter" idx="22"/>
          </p:nvPr>
        </p:nvSpPr>
        <p:spPr>
          <a:xfrm>
            <a:off x="9141717" y="3430166"/>
            <a:ext cx="3053208" cy="3434273"/>
          </a:xfrm>
          <a:prstGeom prst="rect">
            <a:avLst/>
          </a:prstGeom>
        </p:spPr>
        <p:txBody>
          <a:bodyPr rtlCol="0" anchor="ctr" anchorCtr="0"/>
          <a:lstStyle>
            <a:lvl1pPr marL="270111" indent="-270111" algn="ctr">
              <a:spcBef>
                <a:spcPts val="1067"/>
              </a:spcBef>
              <a:buClr>
                <a:schemeClr val="accent2"/>
              </a:buClr>
              <a:buSzPct val="100000"/>
              <a:defRPr b="0" i="0"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rtl="0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4561988"/>
      </p:ext>
    </p:extLst>
  </p:cSld>
  <p:clrMapOvr>
    <a:masterClrMapping/>
  </p:clrMapOvr>
  <p:transition spd="med"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8 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bilde 5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3052800" cy="3432000"/>
          </a:xfrm>
          <a:prstGeom prst="rect">
            <a:avLst/>
          </a:prstGeom>
        </p:spPr>
        <p:txBody>
          <a:bodyPr rtlCol="0" anchor="ctr" anchorCtr="0"/>
          <a:lstStyle>
            <a:lvl1pPr marL="270111" indent="-270111" algn="ctr">
              <a:spcBef>
                <a:spcPts val="1067"/>
              </a:spcBef>
              <a:buClr>
                <a:schemeClr val="accent2"/>
              </a:buClr>
              <a:buSzPct val="100000"/>
              <a:defRPr b="0" i="0"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rtl="0"/>
            <a:endParaRPr lang="nb-NO"/>
          </a:p>
        </p:txBody>
      </p:sp>
      <p:sp>
        <p:nvSpPr>
          <p:cNvPr id="18" name="Rektangel 17"/>
          <p:cNvSpPr/>
          <p:nvPr/>
        </p:nvSpPr>
        <p:spPr bwMode="auto">
          <a:xfrm>
            <a:off x="6088637" y="3432000"/>
            <a:ext cx="3052800" cy="343200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6354483" y="3793899"/>
            <a:ext cx="2496277" cy="2688299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accent2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14" name="Rektangel 13"/>
          <p:cNvSpPr/>
          <p:nvPr/>
        </p:nvSpPr>
        <p:spPr bwMode="auto">
          <a:xfrm>
            <a:off x="3048000" y="0"/>
            <a:ext cx="3051248" cy="3430168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3312012" y="356659"/>
            <a:ext cx="2496277" cy="2688299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bg1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27" name="Plassholder for bilde 5"/>
          <p:cNvSpPr>
            <a:spLocks noGrp="1"/>
          </p:cNvSpPr>
          <p:nvPr>
            <p:ph type="pic" sz="quarter" idx="22"/>
          </p:nvPr>
        </p:nvSpPr>
        <p:spPr>
          <a:xfrm>
            <a:off x="9132955" y="3432000"/>
            <a:ext cx="3053208" cy="3432000"/>
          </a:xfrm>
          <a:prstGeom prst="rect">
            <a:avLst/>
          </a:prstGeom>
        </p:spPr>
        <p:txBody>
          <a:bodyPr rtlCol="0" anchor="ctr" anchorCtr="0"/>
          <a:lstStyle>
            <a:lvl1pPr marL="270111" indent="-270111" algn="ctr">
              <a:spcBef>
                <a:spcPts val="1067"/>
              </a:spcBef>
              <a:buClr>
                <a:schemeClr val="accent2"/>
              </a:buClr>
              <a:buSzPct val="100000"/>
              <a:defRPr b="0" i="0"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rtl="0"/>
            <a:endParaRPr lang="nb-NO"/>
          </a:p>
        </p:txBody>
      </p:sp>
      <p:sp>
        <p:nvSpPr>
          <p:cNvPr id="17" name="Plassholder for bilde 5"/>
          <p:cNvSpPr>
            <a:spLocks noGrp="1"/>
          </p:cNvSpPr>
          <p:nvPr>
            <p:ph type="pic" sz="quarter" idx="23"/>
          </p:nvPr>
        </p:nvSpPr>
        <p:spPr>
          <a:xfrm>
            <a:off x="6082637" y="0"/>
            <a:ext cx="3055168" cy="3432000"/>
          </a:xfrm>
          <a:prstGeom prst="rect">
            <a:avLst/>
          </a:prstGeom>
        </p:spPr>
        <p:txBody>
          <a:bodyPr rtlCol="0" anchor="ctr" anchorCtr="0"/>
          <a:lstStyle>
            <a:lvl1pPr marL="270111" indent="-270111" algn="ctr">
              <a:spcBef>
                <a:spcPts val="1067"/>
              </a:spcBef>
              <a:buClr>
                <a:schemeClr val="accent2"/>
              </a:buClr>
              <a:buSzPct val="100000"/>
              <a:defRPr b="0" i="0"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rtl="0"/>
            <a:endParaRPr lang="nb-NO"/>
          </a:p>
        </p:txBody>
      </p:sp>
      <p:sp>
        <p:nvSpPr>
          <p:cNvPr id="20" name="Plassholder for bilde 5"/>
          <p:cNvSpPr>
            <a:spLocks noGrp="1"/>
          </p:cNvSpPr>
          <p:nvPr>
            <p:ph type="pic" sz="quarter" idx="24"/>
          </p:nvPr>
        </p:nvSpPr>
        <p:spPr>
          <a:xfrm>
            <a:off x="9134400" y="0"/>
            <a:ext cx="3052800" cy="3432000"/>
          </a:xfrm>
          <a:prstGeom prst="rect">
            <a:avLst/>
          </a:prstGeom>
        </p:spPr>
        <p:txBody>
          <a:bodyPr rtlCol="0" anchor="ctr" anchorCtr="0"/>
          <a:lstStyle>
            <a:lvl1pPr marL="270111" indent="-270111" algn="ctr">
              <a:spcBef>
                <a:spcPts val="1067"/>
              </a:spcBef>
              <a:buClr>
                <a:schemeClr val="accent2"/>
              </a:buClr>
              <a:buSzPct val="100000"/>
              <a:defRPr b="0" i="0"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rtl="0"/>
            <a:endParaRPr lang="nb-NO"/>
          </a:p>
        </p:txBody>
      </p:sp>
      <p:sp>
        <p:nvSpPr>
          <p:cNvPr id="22" name="Plassholder for bilde 5"/>
          <p:cNvSpPr>
            <a:spLocks noGrp="1"/>
          </p:cNvSpPr>
          <p:nvPr>
            <p:ph type="pic" sz="quarter" idx="25"/>
          </p:nvPr>
        </p:nvSpPr>
        <p:spPr>
          <a:xfrm>
            <a:off x="0" y="3432000"/>
            <a:ext cx="3052800" cy="3432000"/>
          </a:xfrm>
          <a:prstGeom prst="rect">
            <a:avLst/>
          </a:prstGeom>
        </p:spPr>
        <p:txBody>
          <a:bodyPr rtlCol="0" anchor="ctr" anchorCtr="0"/>
          <a:lstStyle>
            <a:lvl1pPr marL="270111" indent="-270111" algn="ctr">
              <a:spcBef>
                <a:spcPts val="1067"/>
              </a:spcBef>
              <a:buClr>
                <a:schemeClr val="accent2"/>
              </a:buClr>
              <a:buSzPct val="100000"/>
              <a:defRPr b="0" i="0"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rtl="0"/>
            <a:endParaRPr lang="nb-NO"/>
          </a:p>
        </p:txBody>
      </p:sp>
      <p:sp>
        <p:nvSpPr>
          <p:cNvPr id="28" name="Plassholder for bilde 5"/>
          <p:cNvSpPr>
            <a:spLocks noGrp="1"/>
          </p:cNvSpPr>
          <p:nvPr>
            <p:ph type="pic" sz="quarter" idx="26"/>
          </p:nvPr>
        </p:nvSpPr>
        <p:spPr>
          <a:xfrm>
            <a:off x="3048000" y="3432000"/>
            <a:ext cx="3052800" cy="3432000"/>
          </a:xfrm>
          <a:prstGeom prst="rect">
            <a:avLst/>
          </a:prstGeom>
        </p:spPr>
        <p:txBody>
          <a:bodyPr rtlCol="0" anchor="ctr" anchorCtr="0"/>
          <a:lstStyle>
            <a:lvl1pPr marL="270111" indent="-270111" algn="ctr">
              <a:spcBef>
                <a:spcPts val="1067"/>
              </a:spcBef>
              <a:buClr>
                <a:schemeClr val="accent2"/>
              </a:buClr>
              <a:buSzPct val="100000"/>
              <a:defRPr b="0" i="0"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rtl="0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51212418"/>
      </p:ext>
    </p:extLst>
  </p:cSld>
  <p:clrMapOvr>
    <a:masterClrMapping/>
  </p:clrMapOvr>
  <p:transition spd="med"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horisontal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/>
        </p:nvSpPr>
        <p:spPr bwMode="auto">
          <a:xfrm>
            <a:off x="9149208" y="3432000"/>
            <a:ext cx="3042792" cy="3430168"/>
          </a:xfrm>
          <a:prstGeom prst="rect">
            <a:avLst/>
          </a:prstGeom>
          <a:solidFill>
            <a:srgbClr val="00343E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6" name="Plassholder for bilde 5"/>
          <p:cNvSpPr>
            <a:spLocks noGrp="1"/>
          </p:cNvSpPr>
          <p:nvPr>
            <p:ph type="pic" sz="quarter" idx="12"/>
          </p:nvPr>
        </p:nvSpPr>
        <p:spPr>
          <a:xfrm>
            <a:off x="0" y="-6571"/>
            <a:ext cx="12192000" cy="3436740"/>
          </a:xfrm>
          <a:prstGeom prst="rect">
            <a:avLst/>
          </a:prstGeom>
        </p:spPr>
        <p:txBody>
          <a:bodyPr rtlCol="0" anchor="ctr" anchorCtr="0"/>
          <a:lstStyle>
            <a:lvl1pPr marL="270111" indent="-270111" algn="ctr">
              <a:spcBef>
                <a:spcPts val="1067"/>
              </a:spcBef>
              <a:buClr>
                <a:schemeClr val="accent2"/>
              </a:buClr>
              <a:buSzPct val="100000"/>
              <a:defRPr b="0" i="0"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rtl="0"/>
            <a:endParaRPr lang="nb-NO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9407691" y="3786155"/>
            <a:ext cx="2496277" cy="2688299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accent1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18" name="Rektangel 17"/>
          <p:cNvSpPr/>
          <p:nvPr/>
        </p:nvSpPr>
        <p:spPr bwMode="auto">
          <a:xfrm>
            <a:off x="6096000" y="3432000"/>
            <a:ext cx="3048000" cy="3432000"/>
          </a:xfrm>
          <a:prstGeom prst="rect">
            <a:avLst/>
          </a:prstGeom>
          <a:solidFill>
            <a:srgbClr val="00AF8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6354483" y="3793899"/>
            <a:ext cx="2496277" cy="2688299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bg1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258483" y="1988840"/>
            <a:ext cx="11645485" cy="1056117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bg1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23" name="Rektangel 22"/>
          <p:cNvSpPr/>
          <p:nvPr/>
        </p:nvSpPr>
        <p:spPr bwMode="auto">
          <a:xfrm>
            <a:off x="3043200" y="3432000"/>
            <a:ext cx="3048021" cy="343200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3321463" y="3793899"/>
            <a:ext cx="2496277" cy="2688299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accent2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25" name="Rektangel 24"/>
          <p:cNvSpPr/>
          <p:nvPr/>
        </p:nvSpPr>
        <p:spPr bwMode="auto">
          <a:xfrm>
            <a:off x="0" y="3432000"/>
            <a:ext cx="3054827" cy="343200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258483" y="3793899"/>
            <a:ext cx="2496277" cy="2688299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bg1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06732654"/>
      </p:ext>
    </p:extLst>
  </p:cSld>
  <p:clrMapOvr>
    <a:masterClrMapping/>
  </p:clrMapOvr>
  <p:transition spd="med"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horisontal split">
    <p:bg>
      <p:bgPr>
        <a:solidFill>
          <a:srgbClr val="007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/>
        </p:nvSpPr>
        <p:spPr bwMode="auto">
          <a:xfrm>
            <a:off x="9149208" y="3432000"/>
            <a:ext cx="3048000" cy="3430168"/>
          </a:xfrm>
          <a:prstGeom prst="rect">
            <a:avLst/>
          </a:prstGeom>
          <a:solidFill>
            <a:srgbClr val="00343E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9407691" y="3786155"/>
            <a:ext cx="2496277" cy="2688299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accent1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18" name="Rektangel 17"/>
          <p:cNvSpPr/>
          <p:nvPr/>
        </p:nvSpPr>
        <p:spPr bwMode="auto">
          <a:xfrm>
            <a:off x="6096000" y="3432000"/>
            <a:ext cx="3048000" cy="3426000"/>
          </a:xfrm>
          <a:prstGeom prst="rect">
            <a:avLst/>
          </a:prstGeom>
          <a:solidFill>
            <a:srgbClr val="00AF8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6354483" y="3793899"/>
            <a:ext cx="2496277" cy="2688299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bg1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258483" y="1187942"/>
            <a:ext cx="11645485" cy="1056117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4267" baseline="0">
                <a:solidFill>
                  <a:schemeClr val="bg1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23" name="Rektangel 22"/>
          <p:cNvSpPr/>
          <p:nvPr/>
        </p:nvSpPr>
        <p:spPr bwMode="auto">
          <a:xfrm>
            <a:off x="3043200" y="3432000"/>
            <a:ext cx="3048021" cy="3426000"/>
          </a:xfrm>
          <a:prstGeom prst="rect">
            <a:avLst/>
          </a:prstGeom>
          <a:solidFill>
            <a:srgbClr val="14555A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3321463" y="3793899"/>
            <a:ext cx="2496277" cy="2688299"/>
          </a:xfrm>
          <a:prstGeom prst="rect">
            <a:avLst/>
          </a:prstGeom>
          <a:solidFill>
            <a:srgbClr val="14555A"/>
          </a:solidFill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accent1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25" name="Rektangel 24"/>
          <p:cNvSpPr/>
          <p:nvPr/>
        </p:nvSpPr>
        <p:spPr bwMode="auto">
          <a:xfrm>
            <a:off x="0" y="3432000"/>
            <a:ext cx="3054827" cy="342600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258483" y="3793899"/>
            <a:ext cx="2496277" cy="2688299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accent2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3131728"/>
      </p:ext>
    </p:extLst>
  </p:cSld>
  <p:clrMapOvr>
    <a:masterClrMapping/>
  </p:clrMapOvr>
  <p:transition spd="med"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kolonne 6 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/>
          <p:cNvSpPr/>
          <p:nvPr/>
        </p:nvSpPr>
        <p:spPr bwMode="auto">
          <a:xfrm>
            <a:off x="6096000" y="0"/>
            <a:ext cx="3052800" cy="3430168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2" name="Rektangel 1"/>
          <p:cNvSpPr/>
          <p:nvPr/>
        </p:nvSpPr>
        <p:spPr bwMode="auto">
          <a:xfrm>
            <a:off x="3053208" y="0"/>
            <a:ext cx="3052800" cy="3430168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3311691" y="356659"/>
            <a:ext cx="2496277" cy="2688299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accent1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12" name="Rektangel 11"/>
          <p:cNvSpPr/>
          <p:nvPr/>
        </p:nvSpPr>
        <p:spPr bwMode="auto">
          <a:xfrm>
            <a:off x="9144000" y="0"/>
            <a:ext cx="3052800" cy="343200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9432032" y="353876"/>
            <a:ext cx="2471936" cy="2688299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accent1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18" name="Rektangel 17"/>
          <p:cNvSpPr/>
          <p:nvPr/>
        </p:nvSpPr>
        <p:spPr bwMode="auto">
          <a:xfrm>
            <a:off x="6096000" y="3432000"/>
            <a:ext cx="3052800" cy="343200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6357408" y="356659"/>
            <a:ext cx="2496277" cy="2688299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accent2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23" name="Rektangel 22"/>
          <p:cNvSpPr/>
          <p:nvPr/>
        </p:nvSpPr>
        <p:spPr bwMode="auto">
          <a:xfrm>
            <a:off x="3052800" y="3432000"/>
            <a:ext cx="3052800" cy="343200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308766" y="3836844"/>
            <a:ext cx="2496277" cy="2645353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287993" indent="-239994">
              <a:spcBef>
                <a:spcPts val="800"/>
              </a:spcBef>
              <a:buClr>
                <a:schemeClr val="accent2"/>
              </a:buClr>
              <a:buSzPct val="110000"/>
              <a:buFont typeface="Wingdings" charset="2"/>
              <a:buChar char="§"/>
              <a:defRPr sz="1600" baseline="0">
                <a:solidFill>
                  <a:schemeClr val="accent2"/>
                </a:solidFill>
                <a:latin typeface="Segoe UI"/>
              </a:defRPr>
            </a:lvl1pPr>
            <a:lvl2pPr marL="479988" indent="-191995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24"/>
          </p:nvPr>
        </p:nvSpPr>
        <p:spPr>
          <a:xfrm>
            <a:off x="6348000" y="3836844"/>
            <a:ext cx="2499835" cy="2645353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287993" indent="-239994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accent1"/>
                </a:solidFill>
                <a:latin typeface="Segoe UI"/>
              </a:defRPr>
            </a:lvl1pPr>
            <a:lvl2pPr marL="479988" indent="-191995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22" name="Rektangel 21"/>
          <p:cNvSpPr/>
          <p:nvPr/>
        </p:nvSpPr>
        <p:spPr bwMode="auto">
          <a:xfrm>
            <a:off x="9142464" y="3432000"/>
            <a:ext cx="3052800" cy="343200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25"/>
          </p:nvPr>
        </p:nvSpPr>
        <p:spPr>
          <a:xfrm>
            <a:off x="9406175" y="3836844"/>
            <a:ext cx="2496277" cy="2645353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287993" indent="-239994">
              <a:spcBef>
                <a:spcPts val="800"/>
              </a:spcBef>
              <a:buClr>
                <a:schemeClr val="accent2"/>
              </a:buClr>
              <a:buSzPct val="110000"/>
              <a:buFont typeface="Wingdings" charset="2"/>
              <a:buChar char="§"/>
              <a:defRPr sz="1600" baseline="0">
                <a:solidFill>
                  <a:schemeClr val="accent2"/>
                </a:solidFill>
                <a:latin typeface="Segoe UI"/>
              </a:defRPr>
            </a:lvl1pPr>
            <a:lvl2pPr marL="479988" indent="-191995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6" name="Plassholder for bilde 5"/>
          <p:cNvSpPr>
            <a:spLocks noGrp="1"/>
          </p:cNvSpPr>
          <p:nvPr>
            <p:ph type="pic" sz="quarter" idx="12"/>
          </p:nvPr>
        </p:nvSpPr>
        <p:spPr>
          <a:xfrm>
            <a:off x="0" y="1"/>
            <a:ext cx="3048000" cy="6864572"/>
          </a:xfrm>
          <a:prstGeom prst="rect">
            <a:avLst/>
          </a:prstGeom>
        </p:spPr>
        <p:txBody>
          <a:bodyPr rtlCol="0" anchor="ctr" anchorCtr="0"/>
          <a:lstStyle>
            <a:lvl1pPr marL="270111" indent="-270111" algn="ctr">
              <a:spcBef>
                <a:spcPts val="1067"/>
              </a:spcBef>
              <a:buClr>
                <a:schemeClr val="accent2"/>
              </a:buClr>
              <a:buSzPct val="100000"/>
              <a:defRPr b="0" i="0"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rtl="0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60474400"/>
      </p:ext>
    </p:extLst>
  </p:cSld>
  <p:clrMapOvr>
    <a:masterClrMapping/>
  </p:clrMapOvr>
  <p:transition spd="med"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 med fargebakgrunn">
    <p:bg>
      <p:bgPr>
        <a:solidFill>
          <a:srgbClr val="A3E1D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719403" y="1700808"/>
            <a:ext cx="10801200" cy="4512501"/>
          </a:xfrm>
          <a:prstGeom prst="rect">
            <a:avLst/>
          </a:prstGeom>
        </p:spPr>
        <p:txBody>
          <a:bodyPr wrap="square" lIns="0" tIns="0" rIns="0" bIns="0" rtlCol="0" anchor="t" anchorCtr="0">
            <a:noAutofit/>
          </a:bodyPr>
          <a:lstStyle>
            <a:lvl1pPr marL="287993" indent="-239994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Wingdings" charset="2"/>
              <a:buChar char="§"/>
              <a:defRPr sz="1867" baseline="0">
                <a:solidFill>
                  <a:schemeClr val="tx1"/>
                </a:solidFill>
                <a:latin typeface="Segoe UI"/>
              </a:defRPr>
            </a:lvl1pPr>
            <a:lvl2pPr marL="479988" indent="-191995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Wingdings" charset="2"/>
              <a:buChar char="§"/>
              <a:defRPr sz="1600">
                <a:solidFill>
                  <a:schemeClr val="tx1"/>
                </a:solidFill>
                <a:latin typeface="Segoe UI"/>
              </a:defRPr>
            </a:lvl2pPr>
            <a:lvl3pPr marL="719982" indent="-191995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Wingdings" charset="2"/>
              <a:buChar char="§"/>
              <a:tabLst>
                <a:tab pos="1928696" algn="l"/>
              </a:tabLst>
              <a:defRPr sz="1333">
                <a:solidFill>
                  <a:schemeClr val="tx1"/>
                </a:solidFill>
                <a:latin typeface="Segoe UI"/>
              </a:defRPr>
            </a:lvl3pPr>
            <a:lvl4pPr marL="2357294" indent="-465588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SzPct val="125000"/>
              <a:buFont typeface="Wingdings" charset="2"/>
              <a:buChar char="§"/>
              <a:defRPr sz="1867"/>
            </a:lvl4pPr>
            <a:lvl5pPr marL="2857327" indent="-465588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SzPct val="125000"/>
              <a:buFont typeface="Wingdings" charset="2"/>
              <a:buChar char="§"/>
              <a:defRPr sz="1600"/>
            </a:lvl5pPr>
            <a:lvl6pPr>
              <a:defRPr sz="1867"/>
            </a:lvl6pPr>
            <a:lvl7pPr>
              <a:defRPr sz="1867"/>
            </a:lvl7pPr>
            <a:lvl8pPr>
              <a:defRPr sz="1867"/>
            </a:lvl8pPr>
            <a:lvl9pPr>
              <a:defRPr sz="1867"/>
            </a:lvl9pPr>
          </a:lstStyle>
          <a:p>
            <a:pPr lvl="0" rtl="0"/>
            <a:r>
              <a:rPr lang="nb-no"/>
              <a:t>Click to edit Master text styles</a:t>
            </a:r>
          </a:p>
          <a:p>
            <a:pPr lvl="1" rtl="0"/>
            <a:r>
              <a:rPr lang="nb-no"/>
              <a:t>Second level</a:t>
            </a:r>
            <a:endParaRPr lang="nb-NO"/>
          </a:p>
          <a:p>
            <a:pPr lvl="2" rtl="0"/>
            <a:r>
              <a:rPr lang="nb-no"/>
              <a:t>Third level</a:t>
            </a:r>
            <a:endParaRPr lang="nb-NO"/>
          </a:p>
        </p:txBody>
      </p:sp>
      <p:sp>
        <p:nvSpPr>
          <p:cNvPr id="16" name="Tittel 8"/>
          <p:cNvSpPr>
            <a:spLocks noGrp="1"/>
          </p:cNvSpPr>
          <p:nvPr>
            <p:ph type="title" hasCustomPrompt="1"/>
          </p:nvPr>
        </p:nvSpPr>
        <p:spPr>
          <a:xfrm>
            <a:off x="719403" y="548680"/>
            <a:ext cx="10801200" cy="720000"/>
          </a:xfrm>
          <a:prstGeom prst="rect">
            <a:avLst/>
          </a:prstGeom>
        </p:spPr>
        <p:txBody>
          <a:bodyPr lIns="36000" tIns="36000" rIns="36000" bIns="36000" rtlCol="0" anchor="ctr" anchorCtr="0"/>
          <a:lstStyle>
            <a:lvl1pPr algn="l">
              <a:defRPr sz="5333">
                <a:solidFill>
                  <a:schemeClr val="accent2"/>
                </a:solidFill>
                <a:effectLst/>
                <a:latin typeface="Segoe UI"/>
                <a:cs typeface="Segoe UI"/>
              </a:defRPr>
            </a:lvl1pPr>
          </a:lstStyle>
          <a:p>
            <a:pPr rtl="0"/>
            <a:r>
              <a:rPr lang="nb-no"/>
              <a:t>Click to edit title style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3"/>
          </p:nvPr>
        </p:nvSpPr>
        <p:spPr>
          <a:xfrm>
            <a:off x="10896532" y="6501342"/>
            <a:ext cx="1056117" cy="242349"/>
          </a:xfrm>
          <a:prstGeom prst="rect">
            <a:avLst/>
          </a:prstGeom>
        </p:spPr>
        <p:txBody>
          <a:bodyPr lIns="0" tIns="0" rIns="0" bIns="0" rtlCol="0"/>
          <a:lstStyle>
            <a:lvl1pPr algn="r">
              <a:defRPr sz="1467" b="0" i="0">
                <a:solidFill>
                  <a:schemeClr val="tx1">
                    <a:lumMod val="60000"/>
                    <a:lumOff val="40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rtl="0"/>
            <a:fld id="{FB0F92BC-E9B5-8747-84F4-872B61BA0272}" type="slidenum">
              <a:rPr lang="nb-NO" smtClean="0"/>
              <a:pPr rtl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46377558"/>
      </p:ext>
    </p:extLst>
  </p:cSld>
  <p:clrMapOvr>
    <a:masterClrMapping/>
  </p:clrMapOvr>
  <p:transition spd="med"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 med mørk fargebakgrunn">
    <p:bg>
      <p:bgPr>
        <a:solidFill>
          <a:srgbClr val="0133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719403" y="1700808"/>
            <a:ext cx="10801200" cy="4512501"/>
          </a:xfrm>
          <a:prstGeom prst="rect">
            <a:avLst/>
          </a:prstGeom>
        </p:spPr>
        <p:txBody>
          <a:bodyPr wrap="square" lIns="0" tIns="0" rIns="0" bIns="0" rtlCol="0" anchor="t" anchorCtr="0">
            <a:noAutofit/>
          </a:bodyPr>
          <a:lstStyle>
            <a:lvl1pPr marL="287993" indent="-239994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Wingdings" charset="2"/>
              <a:buChar char="§"/>
              <a:defRPr sz="1867" baseline="0">
                <a:solidFill>
                  <a:schemeClr val="bg1"/>
                </a:solidFill>
                <a:latin typeface="Segoe UI"/>
              </a:defRPr>
            </a:lvl1pPr>
            <a:lvl2pPr marL="479988" indent="-191995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Wingdings" charset="2"/>
              <a:buChar char="§"/>
              <a:defRPr sz="1600">
                <a:solidFill>
                  <a:schemeClr val="bg1"/>
                </a:solidFill>
                <a:latin typeface="Segoe UI"/>
              </a:defRPr>
            </a:lvl2pPr>
            <a:lvl3pPr marL="719982" indent="-191995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Wingdings" charset="2"/>
              <a:buChar char="§"/>
              <a:tabLst>
                <a:tab pos="1928696" algn="l"/>
              </a:tabLst>
              <a:defRPr sz="1333">
                <a:solidFill>
                  <a:schemeClr val="bg1"/>
                </a:solidFill>
                <a:latin typeface="Segoe UI"/>
              </a:defRPr>
            </a:lvl3pPr>
            <a:lvl4pPr marL="2357294" indent="-465588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SzPct val="125000"/>
              <a:buFont typeface="Wingdings" charset="2"/>
              <a:buChar char="§"/>
              <a:defRPr sz="1867"/>
            </a:lvl4pPr>
            <a:lvl5pPr marL="2857327" indent="-465588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SzPct val="125000"/>
              <a:buFont typeface="Wingdings" charset="2"/>
              <a:buChar char="§"/>
              <a:defRPr sz="1600"/>
            </a:lvl5pPr>
            <a:lvl6pPr>
              <a:defRPr sz="1867"/>
            </a:lvl6pPr>
            <a:lvl7pPr>
              <a:defRPr sz="1867"/>
            </a:lvl7pPr>
            <a:lvl8pPr>
              <a:defRPr sz="1867"/>
            </a:lvl8pPr>
            <a:lvl9pPr>
              <a:defRPr sz="1867"/>
            </a:lvl9pPr>
          </a:lstStyle>
          <a:p>
            <a:pPr lvl="0" rtl="0"/>
            <a:r>
              <a:rPr lang="nb-no"/>
              <a:t>Click to edit Master text styles</a:t>
            </a:r>
          </a:p>
          <a:p>
            <a:pPr lvl="1" rtl="0"/>
            <a:r>
              <a:rPr lang="nb-no"/>
              <a:t>Second level</a:t>
            </a:r>
            <a:endParaRPr lang="nb-NO"/>
          </a:p>
          <a:p>
            <a:pPr lvl="2" rtl="0"/>
            <a:r>
              <a:rPr lang="nb-no"/>
              <a:t>Third level</a:t>
            </a:r>
            <a:endParaRPr lang="nb-NO"/>
          </a:p>
        </p:txBody>
      </p:sp>
      <p:sp>
        <p:nvSpPr>
          <p:cNvPr id="16" name="Tittel 8"/>
          <p:cNvSpPr>
            <a:spLocks noGrp="1"/>
          </p:cNvSpPr>
          <p:nvPr>
            <p:ph type="title" hasCustomPrompt="1"/>
          </p:nvPr>
        </p:nvSpPr>
        <p:spPr>
          <a:xfrm>
            <a:off x="719403" y="548680"/>
            <a:ext cx="10801200" cy="720000"/>
          </a:xfrm>
          <a:prstGeom prst="rect">
            <a:avLst/>
          </a:prstGeom>
        </p:spPr>
        <p:txBody>
          <a:bodyPr lIns="36000" tIns="36000" rIns="36000" bIns="36000" rtlCol="0" anchor="ctr" anchorCtr="0"/>
          <a:lstStyle>
            <a:lvl1pPr algn="l">
              <a:defRPr sz="5333">
                <a:solidFill>
                  <a:schemeClr val="bg1"/>
                </a:solidFill>
                <a:effectLst/>
                <a:latin typeface="Segoe UI"/>
                <a:cs typeface="Segoe UI"/>
              </a:defRPr>
            </a:lvl1pPr>
          </a:lstStyle>
          <a:p>
            <a:pPr rtl="0"/>
            <a:r>
              <a:rPr lang="nb-no"/>
              <a:t>Click to edit title style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3"/>
          </p:nvPr>
        </p:nvSpPr>
        <p:spPr>
          <a:xfrm>
            <a:off x="10896532" y="6501342"/>
            <a:ext cx="1056117" cy="242349"/>
          </a:xfrm>
          <a:prstGeom prst="rect">
            <a:avLst/>
          </a:prstGeom>
        </p:spPr>
        <p:txBody>
          <a:bodyPr lIns="0" tIns="0" rIns="0" bIns="0" rtlCol="0"/>
          <a:lstStyle>
            <a:lvl1pPr algn="r">
              <a:defRPr sz="1467" b="0" i="0">
                <a:solidFill>
                  <a:schemeClr val="tx1">
                    <a:lumMod val="60000"/>
                    <a:lumOff val="40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rtl="0"/>
            <a:fld id="{FB0F92BC-E9B5-8747-84F4-872B61BA0272}" type="slidenum">
              <a:rPr lang="nb-NO" smtClean="0"/>
              <a:pPr rtl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49204792"/>
      </p:ext>
    </p:extLst>
  </p:cSld>
  <p:clrMapOvr>
    <a:masterClrMapping/>
  </p:clrMapOvr>
  <p:transition spd="med"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media 4"/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rtlCol="0"/>
          <a:lstStyle/>
          <a:p>
            <a:pPr rtl="0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13087719"/>
      </p:ext>
    </p:extLst>
  </p:cSld>
  <p:clrMapOvr>
    <a:masterClrMapping/>
  </p:clrMapOvr>
  <p:transition spd="med"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med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media 4"/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rtlCol="0"/>
          <a:lstStyle/>
          <a:p>
            <a:pPr rtl="0"/>
            <a:endParaRPr lang="nb-NO"/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AE4E3A03-AC34-0A40-9DA0-E17E79878B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7811" y="1732547"/>
            <a:ext cx="9839157" cy="3347452"/>
          </a:xfrm>
          <a:prstGeom prst="rect">
            <a:avLst/>
          </a:prstGeom>
        </p:spPr>
        <p:txBody>
          <a:bodyPr rtlCol="0" anchor="ctr"/>
          <a:lstStyle>
            <a:lvl1pPr algn="ctr">
              <a:defRPr sz="8000" b="1" i="0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rtl="0"/>
            <a:r>
              <a:rPr lang="nb-no"/>
              <a:t>Click to edit Master title style</a:t>
            </a:r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279750517"/>
      </p:ext>
    </p:extLst>
  </p:cSld>
  <p:clrMapOvr>
    <a:masterClrMapping/>
  </p:clrMapOvr>
  <p:transition spd="med"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kside mintgro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/>
          <p:cNvSpPr/>
          <p:nvPr/>
        </p:nvSpPr>
        <p:spPr bwMode="auto"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grpSp>
        <p:nvGrpSpPr>
          <p:cNvPr id="4" name="Gruppe 3"/>
          <p:cNvGrpSpPr/>
          <p:nvPr/>
        </p:nvGrpSpPr>
        <p:grpSpPr>
          <a:xfrm>
            <a:off x="4978792" y="2372883"/>
            <a:ext cx="2234419" cy="1536171"/>
            <a:chOff x="3187937" y="496671"/>
            <a:chExt cx="1405800" cy="966600"/>
          </a:xfrm>
          <a:solidFill>
            <a:schemeClr val="accent2"/>
          </a:solidFill>
        </p:grpSpPr>
        <p:sp>
          <p:nvSpPr>
            <p:cNvPr id="5" name="Freeform: Shape 2"/>
            <p:cNvSpPr/>
            <p:nvPr/>
          </p:nvSpPr>
          <p:spPr>
            <a:xfrm>
              <a:off x="4213577" y="713031"/>
              <a:ext cx="380160" cy="534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57" h="1485">
                  <a:moveTo>
                    <a:pt x="138" y="1346"/>
                  </a:moveTo>
                  <a:cubicBezTo>
                    <a:pt x="138" y="1155"/>
                    <a:pt x="138" y="964"/>
                    <a:pt x="138" y="773"/>
                  </a:cubicBezTo>
                  <a:cubicBezTo>
                    <a:pt x="287" y="773"/>
                    <a:pt x="437" y="773"/>
                    <a:pt x="586" y="773"/>
                  </a:cubicBezTo>
                  <a:cubicBezTo>
                    <a:pt x="780" y="773"/>
                    <a:pt x="917" y="884"/>
                    <a:pt x="917" y="1040"/>
                  </a:cubicBezTo>
                  <a:cubicBezTo>
                    <a:pt x="918" y="1116"/>
                    <a:pt x="918" y="1346"/>
                    <a:pt x="532" y="1346"/>
                  </a:cubicBezTo>
                  <a:cubicBezTo>
                    <a:pt x="401" y="1346"/>
                    <a:pt x="269" y="1346"/>
                    <a:pt x="138" y="1346"/>
                  </a:cubicBezTo>
                  <a:close/>
                  <a:moveTo>
                    <a:pt x="471" y="138"/>
                  </a:moveTo>
                  <a:cubicBezTo>
                    <a:pt x="589" y="138"/>
                    <a:pt x="675" y="157"/>
                    <a:pt x="732" y="196"/>
                  </a:cubicBezTo>
                  <a:cubicBezTo>
                    <a:pt x="767" y="221"/>
                    <a:pt x="816" y="271"/>
                    <a:pt x="816" y="395"/>
                  </a:cubicBezTo>
                  <a:cubicBezTo>
                    <a:pt x="816" y="616"/>
                    <a:pt x="641" y="635"/>
                    <a:pt x="587" y="635"/>
                  </a:cubicBezTo>
                  <a:cubicBezTo>
                    <a:pt x="438" y="635"/>
                    <a:pt x="289" y="635"/>
                    <a:pt x="140" y="635"/>
                  </a:cubicBezTo>
                  <a:cubicBezTo>
                    <a:pt x="140" y="469"/>
                    <a:pt x="140" y="304"/>
                    <a:pt x="140" y="138"/>
                  </a:cubicBezTo>
                  <a:cubicBezTo>
                    <a:pt x="250" y="138"/>
                    <a:pt x="361" y="138"/>
                    <a:pt x="471" y="138"/>
                  </a:cubicBezTo>
                  <a:close/>
                  <a:moveTo>
                    <a:pt x="838" y="692"/>
                  </a:moveTo>
                  <a:cubicBezTo>
                    <a:pt x="836" y="690"/>
                    <a:pt x="833" y="689"/>
                    <a:pt x="831" y="687"/>
                  </a:cubicBezTo>
                  <a:cubicBezTo>
                    <a:pt x="833" y="685"/>
                    <a:pt x="834" y="684"/>
                    <a:pt x="836" y="682"/>
                  </a:cubicBezTo>
                  <a:cubicBezTo>
                    <a:pt x="889" y="635"/>
                    <a:pt x="953" y="546"/>
                    <a:pt x="953" y="395"/>
                  </a:cubicBezTo>
                  <a:cubicBezTo>
                    <a:pt x="953" y="255"/>
                    <a:pt x="905" y="150"/>
                    <a:pt x="810" y="84"/>
                  </a:cubicBezTo>
                  <a:cubicBezTo>
                    <a:pt x="730" y="27"/>
                    <a:pt x="619" y="0"/>
                    <a:pt x="471" y="0"/>
                  </a:cubicBezTo>
                  <a:cubicBezTo>
                    <a:pt x="329" y="0"/>
                    <a:pt x="187" y="0"/>
                    <a:pt x="45" y="0"/>
                  </a:cubicBezTo>
                  <a:cubicBezTo>
                    <a:pt x="20" y="0"/>
                    <a:pt x="0" y="20"/>
                    <a:pt x="0" y="45"/>
                  </a:cubicBezTo>
                  <a:cubicBezTo>
                    <a:pt x="0" y="510"/>
                    <a:pt x="0" y="975"/>
                    <a:pt x="0" y="1440"/>
                  </a:cubicBezTo>
                  <a:cubicBezTo>
                    <a:pt x="0" y="1464"/>
                    <a:pt x="20" y="1485"/>
                    <a:pt x="45" y="1485"/>
                  </a:cubicBezTo>
                  <a:cubicBezTo>
                    <a:pt x="207" y="1485"/>
                    <a:pt x="370" y="1485"/>
                    <a:pt x="532" y="1485"/>
                  </a:cubicBezTo>
                  <a:cubicBezTo>
                    <a:pt x="685" y="1485"/>
                    <a:pt x="809" y="1453"/>
                    <a:pt x="896" y="1387"/>
                  </a:cubicBezTo>
                  <a:cubicBezTo>
                    <a:pt x="947" y="1349"/>
                    <a:pt x="988" y="1301"/>
                    <a:pt x="1014" y="1244"/>
                  </a:cubicBezTo>
                  <a:cubicBezTo>
                    <a:pt x="1042" y="1186"/>
                    <a:pt x="1057" y="1116"/>
                    <a:pt x="1057" y="1040"/>
                  </a:cubicBezTo>
                  <a:cubicBezTo>
                    <a:pt x="1057" y="922"/>
                    <a:pt x="1007" y="817"/>
                    <a:pt x="915" y="743"/>
                  </a:cubicBezTo>
                  <a:cubicBezTo>
                    <a:pt x="892" y="724"/>
                    <a:pt x="866" y="706"/>
                    <a:pt x="838" y="692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rtlCol="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nb-NO" sz="2400" b="0" i="0" u="none" strike="noStrike" kern="1200">
                <a:ln>
                  <a:noFill/>
                </a:ln>
                <a:latin typeface="Segoe UI" panose="020B0502040204020203" pitchFamily="34" charset="0"/>
                <a:ea typeface="SimSun" pitchFamily="2"/>
                <a:cs typeface="Lucida Sans" pitchFamily="2"/>
              </a:endParaRPr>
            </a:p>
          </p:txBody>
        </p:sp>
        <p:sp>
          <p:nvSpPr>
            <p:cNvPr id="6" name="Freeform: Shape 3"/>
            <p:cNvSpPr/>
            <p:nvPr/>
          </p:nvSpPr>
          <p:spPr>
            <a:xfrm>
              <a:off x="3187937" y="713031"/>
              <a:ext cx="399240" cy="534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10" h="1485">
                  <a:moveTo>
                    <a:pt x="449" y="1348"/>
                  </a:moveTo>
                  <a:cubicBezTo>
                    <a:pt x="346" y="1348"/>
                    <a:pt x="242" y="1348"/>
                    <a:pt x="139" y="1348"/>
                  </a:cubicBezTo>
                  <a:cubicBezTo>
                    <a:pt x="139" y="945"/>
                    <a:pt x="139" y="542"/>
                    <a:pt x="139" y="139"/>
                  </a:cubicBezTo>
                  <a:cubicBezTo>
                    <a:pt x="242" y="139"/>
                    <a:pt x="346" y="139"/>
                    <a:pt x="449" y="139"/>
                  </a:cubicBezTo>
                  <a:cubicBezTo>
                    <a:pt x="563" y="139"/>
                    <a:pt x="723" y="169"/>
                    <a:pt x="837" y="310"/>
                  </a:cubicBezTo>
                  <a:cubicBezTo>
                    <a:pt x="961" y="462"/>
                    <a:pt x="970" y="687"/>
                    <a:pt x="970" y="753"/>
                  </a:cubicBezTo>
                  <a:cubicBezTo>
                    <a:pt x="970" y="849"/>
                    <a:pt x="952" y="1034"/>
                    <a:pt x="837" y="1177"/>
                  </a:cubicBezTo>
                  <a:cubicBezTo>
                    <a:pt x="722" y="1317"/>
                    <a:pt x="563" y="1348"/>
                    <a:pt x="449" y="1348"/>
                  </a:cubicBezTo>
                  <a:close/>
                  <a:moveTo>
                    <a:pt x="710" y="48"/>
                  </a:moveTo>
                  <a:cubicBezTo>
                    <a:pt x="630" y="16"/>
                    <a:pt x="543" y="0"/>
                    <a:pt x="449" y="0"/>
                  </a:cubicBezTo>
                  <a:cubicBezTo>
                    <a:pt x="315" y="0"/>
                    <a:pt x="180" y="0"/>
                    <a:pt x="46" y="0"/>
                  </a:cubicBezTo>
                  <a:cubicBezTo>
                    <a:pt x="21" y="0"/>
                    <a:pt x="0" y="20"/>
                    <a:pt x="0" y="45"/>
                  </a:cubicBezTo>
                  <a:cubicBezTo>
                    <a:pt x="0" y="510"/>
                    <a:pt x="0" y="975"/>
                    <a:pt x="0" y="1440"/>
                  </a:cubicBezTo>
                  <a:cubicBezTo>
                    <a:pt x="0" y="1464"/>
                    <a:pt x="21" y="1485"/>
                    <a:pt x="46" y="1485"/>
                  </a:cubicBezTo>
                  <a:cubicBezTo>
                    <a:pt x="180" y="1485"/>
                    <a:pt x="315" y="1485"/>
                    <a:pt x="449" y="1485"/>
                  </a:cubicBezTo>
                  <a:cubicBezTo>
                    <a:pt x="543" y="1485"/>
                    <a:pt x="630" y="1469"/>
                    <a:pt x="710" y="1437"/>
                  </a:cubicBezTo>
                  <a:cubicBezTo>
                    <a:pt x="802" y="1399"/>
                    <a:pt x="882" y="1342"/>
                    <a:pt x="945" y="1265"/>
                  </a:cubicBezTo>
                  <a:cubicBezTo>
                    <a:pt x="1088" y="1090"/>
                    <a:pt x="1110" y="868"/>
                    <a:pt x="1110" y="752"/>
                  </a:cubicBezTo>
                  <a:cubicBezTo>
                    <a:pt x="1108" y="652"/>
                    <a:pt x="1094" y="403"/>
                    <a:pt x="945" y="221"/>
                  </a:cubicBezTo>
                  <a:cubicBezTo>
                    <a:pt x="882" y="144"/>
                    <a:pt x="804" y="87"/>
                    <a:pt x="710" y="48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rtlCol="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nb-NO" sz="2400" b="0" i="0" u="none" strike="noStrike" kern="1200">
                <a:ln>
                  <a:noFill/>
                </a:ln>
                <a:latin typeface="Segoe UI" panose="020B0502040204020203" pitchFamily="34" charset="0"/>
                <a:ea typeface="SimSun" pitchFamily="2"/>
                <a:cs typeface="Lucida Sans" pitchFamily="2"/>
              </a:endParaRPr>
            </a:p>
          </p:txBody>
        </p:sp>
        <p:sp>
          <p:nvSpPr>
            <p:cNvPr id="7" name="Freeform: Shape 4"/>
            <p:cNvSpPr/>
            <p:nvPr/>
          </p:nvSpPr>
          <p:spPr>
            <a:xfrm>
              <a:off x="3687617" y="496671"/>
              <a:ext cx="406440" cy="9666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30" h="2686">
                  <a:moveTo>
                    <a:pt x="1130" y="0"/>
                  </a:moveTo>
                  <a:cubicBezTo>
                    <a:pt x="1130" y="684"/>
                    <a:pt x="1130" y="1367"/>
                    <a:pt x="1130" y="2051"/>
                  </a:cubicBezTo>
                  <a:cubicBezTo>
                    <a:pt x="1130" y="2070"/>
                    <a:pt x="1118" y="2086"/>
                    <a:pt x="1100" y="2092"/>
                  </a:cubicBezTo>
                  <a:cubicBezTo>
                    <a:pt x="1096" y="2093"/>
                    <a:pt x="1092" y="2094"/>
                    <a:pt x="1087" y="2094"/>
                  </a:cubicBezTo>
                  <a:cubicBezTo>
                    <a:pt x="1073" y="2094"/>
                    <a:pt x="1061" y="2087"/>
                    <a:pt x="1052" y="2077"/>
                  </a:cubicBezTo>
                  <a:cubicBezTo>
                    <a:pt x="747" y="1688"/>
                    <a:pt x="443" y="1300"/>
                    <a:pt x="138" y="911"/>
                  </a:cubicBezTo>
                  <a:cubicBezTo>
                    <a:pt x="138" y="1503"/>
                    <a:pt x="138" y="2094"/>
                    <a:pt x="138" y="2686"/>
                  </a:cubicBezTo>
                  <a:cubicBezTo>
                    <a:pt x="92" y="2686"/>
                    <a:pt x="46" y="2686"/>
                    <a:pt x="0" y="2686"/>
                  </a:cubicBezTo>
                  <a:cubicBezTo>
                    <a:pt x="0" y="2001"/>
                    <a:pt x="0" y="1316"/>
                    <a:pt x="0" y="631"/>
                  </a:cubicBezTo>
                  <a:cubicBezTo>
                    <a:pt x="0" y="612"/>
                    <a:pt x="12" y="596"/>
                    <a:pt x="29" y="590"/>
                  </a:cubicBezTo>
                  <a:cubicBezTo>
                    <a:pt x="34" y="589"/>
                    <a:pt x="38" y="589"/>
                    <a:pt x="42" y="589"/>
                  </a:cubicBezTo>
                  <a:cubicBezTo>
                    <a:pt x="55" y="589"/>
                    <a:pt x="68" y="595"/>
                    <a:pt x="77" y="606"/>
                  </a:cubicBezTo>
                  <a:cubicBezTo>
                    <a:pt x="382" y="994"/>
                    <a:pt x="686" y="1383"/>
                    <a:pt x="991" y="1771"/>
                  </a:cubicBezTo>
                  <a:cubicBezTo>
                    <a:pt x="991" y="1181"/>
                    <a:pt x="991" y="590"/>
                    <a:pt x="991" y="0"/>
                  </a:cubicBezTo>
                  <a:cubicBezTo>
                    <a:pt x="1037" y="0"/>
                    <a:pt x="1084" y="0"/>
                    <a:pt x="1130" y="0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rtlCol="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nb-NO" sz="2400" b="0" i="0" u="none" strike="noStrike" kern="1200">
                <a:ln>
                  <a:noFill/>
                </a:ln>
                <a:latin typeface="Segoe UI" panose="020B0502040204020203" pitchFamily="34" charset="0"/>
                <a:ea typeface="SimSun" pitchFamily="2"/>
                <a:cs typeface="Lucida Sans" pitchFamily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61124254"/>
      </p:ext>
    </p:extLst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>
  <p:cSld name="Tittel, utklipp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utklipp 2"/>
          <p:cNvSpPr>
            <a:spLocks noGrp="1"/>
          </p:cNvSpPr>
          <p:nvPr>
            <p:ph type="clipArt" sz="half" idx="1"/>
          </p:nvPr>
        </p:nvSpPr>
        <p:spPr>
          <a:xfrm>
            <a:off x="609600" y="1600206"/>
            <a:ext cx="5384800" cy="4525963"/>
          </a:xfrm>
        </p:spPr>
        <p:txBody>
          <a:bodyPr rtlCol="0">
            <a:normAutofit/>
          </a:bodyPr>
          <a:lstStyle/>
          <a:p>
            <a:pPr lvl="0"/>
            <a:endParaRPr lang="nb-NO" noProof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197600" y="1600206"/>
            <a:ext cx="5384800" cy="4525963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A01CC0-3B9E-4F69-BED2-306F4573E50B}" type="slidenum">
              <a:rPr lang="nb-NO"/>
              <a:pPr>
                <a:defRPr/>
              </a:pPr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15168284"/>
      </p:ext>
    </p:extLst>
  </p:cSld>
  <p:clrMapOvr>
    <a:masterClrMapping/>
  </p:clrMapOvr>
  <p:transition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kside gro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/>
          <p:cNvSpPr/>
          <p:nvPr/>
        </p:nvSpPr>
        <p:spPr bwMode="auto">
          <a:xfrm>
            <a:off x="1" y="0"/>
            <a:ext cx="12192000" cy="685800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grpSp>
        <p:nvGrpSpPr>
          <p:cNvPr id="4" name="Gruppe 3"/>
          <p:cNvGrpSpPr/>
          <p:nvPr/>
        </p:nvGrpSpPr>
        <p:grpSpPr>
          <a:xfrm>
            <a:off x="4978792" y="2372883"/>
            <a:ext cx="2234419" cy="1536171"/>
            <a:chOff x="3187937" y="496671"/>
            <a:chExt cx="1405800" cy="966600"/>
          </a:xfrm>
          <a:solidFill>
            <a:schemeClr val="accent1"/>
          </a:solidFill>
        </p:grpSpPr>
        <p:sp>
          <p:nvSpPr>
            <p:cNvPr id="5" name="Freeform: Shape 2"/>
            <p:cNvSpPr/>
            <p:nvPr/>
          </p:nvSpPr>
          <p:spPr>
            <a:xfrm>
              <a:off x="4213577" y="713031"/>
              <a:ext cx="380160" cy="534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57" h="1485">
                  <a:moveTo>
                    <a:pt x="138" y="1346"/>
                  </a:moveTo>
                  <a:cubicBezTo>
                    <a:pt x="138" y="1155"/>
                    <a:pt x="138" y="964"/>
                    <a:pt x="138" y="773"/>
                  </a:cubicBezTo>
                  <a:cubicBezTo>
                    <a:pt x="287" y="773"/>
                    <a:pt x="437" y="773"/>
                    <a:pt x="586" y="773"/>
                  </a:cubicBezTo>
                  <a:cubicBezTo>
                    <a:pt x="780" y="773"/>
                    <a:pt x="917" y="884"/>
                    <a:pt x="917" y="1040"/>
                  </a:cubicBezTo>
                  <a:cubicBezTo>
                    <a:pt x="918" y="1116"/>
                    <a:pt x="918" y="1346"/>
                    <a:pt x="532" y="1346"/>
                  </a:cubicBezTo>
                  <a:cubicBezTo>
                    <a:pt x="401" y="1346"/>
                    <a:pt x="269" y="1346"/>
                    <a:pt x="138" y="1346"/>
                  </a:cubicBezTo>
                  <a:close/>
                  <a:moveTo>
                    <a:pt x="471" y="138"/>
                  </a:moveTo>
                  <a:cubicBezTo>
                    <a:pt x="589" y="138"/>
                    <a:pt x="675" y="157"/>
                    <a:pt x="732" y="196"/>
                  </a:cubicBezTo>
                  <a:cubicBezTo>
                    <a:pt x="767" y="221"/>
                    <a:pt x="816" y="271"/>
                    <a:pt x="816" y="395"/>
                  </a:cubicBezTo>
                  <a:cubicBezTo>
                    <a:pt x="816" y="616"/>
                    <a:pt x="641" y="635"/>
                    <a:pt x="587" y="635"/>
                  </a:cubicBezTo>
                  <a:cubicBezTo>
                    <a:pt x="438" y="635"/>
                    <a:pt x="289" y="635"/>
                    <a:pt x="140" y="635"/>
                  </a:cubicBezTo>
                  <a:cubicBezTo>
                    <a:pt x="140" y="469"/>
                    <a:pt x="140" y="304"/>
                    <a:pt x="140" y="138"/>
                  </a:cubicBezTo>
                  <a:cubicBezTo>
                    <a:pt x="250" y="138"/>
                    <a:pt x="361" y="138"/>
                    <a:pt x="471" y="138"/>
                  </a:cubicBezTo>
                  <a:close/>
                  <a:moveTo>
                    <a:pt x="838" y="692"/>
                  </a:moveTo>
                  <a:cubicBezTo>
                    <a:pt x="836" y="690"/>
                    <a:pt x="833" y="689"/>
                    <a:pt x="831" y="687"/>
                  </a:cubicBezTo>
                  <a:cubicBezTo>
                    <a:pt x="833" y="685"/>
                    <a:pt x="834" y="684"/>
                    <a:pt x="836" y="682"/>
                  </a:cubicBezTo>
                  <a:cubicBezTo>
                    <a:pt x="889" y="635"/>
                    <a:pt x="953" y="546"/>
                    <a:pt x="953" y="395"/>
                  </a:cubicBezTo>
                  <a:cubicBezTo>
                    <a:pt x="953" y="255"/>
                    <a:pt x="905" y="150"/>
                    <a:pt x="810" y="84"/>
                  </a:cubicBezTo>
                  <a:cubicBezTo>
                    <a:pt x="730" y="27"/>
                    <a:pt x="619" y="0"/>
                    <a:pt x="471" y="0"/>
                  </a:cubicBezTo>
                  <a:cubicBezTo>
                    <a:pt x="329" y="0"/>
                    <a:pt x="187" y="0"/>
                    <a:pt x="45" y="0"/>
                  </a:cubicBezTo>
                  <a:cubicBezTo>
                    <a:pt x="20" y="0"/>
                    <a:pt x="0" y="20"/>
                    <a:pt x="0" y="45"/>
                  </a:cubicBezTo>
                  <a:cubicBezTo>
                    <a:pt x="0" y="510"/>
                    <a:pt x="0" y="975"/>
                    <a:pt x="0" y="1440"/>
                  </a:cubicBezTo>
                  <a:cubicBezTo>
                    <a:pt x="0" y="1464"/>
                    <a:pt x="20" y="1485"/>
                    <a:pt x="45" y="1485"/>
                  </a:cubicBezTo>
                  <a:cubicBezTo>
                    <a:pt x="207" y="1485"/>
                    <a:pt x="370" y="1485"/>
                    <a:pt x="532" y="1485"/>
                  </a:cubicBezTo>
                  <a:cubicBezTo>
                    <a:pt x="685" y="1485"/>
                    <a:pt x="809" y="1453"/>
                    <a:pt x="896" y="1387"/>
                  </a:cubicBezTo>
                  <a:cubicBezTo>
                    <a:pt x="947" y="1349"/>
                    <a:pt x="988" y="1301"/>
                    <a:pt x="1014" y="1244"/>
                  </a:cubicBezTo>
                  <a:cubicBezTo>
                    <a:pt x="1042" y="1186"/>
                    <a:pt x="1057" y="1116"/>
                    <a:pt x="1057" y="1040"/>
                  </a:cubicBezTo>
                  <a:cubicBezTo>
                    <a:pt x="1057" y="922"/>
                    <a:pt x="1007" y="817"/>
                    <a:pt x="915" y="743"/>
                  </a:cubicBezTo>
                  <a:cubicBezTo>
                    <a:pt x="892" y="724"/>
                    <a:pt x="866" y="706"/>
                    <a:pt x="838" y="692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rtlCol="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nb-NO" sz="2400" b="0" i="0" u="none" strike="noStrike" kern="1200">
                <a:ln>
                  <a:noFill/>
                </a:ln>
                <a:latin typeface="Segoe UI" panose="020B0502040204020203" pitchFamily="34" charset="0"/>
                <a:ea typeface="SimSun" pitchFamily="2"/>
                <a:cs typeface="Lucida Sans" pitchFamily="2"/>
              </a:endParaRPr>
            </a:p>
          </p:txBody>
        </p:sp>
        <p:sp>
          <p:nvSpPr>
            <p:cNvPr id="6" name="Freeform: Shape 3"/>
            <p:cNvSpPr/>
            <p:nvPr/>
          </p:nvSpPr>
          <p:spPr>
            <a:xfrm>
              <a:off x="3187937" y="713031"/>
              <a:ext cx="399240" cy="534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10" h="1485">
                  <a:moveTo>
                    <a:pt x="449" y="1348"/>
                  </a:moveTo>
                  <a:cubicBezTo>
                    <a:pt x="346" y="1348"/>
                    <a:pt x="242" y="1348"/>
                    <a:pt x="139" y="1348"/>
                  </a:cubicBezTo>
                  <a:cubicBezTo>
                    <a:pt x="139" y="945"/>
                    <a:pt x="139" y="542"/>
                    <a:pt x="139" y="139"/>
                  </a:cubicBezTo>
                  <a:cubicBezTo>
                    <a:pt x="242" y="139"/>
                    <a:pt x="346" y="139"/>
                    <a:pt x="449" y="139"/>
                  </a:cubicBezTo>
                  <a:cubicBezTo>
                    <a:pt x="563" y="139"/>
                    <a:pt x="723" y="169"/>
                    <a:pt x="837" y="310"/>
                  </a:cubicBezTo>
                  <a:cubicBezTo>
                    <a:pt x="961" y="462"/>
                    <a:pt x="970" y="687"/>
                    <a:pt x="970" y="753"/>
                  </a:cubicBezTo>
                  <a:cubicBezTo>
                    <a:pt x="970" y="849"/>
                    <a:pt x="952" y="1034"/>
                    <a:pt x="837" y="1177"/>
                  </a:cubicBezTo>
                  <a:cubicBezTo>
                    <a:pt x="722" y="1317"/>
                    <a:pt x="563" y="1348"/>
                    <a:pt x="449" y="1348"/>
                  </a:cubicBezTo>
                  <a:close/>
                  <a:moveTo>
                    <a:pt x="710" y="48"/>
                  </a:moveTo>
                  <a:cubicBezTo>
                    <a:pt x="630" y="16"/>
                    <a:pt x="543" y="0"/>
                    <a:pt x="449" y="0"/>
                  </a:cubicBezTo>
                  <a:cubicBezTo>
                    <a:pt x="315" y="0"/>
                    <a:pt x="180" y="0"/>
                    <a:pt x="46" y="0"/>
                  </a:cubicBezTo>
                  <a:cubicBezTo>
                    <a:pt x="21" y="0"/>
                    <a:pt x="0" y="20"/>
                    <a:pt x="0" y="45"/>
                  </a:cubicBezTo>
                  <a:cubicBezTo>
                    <a:pt x="0" y="510"/>
                    <a:pt x="0" y="975"/>
                    <a:pt x="0" y="1440"/>
                  </a:cubicBezTo>
                  <a:cubicBezTo>
                    <a:pt x="0" y="1464"/>
                    <a:pt x="21" y="1485"/>
                    <a:pt x="46" y="1485"/>
                  </a:cubicBezTo>
                  <a:cubicBezTo>
                    <a:pt x="180" y="1485"/>
                    <a:pt x="315" y="1485"/>
                    <a:pt x="449" y="1485"/>
                  </a:cubicBezTo>
                  <a:cubicBezTo>
                    <a:pt x="543" y="1485"/>
                    <a:pt x="630" y="1469"/>
                    <a:pt x="710" y="1437"/>
                  </a:cubicBezTo>
                  <a:cubicBezTo>
                    <a:pt x="802" y="1399"/>
                    <a:pt x="882" y="1342"/>
                    <a:pt x="945" y="1265"/>
                  </a:cubicBezTo>
                  <a:cubicBezTo>
                    <a:pt x="1088" y="1090"/>
                    <a:pt x="1110" y="868"/>
                    <a:pt x="1110" y="752"/>
                  </a:cubicBezTo>
                  <a:cubicBezTo>
                    <a:pt x="1108" y="652"/>
                    <a:pt x="1094" y="403"/>
                    <a:pt x="945" y="221"/>
                  </a:cubicBezTo>
                  <a:cubicBezTo>
                    <a:pt x="882" y="144"/>
                    <a:pt x="804" y="87"/>
                    <a:pt x="710" y="48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rtlCol="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nb-NO" sz="2400" b="0" i="0" u="none" strike="noStrike" kern="1200">
                <a:ln>
                  <a:noFill/>
                </a:ln>
                <a:latin typeface="Segoe UI" panose="020B0502040204020203" pitchFamily="34" charset="0"/>
                <a:ea typeface="SimSun" pitchFamily="2"/>
                <a:cs typeface="Lucida Sans" pitchFamily="2"/>
              </a:endParaRPr>
            </a:p>
          </p:txBody>
        </p:sp>
        <p:sp>
          <p:nvSpPr>
            <p:cNvPr id="7" name="Freeform: Shape 4"/>
            <p:cNvSpPr/>
            <p:nvPr/>
          </p:nvSpPr>
          <p:spPr>
            <a:xfrm>
              <a:off x="3687617" y="496671"/>
              <a:ext cx="406440" cy="9666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30" h="2686">
                  <a:moveTo>
                    <a:pt x="1130" y="0"/>
                  </a:moveTo>
                  <a:cubicBezTo>
                    <a:pt x="1130" y="684"/>
                    <a:pt x="1130" y="1367"/>
                    <a:pt x="1130" y="2051"/>
                  </a:cubicBezTo>
                  <a:cubicBezTo>
                    <a:pt x="1130" y="2070"/>
                    <a:pt x="1118" y="2086"/>
                    <a:pt x="1100" y="2092"/>
                  </a:cubicBezTo>
                  <a:cubicBezTo>
                    <a:pt x="1096" y="2093"/>
                    <a:pt x="1092" y="2094"/>
                    <a:pt x="1087" y="2094"/>
                  </a:cubicBezTo>
                  <a:cubicBezTo>
                    <a:pt x="1073" y="2094"/>
                    <a:pt x="1061" y="2087"/>
                    <a:pt x="1052" y="2077"/>
                  </a:cubicBezTo>
                  <a:cubicBezTo>
                    <a:pt x="747" y="1688"/>
                    <a:pt x="443" y="1300"/>
                    <a:pt x="138" y="911"/>
                  </a:cubicBezTo>
                  <a:cubicBezTo>
                    <a:pt x="138" y="1503"/>
                    <a:pt x="138" y="2094"/>
                    <a:pt x="138" y="2686"/>
                  </a:cubicBezTo>
                  <a:cubicBezTo>
                    <a:pt x="92" y="2686"/>
                    <a:pt x="46" y="2686"/>
                    <a:pt x="0" y="2686"/>
                  </a:cubicBezTo>
                  <a:cubicBezTo>
                    <a:pt x="0" y="2001"/>
                    <a:pt x="0" y="1316"/>
                    <a:pt x="0" y="631"/>
                  </a:cubicBezTo>
                  <a:cubicBezTo>
                    <a:pt x="0" y="612"/>
                    <a:pt x="12" y="596"/>
                    <a:pt x="29" y="590"/>
                  </a:cubicBezTo>
                  <a:cubicBezTo>
                    <a:pt x="34" y="589"/>
                    <a:pt x="38" y="589"/>
                    <a:pt x="42" y="589"/>
                  </a:cubicBezTo>
                  <a:cubicBezTo>
                    <a:pt x="55" y="589"/>
                    <a:pt x="68" y="595"/>
                    <a:pt x="77" y="606"/>
                  </a:cubicBezTo>
                  <a:cubicBezTo>
                    <a:pt x="382" y="994"/>
                    <a:pt x="686" y="1383"/>
                    <a:pt x="991" y="1771"/>
                  </a:cubicBezTo>
                  <a:cubicBezTo>
                    <a:pt x="991" y="1181"/>
                    <a:pt x="991" y="590"/>
                    <a:pt x="991" y="0"/>
                  </a:cubicBezTo>
                  <a:cubicBezTo>
                    <a:pt x="1037" y="0"/>
                    <a:pt x="1084" y="0"/>
                    <a:pt x="1130" y="0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rtlCol="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nb-NO" sz="2400" b="0" i="0" u="none" strike="noStrike" kern="1200">
                <a:ln>
                  <a:noFill/>
                </a:ln>
                <a:latin typeface="Segoe UI" panose="020B0502040204020203" pitchFamily="34" charset="0"/>
                <a:ea typeface="SimSun" pitchFamily="2"/>
                <a:cs typeface="Lucida Sans" pitchFamily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9665274"/>
      </p:ext>
    </p:extLst>
  </p:cSld>
  <p:clrMapOvr>
    <a:masterClrMapping/>
  </p:clrMapOvr>
  <p:transition spd="med" advClick="0"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11737154"/>
      </p:ext>
    </p:extLst>
  </p:cSld>
  <p:clrMapOvr>
    <a:masterClrMapping/>
  </p:clrMapOvr>
  <p:transition spd="med"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tort bilde &amp;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bilde 5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</p:spPr>
        <p:txBody>
          <a:bodyPr anchor="ctr" anchorCtr="0"/>
          <a:lstStyle>
            <a:lvl1pPr marL="270111" indent="-270111" algn="ctr">
              <a:spcBef>
                <a:spcPts val="1067"/>
              </a:spcBef>
              <a:buClr>
                <a:schemeClr val="accent2"/>
              </a:buClr>
              <a:buSzPct val="100000"/>
              <a:defRPr b="0" i="0">
                <a:latin typeface="Segoe UI" charset="0"/>
                <a:ea typeface="Segoe UI" charset="0"/>
                <a:cs typeface="Segoe UI" charset="0"/>
              </a:defRPr>
            </a:lvl1pPr>
          </a:lstStyle>
          <a:p>
            <a:endParaRPr lang="nb-NO"/>
          </a:p>
        </p:txBody>
      </p:sp>
      <p:sp>
        <p:nvSpPr>
          <p:cNvPr id="12" name="Tittel 6"/>
          <p:cNvSpPr>
            <a:spLocks noGrp="1"/>
          </p:cNvSpPr>
          <p:nvPr>
            <p:ph type="title"/>
          </p:nvPr>
        </p:nvSpPr>
        <p:spPr>
          <a:xfrm>
            <a:off x="719403" y="4581128"/>
            <a:ext cx="10753195" cy="961813"/>
          </a:xfrm>
          <a:prstGeom prst="rect">
            <a:avLst/>
          </a:prstGeom>
        </p:spPr>
        <p:txBody>
          <a:bodyPr anchor="ctr" anchorCtr="0"/>
          <a:lstStyle>
            <a:lvl1pPr algn="l">
              <a:spcBef>
                <a:spcPts val="800"/>
              </a:spcBef>
              <a:defRPr sz="5333">
                <a:solidFill>
                  <a:schemeClr val="bg1"/>
                </a:solidFill>
                <a:latin typeface="Segoe UI"/>
                <a:cs typeface="Segoe UI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719401" y="5542941"/>
            <a:ext cx="10753196" cy="748080"/>
          </a:xfrm>
        </p:spPr>
        <p:txBody>
          <a:bodyPr lIns="0" tIns="0" rIns="0" bIns="0" anchor="ctr" anchorCtr="0"/>
          <a:lstStyle>
            <a:lvl1pPr marL="47999" indent="0">
              <a:spcBef>
                <a:spcPts val="800"/>
              </a:spcBef>
              <a:buClr>
                <a:schemeClr val="accent2"/>
              </a:buClr>
              <a:buSzPct val="110000"/>
              <a:buFontTx/>
              <a:buNone/>
              <a:defRPr sz="1867" baseline="0">
                <a:solidFill>
                  <a:schemeClr val="bg1"/>
                </a:solidFill>
                <a:latin typeface="Segoe UI"/>
              </a:defRPr>
            </a:lvl1pPr>
            <a:lvl2pPr marL="1011741" indent="-191995">
              <a:spcBef>
                <a:spcPts val="800"/>
              </a:spcBef>
              <a:buClr>
                <a:schemeClr val="accent2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1511262" indent="-143996">
              <a:spcBef>
                <a:spcPts val="800"/>
              </a:spcBef>
              <a:buClr>
                <a:schemeClr val="accent2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/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ext</a:t>
            </a:r>
            <a:r>
              <a:rPr lang="nb-NO"/>
              <a:t> styles</a:t>
            </a:r>
          </a:p>
        </p:txBody>
      </p:sp>
    </p:spTree>
    <p:extLst>
      <p:ext uri="{BB962C8B-B14F-4D97-AF65-F5344CB8AC3E}">
        <p14:creationId xmlns:p14="http://schemas.microsoft.com/office/powerpoint/2010/main" val="44744453"/>
      </p:ext>
    </p:extLst>
  </p:cSld>
  <p:clrMapOvr>
    <a:masterClrMapping/>
  </p:clrMapOvr>
  <p:transition spd="med" advClick="0"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8D0C22C-4B33-4A91-8993-A54BE34C4F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FFD44D89-1FAE-460B-AEC6-D76FDCAFFC4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1D491CEE-91C6-4272-AF8A-A9A4F2CEA2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62DD70-C6BB-4E51-9654-AF72DD5EF98F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E544A66B-A907-4D5F-BCDB-55662BE939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9F4386FC-641F-4018-9397-4E40748CA9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C06C92-903A-4031-86B6-31A487E96E6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08603343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82" indent="0" algn="ctr">
              <a:buNone/>
              <a:defRPr sz="1500"/>
            </a:lvl2pPr>
            <a:lvl3pPr marL="685766" indent="0" algn="ctr">
              <a:buNone/>
              <a:defRPr sz="1351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4" indent="0" algn="ctr">
              <a:buNone/>
              <a:defRPr sz="1200"/>
            </a:lvl6pPr>
            <a:lvl7pPr marL="2057298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115B5-22B3-3341-8606-329944385CDD}" type="datetimeFigureOut">
              <a:rPr lang="en-US" smtClean="0"/>
              <a:t>5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0F1FF-46A1-4F4C-A154-7A0A3DE72A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2850494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115B5-22B3-3341-8606-329944385CDD}" type="datetimeFigureOut">
              <a:rPr lang="en-US" smtClean="0"/>
              <a:t>5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0F1FF-46A1-4F4C-A154-7A0A3DE72A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39879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50"/>
            <a:ext cx="105156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75"/>
            <a:ext cx="105156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88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66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3pPr>
            <a:lvl4pPr marL="10286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1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2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18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06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115B5-22B3-3341-8606-329944385CDD}" type="datetimeFigureOut">
              <a:rPr lang="en-US" smtClean="0"/>
              <a:t>5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0F1FF-46A1-4F4C-A154-7A0A3DE72A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787841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115B5-22B3-3341-8606-329944385CDD}" type="datetimeFigureOut">
              <a:rPr lang="en-US" smtClean="0"/>
              <a:t>5/4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0F1FF-46A1-4F4C-A154-7A0A3DE72A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201814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82" indent="0">
              <a:buNone/>
              <a:defRPr sz="1500" b="1"/>
            </a:lvl2pPr>
            <a:lvl3pPr marL="685766" indent="0">
              <a:buNone/>
              <a:defRPr sz="1351" b="1"/>
            </a:lvl3pPr>
            <a:lvl4pPr marL="1028649" indent="0">
              <a:buNone/>
              <a:defRPr sz="1200" b="1"/>
            </a:lvl4pPr>
            <a:lvl5pPr marL="1371532" indent="0">
              <a:buNone/>
              <a:defRPr sz="1200" b="1"/>
            </a:lvl5pPr>
            <a:lvl6pPr marL="1714414" indent="0">
              <a:buNone/>
              <a:defRPr sz="1200" b="1"/>
            </a:lvl6pPr>
            <a:lvl7pPr marL="2057298" indent="0">
              <a:buNone/>
              <a:defRPr sz="1200" b="1"/>
            </a:lvl7pPr>
            <a:lvl8pPr marL="2400180" indent="0">
              <a:buNone/>
              <a:defRPr sz="1200" b="1"/>
            </a:lvl8pPr>
            <a:lvl9pPr marL="274306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82" indent="0">
              <a:buNone/>
              <a:defRPr sz="1500" b="1"/>
            </a:lvl2pPr>
            <a:lvl3pPr marL="685766" indent="0">
              <a:buNone/>
              <a:defRPr sz="1351" b="1"/>
            </a:lvl3pPr>
            <a:lvl4pPr marL="1028649" indent="0">
              <a:buNone/>
              <a:defRPr sz="1200" b="1"/>
            </a:lvl4pPr>
            <a:lvl5pPr marL="1371532" indent="0">
              <a:buNone/>
              <a:defRPr sz="1200" b="1"/>
            </a:lvl5pPr>
            <a:lvl6pPr marL="1714414" indent="0">
              <a:buNone/>
              <a:defRPr sz="1200" b="1"/>
            </a:lvl6pPr>
            <a:lvl7pPr marL="2057298" indent="0">
              <a:buNone/>
              <a:defRPr sz="1200" b="1"/>
            </a:lvl7pPr>
            <a:lvl8pPr marL="2400180" indent="0">
              <a:buNone/>
              <a:defRPr sz="1200" b="1"/>
            </a:lvl8pPr>
            <a:lvl9pPr marL="274306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115B5-22B3-3341-8606-329944385CDD}" type="datetimeFigureOut">
              <a:rPr lang="en-US" smtClean="0"/>
              <a:t>5/4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0F1FF-46A1-4F4C-A154-7A0A3DE72A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405030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115B5-22B3-3341-8606-329944385CDD}" type="datetimeFigureOut">
              <a:rPr lang="en-US" smtClean="0"/>
              <a:t>5/4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0F1FF-46A1-4F4C-A154-7A0A3DE72A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83869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1DD14D-407C-D242-9763-67B11C4B4C46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576918-C8B9-C946-A073-74F3E53AEF0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89716785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115B5-22B3-3341-8606-329944385CDD}" type="datetimeFigureOut">
              <a:rPr lang="en-US" smtClean="0"/>
              <a:t>5/4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0F1FF-46A1-4F4C-A154-7A0A3DE72A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2407828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37"/>
            <a:ext cx="617220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882" indent="0">
              <a:buNone/>
              <a:defRPr sz="1051"/>
            </a:lvl2pPr>
            <a:lvl3pPr marL="685766" indent="0">
              <a:buNone/>
              <a:defRPr sz="900"/>
            </a:lvl3pPr>
            <a:lvl4pPr marL="1028649" indent="0">
              <a:buNone/>
              <a:defRPr sz="751"/>
            </a:lvl4pPr>
            <a:lvl5pPr marL="1371532" indent="0">
              <a:buNone/>
              <a:defRPr sz="751"/>
            </a:lvl5pPr>
            <a:lvl6pPr marL="1714414" indent="0">
              <a:buNone/>
              <a:defRPr sz="751"/>
            </a:lvl6pPr>
            <a:lvl7pPr marL="2057298" indent="0">
              <a:buNone/>
              <a:defRPr sz="751"/>
            </a:lvl7pPr>
            <a:lvl8pPr marL="2400180" indent="0">
              <a:buNone/>
              <a:defRPr sz="751"/>
            </a:lvl8pPr>
            <a:lvl9pPr marL="2743062" indent="0">
              <a:buNone/>
              <a:defRPr sz="75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115B5-22B3-3341-8606-329944385CDD}" type="datetimeFigureOut">
              <a:rPr lang="en-US" smtClean="0"/>
              <a:t>5/4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0F1FF-46A1-4F4C-A154-7A0A3DE72A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818210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37"/>
            <a:ext cx="617220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882" indent="0">
              <a:buNone/>
              <a:defRPr sz="2100"/>
            </a:lvl2pPr>
            <a:lvl3pPr marL="685766" indent="0">
              <a:buNone/>
              <a:defRPr sz="1800"/>
            </a:lvl3pPr>
            <a:lvl4pPr marL="1028649" indent="0">
              <a:buNone/>
              <a:defRPr sz="1500"/>
            </a:lvl4pPr>
            <a:lvl5pPr marL="1371532" indent="0">
              <a:buNone/>
              <a:defRPr sz="1500"/>
            </a:lvl5pPr>
            <a:lvl6pPr marL="1714414" indent="0">
              <a:buNone/>
              <a:defRPr sz="1500"/>
            </a:lvl6pPr>
            <a:lvl7pPr marL="2057298" indent="0">
              <a:buNone/>
              <a:defRPr sz="1500"/>
            </a:lvl7pPr>
            <a:lvl8pPr marL="2400180" indent="0">
              <a:buNone/>
              <a:defRPr sz="1500"/>
            </a:lvl8pPr>
            <a:lvl9pPr marL="2743062" indent="0">
              <a:buNone/>
              <a:defRPr sz="1500"/>
            </a:lvl9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882" indent="0">
              <a:buNone/>
              <a:defRPr sz="1051"/>
            </a:lvl2pPr>
            <a:lvl3pPr marL="685766" indent="0">
              <a:buNone/>
              <a:defRPr sz="900"/>
            </a:lvl3pPr>
            <a:lvl4pPr marL="1028649" indent="0">
              <a:buNone/>
              <a:defRPr sz="751"/>
            </a:lvl4pPr>
            <a:lvl5pPr marL="1371532" indent="0">
              <a:buNone/>
              <a:defRPr sz="751"/>
            </a:lvl5pPr>
            <a:lvl6pPr marL="1714414" indent="0">
              <a:buNone/>
              <a:defRPr sz="751"/>
            </a:lvl6pPr>
            <a:lvl7pPr marL="2057298" indent="0">
              <a:buNone/>
              <a:defRPr sz="751"/>
            </a:lvl7pPr>
            <a:lvl8pPr marL="2400180" indent="0">
              <a:buNone/>
              <a:defRPr sz="751"/>
            </a:lvl8pPr>
            <a:lvl9pPr marL="2743062" indent="0">
              <a:buNone/>
              <a:defRPr sz="75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115B5-22B3-3341-8606-329944385CDD}" type="datetimeFigureOut">
              <a:rPr lang="en-US" smtClean="0"/>
              <a:t>5/4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0F1FF-46A1-4F4C-A154-7A0A3DE72A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0713223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115B5-22B3-3341-8606-329944385CDD}" type="datetimeFigureOut">
              <a:rPr lang="en-US" smtClean="0"/>
              <a:t>5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0F1FF-46A1-4F4C-A154-7A0A3DE72A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4019288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115B5-22B3-3341-8606-329944385CDD}" type="datetimeFigureOut">
              <a:rPr lang="en-US" smtClean="0"/>
              <a:t>5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0F1FF-46A1-4F4C-A154-7A0A3DE72A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341015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1DD14D-407C-D242-9763-67B11C4B4C46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576918-C8B9-C946-A073-74F3E53AEF0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65128987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1DD14D-407C-D242-9763-67B11C4B4C46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576918-C8B9-C946-A073-74F3E53AEF0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35277786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1DD14D-407C-D242-9763-67B11C4B4C46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576918-C8B9-C946-A073-74F3E53AEF0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85558587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1DD14D-407C-D242-9763-67B11C4B4C46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576918-C8B9-C946-A073-74F3E53AEF0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82944574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1DD14D-407C-D242-9763-67B11C4B4C46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576918-C8B9-C946-A073-74F3E53AEF0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61094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1DD14D-407C-D242-9763-67B11C4B4C46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576918-C8B9-C946-A073-74F3E53AEF0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9931308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1DD14D-407C-D242-9763-67B11C4B4C46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576918-C8B9-C946-A073-74F3E53AEF0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33270924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1DD14D-407C-D242-9763-67B11C4B4C46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576918-C8B9-C946-A073-74F3E53AEF0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71877091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1DD14D-407C-D242-9763-67B11C4B4C46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576918-C8B9-C946-A073-74F3E53AEF0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59733942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1DD14D-407C-D242-9763-67B11C4B4C46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576918-C8B9-C946-A073-74F3E53AEF0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92786630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1DD14D-407C-D242-9763-67B11C4B4C46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576918-C8B9-C946-A073-74F3E53AEF0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39762527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1DD14D-407C-D242-9763-67B11C4B4C46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576918-C8B9-C946-A073-74F3E53AEF0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51787106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>
  <p:cSld name="Tittel, utklipp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utklipp 2"/>
          <p:cNvSpPr>
            <a:spLocks noGrp="1"/>
          </p:cNvSpPr>
          <p:nvPr>
            <p:ph type="clipArt" sz="half" idx="1"/>
          </p:nvPr>
        </p:nvSpPr>
        <p:spPr>
          <a:xfrm>
            <a:off x="609600" y="1600206"/>
            <a:ext cx="5384800" cy="4525963"/>
          </a:xfrm>
        </p:spPr>
        <p:txBody>
          <a:bodyPr rtlCol="0">
            <a:normAutofit/>
          </a:bodyPr>
          <a:lstStyle/>
          <a:p>
            <a:pPr lvl="0"/>
            <a:endParaRPr lang="nb-NO" noProof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197600" y="1600206"/>
            <a:ext cx="5384800" cy="4525963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A01CC0-3B9E-4F69-BED2-306F4573E50B}" type="slidenum">
              <a:rPr lang="nb-NO"/>
              <a:pPr>
                <a:defRPr/>
              </a:pPr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57779628"/>
      </p:ext>
    </p:extLst>
  </p:cSld>
  <p:clrMapOvr>
    <a:masterClrMapping/>
  </p:clrMapOvr>
  <p:transition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tat m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0BAE2AD-F60B-4D7B-A54E-38ACFDD3A12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65000"/>
            </a:schemeClr>
          </a:solidFill>
        </p:spPr>
        <p:txBody>
          <a:bodyPr/>
          <a:lstStyle>
            <a:lvl1pPr>
              <a:buNone/>
              <a:defRPr/>
            </a:lvl1pPr>
          </a:lstStyle>
          <a:p>
            <a:r>
              <a:rPr lang="en-GB"/>
              <a:t>                          Click -&gt; insert -&gt; pictures -&gt; This Device to change or add the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91024" y="2367135"/>
            <a:ext cx="8658335" cy="2821723"/>
          </a:xfrm>
        </p:spPr>
        <p:txBody>
          <a:bodyPr anchor="t"/>
          <a:lstStyle>
            <a:lvl1pPr algn="ctr">
              <a:lnSpc>
                <a:spcPct val="100000"/>
              </a:lnSpc>
              <a:defRPr sz="5500">
                <a:solidFill>
                  <a:schemeClr val="bg1"/>
                </a:solidFill>
              </a:defRPr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B8D5035-64A6-46CF-AFE2-5DE2384249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fld id="{C543DB42-12F3-4667-B640-F161C9E978AD}" type="slidenum">
              <a:rPr lang="en-GB" smtClean="0"/>
              <a:pPr algn="l"/>
              <a:t>‹#›</a:t>
            </a:fld>
            <a:endParaRPr lang="en-GB">
              <a:solidFill>
                <a:schemeClr val="bg1"/>
              </a:solidFill>
            </a:endParaRP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0FC689AC-3614-4A87-8E85-F3EB84930A93}"/>
              </a:ext>
            </a:extLst>
          </p:cNvPr>
          <p:cNvSpPr txBox="1">
            <a:spLocks/>
          </p:cNvSpPr>
          <p:nvPr userDrawn="1"/>
        </p:nvSpPr>
        <p:spPr>
          <a:xfrm>
            <a:off x="382187" y="-3810"/>
            <a:ext cx="1139557" cy="82296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428625" indent="-428625" algn="l" defTabSz="1828709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sz="4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37153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4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285886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4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200240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4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4114594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–"/>
              <a:defRPr sz="4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/>
              <a:t>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05D277A-F0C2-49F2-BEC8-A5E7A2D1B3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2187" y="-3810"/>
            <a:ext cx="1139557" cy="82296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1048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96B421E8-9639-4088-917D-7BF4F78A788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F8B74B5B-57E1-400F-AF68-99C83F8F1AC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BB27D029-5EBA-4F64-A06D-830A7C0A9B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62834F-D9A8-4A10-A623-55CAB7E29C4E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267CD97F-A8B1-4394-9F58-5D3E9F2F2A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712B56E7-D636-4F17-BF3B-40E12B51F5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1BAB98-BA08-4E40-B8F7-58F7500F9A3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23385556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31B2F5A-CFAD-4F06-9142-182668DCCF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0C3F118D-42E2-4CE9-8ABB-FD213F4F458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C64607F5-C8A9-4600-8B14-843015CA32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62834F-D9A8-4A10-A623-55CAB7E29C4E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3DFC59AD-7939-4124-84B6-8739A49D7C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116F6ABE-1BEC-4E35-A98A-99B9EA49DD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1BAB98-BA08-4E40-B8F7-58F7500F9A3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1879157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1DD14D-407C-D242-9763-67B11C4B4C46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576918-C8B9-C946-A073-74F3E53AEF0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60975055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87A06DD-9053-4C47-91AE-CDE1C5CDE7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45B4CDC2-4B6F-4CC4-BDA9-E717ED8D18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67CA3F2B-AA1B-4E66-9C66-3F631C5157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62834F-D9A8-4A10-A623-55CAB7E29C4E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0EF095FE-C88F-4DB6-B508-4E58B71E36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6C4E956-DF84-4B00-A255-FE0DE5C91B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1BAB98-BA08-4E40-B8F7-58F7500F9A3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3547504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94AF1400-7F3C-4F19-9970-AC4D662763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A0F5E8AD-B58A-45B7-BB1B-90ED7003530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FDF7C53C-A917-43D1-9ADA-1B2C682BA58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31BAE8B8-2A32-450C-93C4-C0A174D251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62834F-D9A8-4A10-A623-55CAB7E29C4E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F86EC47D-890B-4BE5-ADE6-1C3896E9CA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9A6C19E4-F8A6-4A37-AE78-7A22FEDFC2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1BAB98-BA08-4E40-B8F7-58F7500F9A3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52524664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D0FEF9A-74D0-41CA-A4CD-4B6E76B605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BF52A27B-BA74-4323-87CB-D493392BC25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D3911B62-B6EB-4B7F-A7CC-80ECBC2F56D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6C5FCA66-9C1B-4F71-B2C9-844E2463351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AB2E6D48-4A61-4293-8AFD-1DE58264D3F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270DB939-67C4-4818-86DC-C4D3744265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62834F-D9A8-4A10-A623-55CAB7E29C4E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E038AFFE-D30C-48CE-B8CB-1694BE2FE2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CEC9FB57-CCAB-4E16-BC6D-74722D2478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1BAB98-BA08-4E40-B8F7-58F7500F9A3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78477480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FEB69EC-21D7-4DE2-8159-1DCC786DD1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F82AADE8-1E14-4986-9805-24A2D4201C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62834F-D9A8-4A10-A623-55CAB7E29C4E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F30A382D-5303-4DBB-AA7A-2A82EC7D61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2BA7D2FB-93DE-49F7-9BEE-7EF7D39D48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1BAB98-BA08-4E40-B8F7-58F7500F9A3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27685023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7E2A9551-4155-4A70-A9B6-1413652857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62834F-D9A8-4A10-A623-55CAB7E29C4E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04486E11-68A9-4D07-A145-EBD8BF520C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D916D65E-281C-48B3-85DF-7698310339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1BAB98-BA08-4E40-B8F7-58F7500F9A3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32255297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403C0E3-3768-4D3C-8272-11751E243C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583F6F94-298E-4DEA-8067-407661D9A4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9770750E-EF6C-433D-A9DB-6D77C25DA75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D305A579-0BCF-43D4-BABC-DB2ABDE632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62834F-D9A8-4A10-A623-55CAB7E29C4E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C4268493-5BB7-498C-849A-684BAD4A1C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FEE04245-4EC2-4CE9-B537-BB77B987D1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1BAB98-BA08-4E40-B8F7-58F7500F9A3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21386806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2EDBC7F-7879-4255-A731-2FB1F4B940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D22BED85-614B-4705-ACAC-4558E55D186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631945B3-ED08-4393-AF9B-E411D84536F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4473ACA9-ADED-4BD8-8175-1E3B0D468C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62834F-D9A8-4A10-A623-55CAB7E29C4E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E16149AA-D7E6-47D2-B8D7-B515286D99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74EF2EB7-A0CD-4DD9-AB0A-96F4AA594A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1BAB98-BA08-4E40-B8F7-58F7500F9A3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35264364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AC77060-9D0E-469E-B64D-CDC659BE9A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FD8083E7-F0B1-4F31-B3B6-E2339AA8669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B0E6C5AE-D37E-40FF-A804-930E7907BF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62834F-D9A8-4A10-A623-55CAB7E29C4E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2B29ED50-01C1-4D81-86AF-A330700A19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7CCE4EA9-66E6-403C-8CE0-74DCC20F45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1BAB98-BA08-4E40-B8F7-58F7500F9A3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14068520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>
            <a:extLst>
              <a:ext uri="{FF2B5EF4-FFF2-40B4-BE49-F238E27FC236}">
                <a16:creationId xmlns:a16="http://schemas.microsoft.com/office/drawing/2014/main" id="{7136A76E-ADE9-4238-919F-DD93A15C6DE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569895AE-134A-4312-9B3A-8251DF50623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ACA97F4C-E327-4BE9-9E34-88779B15A1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62834F-D9A8-4A10-A623-55CAB7E29C4E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9F51AF64-5A93-4296-AA5E-0D4025DFF0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7D119993-E35F-4D12-BD94-3A51C930DF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1BAB98-BA08-4E40-B8F7-58F7500F9A3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80981996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>
  <p:cSld name="Tittel, utklipp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utklipp 2"/>
          <p:cNvSpPr>
            <a:spLocks noGrp="1"/>
          </p:cNvSpPr>
          <p:nvPr>
            <p:ph type="clipArt" sz="half" idx="1"/>
          </p:nvPr>
        </p:nvSpPr>
        <p:spPr>
          <a:xfrm>
            <a:off x="609600" y="1600206"/>
            <a:ext cx="5384800" cy="4525963"/>
          </a:xfrm>
        </p:spPr>
        <p:txBody>
          <a:bodyPr rtlCol="0">
            <a:normAutofit/>
          </a:bodyPr>
          <a:lstStyle/>
          <a:p>
            <a:pPr lvl="0"/>
            <a:endParaRPr lang="nb-NO" noProof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197600" y="1600206"/>
            <a:ext cx="5384800" cy="4525963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A01CC0-3B9E-4F69-BED2-306F4573E50B}" type="slidenum"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0709309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1DD14D-407C-D242-9763-67B11C4B4C46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576918-C8B9-C946-A073-74F3E53AEF0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25151642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1F79B5-539C-496D-91D9-1E769C343FA7}" type="datetimeFigureOut">
              <a:rPr lang="nb-NO" smtClean="0"/>
              <a:pPr/>
              <a:t>04.05.2022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B8C954-5965-4531-896B-DE1AB9F6300A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99615016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1F79B5-539C-496D-91D9-1E769C343FA7}" type="datetimeFigureOut">
              <a:rPr lang="nb-NO" smtClean="0"/>
              <a:pPr/>
              <a:t>04.05.2022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B8C954-5965-4531-896B-DE1AB9F6300A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73761085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1F79B5-539C-496D-91D9-1E769C343FA7}" type="datetimeFigureOut">
              <a:rPr lang="nb-NO" smtClean="0"/>
              <a:pPr/>
              <a:t>04.05.2022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B8C954-5965-4531-896B-DE1AB9F6300A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53521432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1F79B5-539C-496D-91D9-1E769C343FA7}" type="datetimeFigureOut">
              <a:rPr lang="nb-NO" smtClean="0"/>
              <a:pPr/>
              <a:t>04.05.2022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B8C954-5965-4531-896B-DE1AB9F6300A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57392780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1F79B5-539C-496D-91D9-1E769C343FA7}" type="datetimeFigureOut">
              <a:rPr lang="nb-NO" smtClean="0"/>
              <a:pPr/>
              <a:t>04.05.2022</a:t>
            </a:fld>
            <a:endParaRPr lang="nb-NO"/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B8C954-5965-4531-896B-DE1AB9F6300A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01948636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1F79B5-539C-496D-91D9-1E769C343FA7}" type="datetimeFigureOut">
              <a:rPr lang="nb-NO" smtClean="0"/>
              <a:pPr/>
              <a:t>04.05.2022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B8C954-5965-4531-896B-DE1AB9F6300A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25591838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1F79B5-539C-496D-91D9-1E769C343FA7}" type="datetimeFigureOut">
              <a:rPr lang="nb-NO" smtClean="0"/>
              <a:pPr/>
              <a:t>04.05.2022</a:t>
            </a:fld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B8C954-5965-4531-896B-DE1AB9F6300A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40254976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1F79B5-539C-496D-91D9-1E769C343FA7}" type="datetimeFigureOut">
              <a:rPr lang="nb-NO" smtClean="0"/>
              <a:pPr/>
              <a:t>04.05.2022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B8C954-5965-4531-896B-DE1AB9F6300A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19975290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1F79B5-539C-496D-91D9-1E769C343FA7}" type="datetimeFigureOut">
              <a:rPr lang="nb-NO" smtClean="0"/>
              <a:pPr/>
              <a:t>04.05.2022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B8C954-5965-4531-896B-DE1AB9F6300A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4738483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1F79B5-539C-496D-91D9-1E769C343FA7}" type="datetimeFigureOut">
              <a:rPr lang="nb-NO" smtClean="0"/>
              <a:pPr/>
              <a:t>04.05.2022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B8C954-5965-4531-896B-DE1AB9F6300A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692335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1DD14D-407C-D242-9763-67B11C4B4C46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576918-C8B9-C946-A073-74F3E53AEF0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8125330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1F79B5-539C-496D-91D9-1E769C343FA7}" type="datetimeFigureOut">
              <a:rPr lang="nb-NO" smtClean="0"/>
              <a:pPr/>
              <a:t>04.05.2022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B8C954-5965-4531-896B-DE1AB9F6300A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3925174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>
  <p:cSld name="Tittel, utklipp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utklipp 2"/>
          <p:cNvSpPr>
            <a:spLocks noGrp="1"/>
          </p:cNvSpPr>
          <p:nvPr>
            <p:ph type="clipArt" sz="half" idx="1"/>
          </p:nvPr>
        </p:nvSpPr>
        <p:spPr>
          <a:xfrm>
            <a:off x="609600" y="1600201"/>
            <a:ext cx="5384800" cy="4525963"/>
          </a:xfrm>
        </p:spPr>
        <p:txBody>
          <a:bodyPr rtlCol="0">
            <a:normAutofit/>
          </a:bodyPr>
          <a:lstStyle/>
          <a:p>
            <a:pPr lvl="0"/>
            <a:endParaRPr lang="nb-NO" noProof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A01CC0-3B9E-4F69-BED2-306F4573E50B}" type="slidenum">
              <a:rPr lang="nb-NO"/>
              <a:pPr>
                <a:defRPr/>
              </a:pPr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26524604"/>
      </p:ext>
    </p:extLst>
  </p:cSld>
  <p:clrMapOvr>
    <a:masterClrMapping/>
  </p:clrMapOvr>
  <p:transition/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tel og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iagram 2"/>
          <p:cNvSpPr>
            <a:spLocks noGrp="1"/>
          </p:cNvSpPr>
          <p:nvPr>
            <p:ph type="chart" idx="1"/>
          </p:nvPr>
        </p:nvSpPr>
        <p:spPr>
          <a:xfrm>
            <a:off x="609600" y="1600201"/>
            <a:ext cx="10972800" cy="4525963"/>
          </a:xfrm>
        </p:spPr>
        <p:txBody>
          <a:bodyPr/>
          <a:lstStyle/>
          <a:p>
            <a:pPr lvl="0"/>
            <a:endParaRPr lang="nb-NO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D7F3F43A-AD2C-4FD3-8260-3FB479965BCF}" type="slidenum">
              <a:rPr lang="nb-NO"/>
              <a:pPr>
                <a:defRPr/>
              </a:pPr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87205898"/>
      </p:ext>
    </p:extLst>
  </p:cSld>
  <p:clrMapOvr>
    <a:masterClrMapping/>
  </p:clrMapOvr>
  <p:transition/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bild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e 9">
            <a:extLst>
              <a:ext uri="{FF2B5EF4-FFF2-40B4-BE49-F238E27FC236}">
                <a16:creationId xmlns:a16="http://schemas.microsoft.com/office/drawing/2014/main" id="{797306F1-1223-49D9-ABAF-7BE0E0233F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778" cy="6858000"/>
          </a:xfrm>
          <a:prstGeom prst="rect">
            <a:avLst/>
          </a:prstGeom>
        </p:spPr>
      </p:pic>
      <p:pic>
        <p:nvPicPr>
          <p:cNvPr id="8" name="Picture 1" descr="Forsidebilde med illustrasjoner og logo til Askøy kommune">
            <a:extLst>
              <a:ext uri="{FF2B5EF4-FFF2-40B4-BE49-F238E27FC236}">
                <a16:creationId xmlns:a16="http://schemas.microsoft.com/office/drawing/2014/main" id="{442D378E-C23E-4D3D-A235-A365C30307A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229789" cy="6858000"/>
          </a:xfrm>
          <a:prstGeom prst="rect">
            <a:avLst/>
          </a:prstGeom>
        </p:spPr>
      </p:pic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0D39177C-25AE-4BD7-A810-33E0385C57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983651F3-9B16-40C6-B209-3688FC9C95F6}" type="datetimeFigureOut">
              <a:rPr lang="nb-NO" smtClean="0"/>
              <a:pPr/>
              <a:t>04.05.2022</a:t>
            </a:fld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F8A0C179-0A3A-44E3-A6BA-DAF28B5492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BEACF1A-8D42-4447-99D1-72CA9E30C1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83238753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e 9">
            <a:extLst>
              <a:ext uri="{FF2B5EF4-FFF2-40B4-BE49-F238E27FC236}">
                <a16:creationId xmlns:a16="http://schemas.microsoft.com/office/drawing/2014/main" id="{797306F1-1223-49D9-ABAF-7BE0E0233F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980"/>
            <a:ext cx="12189778" cy="6852039"/>
          </a:xfrm>
          <a:prstGeom prst="rect">
            <a:avLst/>
          </a:prstGeom>
        </p:spPr>
      </p:pic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0D39177C-25AE-4BD7-A810-33E0385C57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983651F3-9B16-40C6-B209-3688FC9C95F6}" type="datetimeFigureOut">
              <a:rPr lang="nb-NO" smtClean="0"/>
              <a:pPr/>
              <a:t>04.05.2022</a:t>
            </a:fld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F8A0C179-0A3A-44E3-A6BA-DAF28B5492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BEACF1A-8D42-4447-99D1-72CA9E30C1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Frihåndsform: figur 8">
            <a:extLst>
              <a:ext uri="{FF2B5EF4-FFF2-40B4-BE49-F238E27FC236}">
                <a16:creationId xmlns:a16="http://schemas.microsoft.com/office/drawing/2014/main" id="{8AAA63C2-8AF8-4936-B2E9-15C34B12D2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505" y="-1"/>
            <a:ext cx="5393093" cy="4619277"/>
          </a:xfrm>
          <a:custGeom>
            <a:avLst/>
            <a:gdLst>
              <a:gd name="connsiteX0" fmla="*/ 2696547 w 5393093"/>
              <a:gd name="connsiteY0" fmla="*/ 0 h 4619277"/>
              <a:gd name="connsiteX1" fmla="*/ 5393093 w 5393093"/>
              <a:gd name="connsiteY1" fmla="*/ 0 h 4619277"/>
              <a:gd name="connsiteX2" fmla="*/ 2696547 w 5393093"/>
              <a:gd name="connsiteY2" fmla="*/ 4618654 h 4619277"/>
              <a:gd name="connsiteX3" fmla="*/ 2696547 w 5393093"/>
              <a:gd name="connsiteY3" fmla="*/ 4619277 h 4619277"/>
              <a:gd name="connsiteX4" fmla="*/ 0 w 5393093"/>
              <a:gd name="connsiteY4" fmla="*/ 4619277 h 4619277"/>
              <a:gd name="connsiteX5" fmla="*/ 0 w 5393093"/>
              <a:gd name="connsiteY5" fmla="*/ 624 h 4619277"/>
              <a:gd name="connsiteX6" fmla="*/ 2696547 w 5393093"/>
              <a:gd name="connsiteY6" fmla="*/ 624 h 4619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93093" h="4619277">
                <a:moveTo>
                  <a:pt x="2696547" y="0"/>
                </a:moveTo>
                <a:lnTo>
                  <a:pt x="5393093" y="0"/>
                </a:lnTo>
                <a:lnTo>
                  <a:pt x="2696547" y="4618654"/>
                </a:lnTo>
                <a:lnTo>
                  <a:pt x="2696547" y="4619277"/>
                </a:lnTo>
                <a:lnTo>
                  <a:pt x="0" y="4619277"/>
                </a:lnTo>
                <a:lnTo>
                  <a:pt x="0" y="624"/>
                </a:lnTo>
                <a:lnTo>
                  <a:pt x="2696547" y="624"/>
                </a:lnTo>
                <a:close/>
              </a:path>
            </a:pathLst>
          </a:custGeom>
          <a:solidFill>
            <a:srgbClr val="FFFFFF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1" name="Bilde 10" descr="Logo til Askøy kommune">
            <a:extLst>
              <a:ext uri="{FF2B5EF4-FFF2-40B4-BE49-F238E27FC236}">
                <a16:creationId xmlns:a16="http://schemas.microsoft.com/office/drawing/2014/main" id="{29F45023-A54A-4697-B1E4-A67CD5DB7AA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024070" y="666750"/>
            <a:ext cx="1945093" cy="3359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4722758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bilde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e 9">
            <a:extLst>
              <a:ext uri="{FF2B5EF4-FFF2-40B4-BE49-F238E27FC236}">
                <a16:creationId xmlns:a16="http://schemas.microsoft.com/office/drawing/2014/main" id="{797306F1-1223-49D9-ABAF-7BE0E0233F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25"/>
            <a:ext cx="12189778" cy="6856750"/>
          </a:xfrm>
          <a:prstGeom prst="rect">
            <a:avLst/>
          </a:prstGeom>
        </p:spPr>
      </p:pic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0D39177C-25AE-4BD7-A810-33E0385C57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983651F3-9B16-40C6-B209-3688FC9C95F6}" type="datetimeFigureOut">
              <a:rPr lang="nb-NO" smtClean="0"/>
              <a:pPr/>
              <a:t>04.05.2022</a:t>
            </a:fld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F8A0C179-0A3A-44E3-A6BA-DAF28B5492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BEACF1A-8D42-4447-99D1-72CA9E30C1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1" name="Frihåndsform: figur 10" descr="Forsidebilde med illustrasjoner og logo til Askøy kommune">
            <a:extLst>
              <a:ext uri="{FF2B5EF4-FFF2-40B4-BE49-F238E27FC236}">
                <a16:creationId xmlns:a16="http://schemas.microsoft.com/office/drawing/2014/main" id="{341D6C95-CD12-424E-BF63-87C3A52BEE2A}"/>
              </a:ext>
            </a:extLst>
          </p:cNvPr>
          <p:cNvSpPr/>
          <p:nvPr userDrawn="1"/>
        </p:nvSpPr>
        <p:spPr>
          <a:xfrm>
            <a:off x="-1505" y="-1"/>
            <a:ext cx="5393093" cy="4619277"/>
          </a:xfrm>
          <a:custGeom>
            <a:avLst/>
            <a:gdLst>
              <a:gd name="connsiteX0" fmla="*/ 2696547 w 5393093"/>
              <a:gd name="connsiteY0" fmla="*/ 0 h 4619277"/>
              <a:gd name="connsiteX1" fmla="*/ 5393093 w 5393093"/>
              <a:gd name="connsiteY1" fmla="*/ 0 h 4619277"/>
              <a:gd name="connsiteX2" fmla="*/ 2696547 w 5393093"/>
              <a:gd name="connsiteY2" fmla="*/ 4618654 h 4619277"/>
              <a:gd name="connsiteX3" fmla="*/ 2696547 w 5393093"/>
              <a:gd name="connsiteY3" fmla="*/ 4619277 h 4619277"/>
              <a:gd name="connsiteX4" fmla="*/ 0 w 5393093"/>
              <a:gd name="connsiteY4" fmla="*/ 4619277 h 4619277"/>
              <a:gd name="connsiteX5" fmla="*/ 0 w 5393093"/>
              <a:gd name="connsiteY5" fmla="*/ 624 h 4619277"/>
              <a:gd name="connsiteX6" fmla="*/ 2696547 w 5393093"/>
              <a:gd name="connsiteY6" fmla="*/ 624 h 4619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93093" h="4619277">
                <a:moveTo>
                  <a:pt x="2696547" y="0"/>
                </a:moveTo>
                <a:lnTo>
                  <a:pt x="5393093" y="0"/>
                </a:lnTo>
                <a:lnTo>
                  <a:pt x="2696547" y="4618654"/>
                </a:lnTo>
                <a:lnTo>
                  <a:pt x="2696547" y="4619277"/>
                </a:lnTo>
                <a:lnTo>
                  <a:pt x="0" y="4619277"/>
                </a:lnTo>
                <a:lnTo>
                  <a:pt x="0" y="624"/>
                </a:lnTo>
                <a:lnTo>
                  <a:pt x="2696547" y="624"/>
                </a:lnTo>
                <a:close/>
              </a:path>
            </a:pathLst>
          </a:custGeom>
          <a:solidFill>
            <a:srgbClr val="FFFFFF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Bilde 11" descr="Logo til Askøy kommune">
            <a:extLst>
              <a:ext uri="{FF2B5EF4-FFF2-40B4-BE49-F238E27FC236}">
                <a16:creationId xmlns:a16="http://schemas.microsoft.com/office/drawing/2014/main" id="{54D34F2E-E61E-445C-823F-1C78DE3244D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024070" y="666750"/>
            <a:ext cx="1945093" cy="3359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9896401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bilde #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e 9">
            <a:extLst>
              <a:ext uri="{FF2B5EF4-FFF2-40B4-BE49-F238E27FC236}">
                <a16:creationId xmlns:a16="http://schemas.microsoft.com/office/drawing/2014/main" id="{797306F1-1223-49D9-ABAF-7BE0E0233F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980"/>
            <a:ext cx="12189778" cy="6852039"/>
          </a:xfrm>
          <a:prstGeom prst="rect">
            <a:avLst/>
          </a:prstGeom>
        </p:spPr>
      </p:pic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0D39177C-25AE-4BD7-A810-33E0385C57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983651F3-9B16-40C6-B209-3688FC9C95F6}" type="datetimeFigureOut">
              <a:rPr lang="nb-NO" smtClean="0"/>
              <a:pPr/>
              <a:t>04.05.2022</a:t>
            </a:fld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F8A0C179-0A3A-44E3-A6BA-DAF28B5492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BEACF1A-8D42-4447-99D1-72CA9E30C1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2" name="Frihåndsform: figur 11" descr="Forsidebilde med illustrasjoner og logo til Askøy kommune">
            <a:extLst>
              <a:ext uri="{FF2B5EF4-FFF2-40B4-BE49-F238E27FC236}">
                <a16:creationId xmlns:a16="http://schemas.microsoft.com/office/drawing/2014/main" id="{58192285-9D93-41EC-96BF-AF52D4FA5693}"/>
              </a:ext>
            </a:extLst>
          </p:cNvPr>
          <p:cNvSpPr/>
          <p:nvPr userDrawn="1"/>
        </p:nvSpPr>
        <p:spPr>
          <a:xfrm>
            <a:off x="-1505" y="-1"/>
            <a:ext cx="5393093" cy="4619277"/>
          </a:xfrm>
          <a:custGeom>
            <a:avLst/>
            <a:gdLst>
              <a:gd name="connsiteX0" fmla="*/ 2696547 w 5393093"/>
              <a:gd name="connsiteY0" fmla="*/ 0 h 4619277"/>
              <a:gd name="connsiteX1" fmla="*/ 5393093 w 5393093"/>
              <a:gd name="connsiteY1" fmla="*/ 0 h 4619277"/>
              <a:gd name="connsiteX2" fmla="*/ 2696547 w 5393093"/>
              <a:gd name="connsiteY2" fmla="*/ 4618654 h 4619277"/>
              <a:gd name="connsiteX3" fmla="*/ 2696547 w 5393093"/>
              <a:gd name="connsiteY3" fmla="*/ 4619277 h 4619277"/>
              <a:gd name="connsiteX4" fmla="*/ 0 w 5393093"/>
              <a:gd name="connsiteY4" fmla="*/ 4619277 h 4619277"/>
              <a:gd name="connsiteX5" fmla="*/ 0 w 5393093"/>
              <a:gd name="connsiteY5" fmla="*/ 624 h 4619277"/>
              <a:gd name="connsiteX6" fmla="*/ 2696547 w 5393093"/>
              <a:gd name="connsiteY6" fmla="*/ 624 h 4619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93093" h="4619277">
                <a:moveTo>
                  <a:pt x="2696547" y="0"/>
                </a:moveTo>
                <a:lnTo>
                  <a:pt x="5393093" y="0"/>
                </a:lnTo>
                <a:lnTo>
                  <a:pt x="2696547" y="4618654"/>
                </a:lnTo>
                <a:lnTo>
                  <a:pt x="2696547" y="4619277"/>
                </a:lnTo>
                <a:lnTo>
                  <a:pt x="0" y="4619277"/>
                </a:lnTo>
                <a:lnTo>
                  <a:pt x="0" y="624"/>
                </a:lnTo>
                <a:lnTo>
                  <a:pt x="2696547" y="624"/>
                </a:lnTo>
                <a:close/>
              </a:path>
            </a:pathLst>
          </a:custGeom>
          <a:solidFill>
            <a:srgbClr val="FFFFFF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3" name="Bilde 12" descr="Logo til Askøy kommune">
            <a:extLst>
              <a:ext uri="{FF2B5EF4-FFF2-40B4-BE49-F238E27FC236}">
                <a16:creationId xmlns:a16="http://schemas.microsoft.com/office/drawing/2014/main" id="{46F8B296-EB88-497C-B7CC-313453D64F4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024070" y="666750"/>
            <a:ext cx="1945093" cy="3359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8265016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bilde #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e 9">
            <a:extLst>
              <a:ext uri="{FF2B5EF4-FFF2-40B4-BE49-F238E27FC236}">
                <a16:creationId xmlns:a16="http://schemas.microsoft.com/office/drawing/2014/main" id="{797306F1-1223-49D9-ABAF-7BE0E0233F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25"/>
            <a:ext cx="12189778" cy="6856750"/>
          </a:xfrm>
          <a:prstGeom prst="rect">
            <a:avLst/>
          </a:prstGeom>
        </p:spPr>
      </p:pic>
      <p:pic>
        <p:nvPicPr>
          <p:cNvPr id="8" name="Picture 1" descr="Forsidebilde med illustrasjoner og logo til Askøy kommune">
            <a:extLst>
              <a:ext uri="{FF2B5EF4-FFF2-40B4-BE49-F238E27FC236}">
                <a16:creationId xmlns:a16="http://schemas.microsoft.com/office/drawing/2014/main" id="{442D378E-C23E-4D3D-A235-A365C30307A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229789" cy="6858000"/>
          </a:xfrm>
          <a:prstGeom prst="rect">
            <a:avLst/>
          </a:prstGeom>
        </p:spPr>
      </p:pic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0D39177C-25AE-4BD7-A810-33E0385C57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983651F3-9B16-40C6-B209-3688FC9C95F6}" type="datetimeFigureOut">
              <a:rPr lang="nb-NO" smtClean="0"/>
              <a:pPr/>
              <a:t>04.05.2022</a:t>
            </a:fld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F8A0C179-0A3A-44E3-A6BA-DAF28B5492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BEACF1A-8D42-4447-99D1-72CA9E30C1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15790973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/m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lassholder for bilde 19" descr="Bildeplassholder">
            <a:extLst>
              <a:ext uri="{FF2B5EF4-FFF2-40B4-BE49-F238E27FC236}">
                <a16:creationId xmlns:a16="http://schemas.microsoft.com/office/drawing/2014/main" id="{883AAD22-9A26-4660-9A22-452DFDB2634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0378" y="0"/>
            <a:ext cx="12181621" cy="6858000"/>
          </a:xfrm>
          <a:custGeom>
            <a:avLst/>
            <a:gdLst>
              <a:gd name="connsiteX0" fmla="*/ 12181621 w 12181621"/>
              <a:gd name="connsiteY0" fmla="*/ 6843139 h 6858000"/>
              <a:gd name="connsiteX1" fmla="*/ 12181621 w 12181621"/>
              <a:gd name="connsiteY1" fmla="*/ 6857998 h 6858000"/>
              <a:gd name="connsiteX2" fmla="*/ 12177379 w 12181621"/>
              <a:gd name="connsiteY2" fmla="*/ 6850569 h 6858000"/>
              <a:gd name="connsiteX3" fmla="*/ 0 w 12181621"/>
              <a:gd name="connsiteY3" fmla="*/ 0 h 6858000"/>
              <a:gd name="connsiteX4" fmla="*/ 12181621 w 12181621"/>
              <a:gd name="connsiteY4" fmla="*/ 0 h 6858000"/>
              <a:gd name="connsiteX5" fmla="*/ 12181621 w 12181621"/>
              <a:gd name="connsiteY5" fmla="*/ 1529334 h 6858000"/>
              <a:gd name="connsiteX6" fmla="*/ 9130756 w 12181621"/>
              <a:gd name="connsiteY6" fmla="*/ 1529334 h 6858000"/>
              <a:gd name="connsiteX7" fmla="*/ 9134999 w 12181621"/>
              <a:gd name="connsiteY7" fmla="*/ 1536766 h 6858000"/>
              <a:gd name="connsiteX8" fmla="*/ 6096862 w 12181621"/>
              <a:gd name="connsiteY8" fmla="*/ 6858000 h 6858000"/>
              <a:gd name="connsiteX9" fmla="*/ 0 w 12181621"/>
              <a:gd name="connsiteY9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81621" h="6858000">
                <a:moveTo>
                  <a:pt x="12181621" y="6843139"/>
                </a:moveTo>
                <a:lnTo>
                  <a:pt x="12181621" y="6857998"/>
                </a:lnTo>
                <a:lnTo>
                  <a:pt x="12177379" y="6850569"/>
                </a:lnTo>
                <a:close/>
                <a:moveTo>
                  <a:pt x="0" y="0"/>
                </a:moveTo>
                <a:lnTo>
                  <a:pt x="12181621" y="0"/>
                </a:lnTo>
                <a:lnTo>
                  <a:pt x="12181621" y="1529334"/>
                </a:lnTo>
                <a:lnTo>
                  <a:pt x="9130756" y="1529334"/>
                </a:lnTo>
                <a:lnTo>
                  <a:pt x="9134999" y="1536766"/>
                </a:lnTo>
                <a:lnTo>
                  <a:pt x="609686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828103">
            <a:noAutofit/>
          </a:bodyPr>
          <a:lstStyle>
            <a:lvl1pPr marL="180023" indent="-180023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8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828104" y="3575785"/>
            <a:ext cx="5369496" cy="1384995"/>
          </a:xfrm>
        </p:spPr>
        <p:txBody>
          <a:bodyPr anchor="b">
            <a:normAutofit/>
          </a:bodyPr>
          <a:lstStyle>
            <a:lvl1pPr algn="l">
              <a:lnSpc>
                <a:spcPct val="90000"/>
              </a:lnSpc>
              <a:defRPr sz="5000" b="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828104" y="5265599"/>
            <a:ext cx="5369496" cy="73866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9" name="Likebent trekant 8" descr="2 trekanter satt sammen til en illustrasjon">
            <a:extLst>
              <a:ext uri="{FF2B5EF4-FFF2-40B4-BE49-F238E27FC236}">
                <a16:creationId xmlns:a16="http://schemas.microsoft.com/office/drawing/2014/main" id="{F3D21257-B6E1-4E35-A1E1-5AA08906B9F0}"/>
              </a:ext>
            </a:extLst>
          </p:cNvPr>
          <p:cNvSpPr/>
          <p:nvPr userDrawn="1"/>
        </p:nvSpPr>
        <p:spPr>
          <a:xfrm>
            <a:off x="6107240" y="1529334"/>
            <a:ext cx="6084760" cy="5328666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6" name="Frihåndsform: figur 15" descr="2 trekanter satt sammen til en illustrasjon">
            <a:extLst>
              <a:ext uri="{FF2B5EF4-FFF2-40B4-BE49-F238E27FC236}">
                <a16:creationId xmlns:a16="http://schemas.microsoft.com/office/drawing/2014/main" id="{23141CD7-ABDA-4F37-A08E-F3AA8BE5D3E5}"/>
              </a:ext>
            </a:extLst>
          </p:cNvPr>
          <p:cNvSpPr/>
          <p:nvPr userDrawn="1"/>
        </p:nvSpPr>
        <p:spPr>
          <a:xfrm rot="10800000">
            <a:off x="9141134" y="1529334"/>
            <a:ext cx="3050866" cy="5328666"/>
          </a:xfrm>
          <a:custGeom>
            <a:avLst/>
            <a:gdLst>
              <a:gd name="connsiteX0" fmla="*/ 3050866 w 3050866"/>
              <a:gd name="connsiteY0" fmla="*/ 5328666 h 5328666"/>
              <a:gd name="connsiteX1" fmla="*/ 0 w 3050866"/>
              <a:gd name="connsiteY1" fmla="*/ 5328666 h 5328666"/>
              <a:gd name="connsiteX2" fmla="*/ 0 w 3050866"/>
              <a:gd name="connsiteY2" fmla="*/ 14863 h 5328666"/>
              <a:gd name="connsiteX3" fmla="*/ 8486 w 3050866"/>
              <a:gd name="connsiteY3" fmla="*/ 0 h 5328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0866" h="5328666">
                <a:moveTo>
                  <a:pt x="3050866" y="5328666"/>
                </a:moveTo>
                <a:lnTo>
                  <a:pt x="0" y="5328666"/>
                </a:lnTo>
                <a:lnTo>
                  <a:pt x="0" y="14863"/>
                </a:lnTo>
                <a:lnTo>
                  <a:pt x="848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b-NO"/>
          </a:p>
        </p:txBody>
      </p:sp>
      <p:pic>
        <p:nvPicPr>
          <p:cNvPr id="22" name="Bilde 21" descr="Logo til Askøy kommune">
            <a:extLst>
              <a:ext uri="{FF2B5EF4-FFF2-40B4-BE49-F238E27FC236}">
                <a16:creationId xmlns:a16="http://schemas.microsoft.com/office/drawing/2014/main" id="{90447A3E-B375-4124-A1A7-002E0F9D50C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690272" y="5044038"/>
            <a:ext cx="2901724" cy="1269278"/>
          </a:xfrm>
          <a:prstGeom prst="rect">
            <a:avLst/>
          </a:prstGeom>
        </p:spPr>
      </p:pic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651F3-9B16-40C6-B209-3688FC9C95F6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97846524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2327910" y="2631316"/>
            <a:ext cx="8336980" cy="1384995"/>
          </a:xfrm>
        </p:spPr>
        <p:txBody>
          <a:bodyPr anchor="b">
            <a:normAutofit/>
          </a:bodyPr>
          <a:lstStyle>
            <a:lvl1pPr algn="l">
              <a:lnSpc>
                <a:spcPct val="90000"/>
              </a:lnSpc>
              <a:defRPr sz="5000" b="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2327910" y="4301426"/>
            <a:ext cx="8336980" cy="73866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651F3-9B16-40C6-B209-3688FC9C95F6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pic>
        <p:nvPicPr>
          <p:cNvPr id="11" name="Bilde 10" descr="Logo til Askøy kommune">
            <a:extLst>
              <a:ext uri="{FF2B5EF4-FFF2-40B4-BE49-F238E27FC236}">
                <a16:creationId xmlns:a16="http://schemas.microsoft.com/office/drawing/2014/main" id="{37BC4346-4572-4659-B03B-3BC8C49B0A6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4070" y="666750"/>
            <a:ext cx="1945093" cy="3359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30069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1DD14D-407C-D242-9763-67B11C4B4C46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576918-C8B9-C946-A073-74F3E53AEF0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19568358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651F3-9B16-40C6-B209-3688FC9C95F6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48221657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,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651F3-9B16-40C6-B209-3688FC9C95F6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2" name="Plassholder for bilde 1" descr="Bildeplassholder">
            <a:extLst>
              <a:ext uri="{FF2B5EF4-FFF2-40B4-BE49-F238E27FC236}">
                <a16:creationId xmlns:a16="http://schemas.microsoft.com/office/drawing/2014/main" id="{A432EBDB-0508-4B44-8C6C-BFCC4F44B8F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8104" y="540068"/>
            <a:ext cx="5040630" cy="5292661"/>
          </a:xfrm>
          <a:prstGeom prst="rect">
            <a:avLst/>
          </a:prstGeom>
        </p:spPr>
        <p:txBody>
          <a:bodyPr tIns="828103"/>
          <a:lstStyle>
            <a:lvl1pPr marL="180023" indent="-180023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8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9" name="Plassholder for tekst 8">
            <a:extLst>
              <a:ext uri="{FF2B5EF4-FFF2-40B4-BE49-F238E27FC236}">
                <a16:creationId xmlns:a16="http://schemas.microsoft.com/office/drawing/2014/main" id="{351F2783-AF96-4D3C-BCEC-FEA98BC18E9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0787" y="2052259"/>
            <a:ext cx="5040630" cy="3780473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Tittel 10">
            <a:extLst>
              <a:ext uri="{FF2B5EF4-FFF2-40B4-BE49-F238E27FC236}">
                <a16:creationId xmlns:a16="http://schemas.microsoft.com/office/drawing/2014/main" id="{28DB6020-2A9E-47F8-80D5-2B4FB97FA5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787" y="540068"/>
            <a:ext cx="5040630" cy="1137235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678824970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651F3-9B16-40C6-B209-3688FC9C95F6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2" name="Plassholder for bilde 1" descr="Bildeplassholder">
            <a:extLst>
              <a:ext uri="{FF2B5EF4-FFF2-40B4-BE49-F238E27FC236}">
                <a16:creationId xmlns:a16="http://schemas.microsoft.com/office/drawing/2014/main" id="{A432EBDB-0508-4B44-8C6C-BFCC4F44B8F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00788" y="540068"/>
            <a:ext cx="5040630" cy="5292661"/>
          </a:xfrm>
          <a:prstGeom prst="rect">
            <a:avLst/>
          </a:prstGeom>
        </p:spPr>
        <p:txBody>
          <a:bodyPr tIns="828103"/>
          <a:lstStyle>
            <a:lvl1pPr marL="180023" indent="-180023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8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9" name="Plassholder for tekst 8">
            <a:extLst>
              <a:ext uri="{FF2B5EF4-FFF2-40B4-BE49-F238E27FC236}">
                <a16:creationId xmlns:a16="http://schemas.microsoft.com/office/drawing/2014/main" id="{351F2783-AF96-4D3C-BCEC-FEA98BC18E9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28104" y="2052259"/>
            <a:ext cx="5040630" cy="3780473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E30DC7D7-0315-44F6-9476-DCF2135DB3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105" y="540068"/>
            <a:ext cx="5040630" cy="1137235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4079409411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Kapittelsid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 descr="Farget bakgrunnsfigur">
            <a:extLst>
              <a:ext uri="{FF2B5EF4-FFF2-40B4-BE49-F238E27FC236}">
                <a16:creationId xmlns:a16="http://schemas.microsoft.com/office/drawing/2014/main" id="{B191427C-8C60-4FEE-9843-159C8EC8E041}"/>
              </a:ext>
            </a:extLst>
          </p:cNvPr>
          <p:cNvSpPr/>
          <p:nvPr userDrawn="1"/>
        </p:nvSpPr>
        <p:spPr>
          <a:xfrm>
            <a:off x="0" y="0"/>
            <a:ext cx="12194724" cy="6858000"/>
          </a:xfrm>
          <a:prstGeom prst="rect">
            <a:avLst/>
          </a:prstGeom>
          <a:solidFill>
            <a:srgbClr val="007B6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" name="Likebent trekant 7" descr="Figurer satt sammen til en illustrasjon">
            <a:extLst>
              <a:ext uri="{FF2B5EF4-FFF2-40B4-BE49-F238E27FC236}">
                <a16:creationId xmlns:a16="http://schemas.microsoft.com/office/drawing/2014/main" id="{F9D7767C-4695-4D94-B087-8B3BB21E9116}"/>
              </a:ext>
            </a:extLst>
          </p:cNvPr>
          <p:cNvSpPr/>
          <p:nvPr userDrawn="1"/>
        </p:nvSpPr>
        <p:spPr>
          <a:xfrm>
            <a:off x="1333579" y="2285857"/>
            <a:ext cx="2664333" cy="2286286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7" name="Frihåndsform: figur 16" descr="Figurer satt sammen til en illustrasjon">
            <a:extLst>
              <a:ext uri="{FF2B5EF4-FFF2-40B4-BE49-F238E27FC236}">
                <a16:creationId xmlns:a16="http://schemas.microsoft.com/office/drawing/2014/main" id="{2BBC48BD-A194-4428-889D-D8BA05FC25D5}"/>
              </a:ext>
            </a:extLst>
          </p:cNvPr>
          <p:cNvSpPr/>
          <p:nvPr userDrawn="1"/>
        </p:nvSpPr>
        <p:spPr>
          <a:xfrm>
            <a:off x="0" y="2285857"/>
            <a:ext cx="1350169" cy="2286286"/>
          </a:xfrm>
          <a:custGeom>
            <a:avLst/>
            <a:gdLst>
              <a:gd name="connsiteX0" fmla="*/ 18003 w 1350169"/>
              <a:gd name="connsiteY0" fmla="*/ 0 h 2286286"/>
              <a:gd name="connsiteX1" fmla="*/ 1350169 w 1350169"/>
              <a:gd name="connsiteY1" fmla="*/ 2286286 h 2286286"/>
              <a:gd name="connsiteX2" fmla="*/ 0 w 1350169"/>
              <a:gd name="connsiteY2" fmla="*/ 2286286 h 2286286"/>
              <a:gd name="connsiteX3" fmla="*/ 0 w 1350169"/>
              <a:gd name="connsiteY3" fmla="*/ 30897 h 2286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50169" h="2286286">
                <a:moveTo>
                  <a:pt x="18003" y="0"/>
                </a:moveTo>
                <a:lnTo>
                  <a:pt x="1350169" y="2286286"/>
                </a:lnTo>
                <a:lnTo>
                  <a:pt x="0" y="2286286"/>
                </a:lnTo>
                <a:lnTo>
                  <a:pt x="0" y="30897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0" name="Likebent trekant 9" descr="Figurer satt sammen til en illustrasjon">
            <a:extLst>
              <a:ext uri="{FF2B5EF4-FFF2-40B4-BE49-F238E27FC236}">
                <a16:creationId xmlns:a16="http://schemas.microsoft.com/office/drawing/2014/main" id="{67CA809B-1A95-4EC6-9040-2DD4CE48F751}"/>
              </a:ext>
            </a:extLst>
          </p:cNvPr>
          <p:cNvSpPr/>
          <p:nvPr userDrawn="1"/>
        </p:nvSpPr>
        <p:spPr>
          <a:xfrm rot="10800000">
            <a:off x="0" y="2286286"/>
            <a:ext cx="2664333" cy="2286286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8" name="Frihåndsform: figur 17">
            <a:extLst>
              <a:ext uri="{FF2B5EF4-FFF2-40B4-BE49-F238E27FC236}">
                <a16:creationId xmlns:a16="http://schemas.microsoft.com/office/drawing/2014/main" id="{4403192B-1398-4262-BB38-87D8EA8E292D}"/>
              </a:ext>
            </a:extLst>
          </p:cNvPr>
          <p:cNvSpPr/>
          <p:nvPr userDrawn="1"/>
        </p:nvSpPr>
        <p:spPr>
          <a:xfrm rot="10800000">
            <a:off x="0" y="4571714"/>
            <a:ext cx="1350169" cy="2286286"/>
          </a:xfrm>
          <a:custGeom>
            <a:avLst/>
            <a:gdLst>
              <a:gd name="connsiteX0" fmla="*/ 1350169 w 1350169"/>
              <a:gd name="connsiteY0" fmla="*/ 2286286 h 2286286"/>
              <a:gd name="connsiteX1" fmla="*/ 0 w 1350169"/>
              <a:gd name="connsiteY1" fmla="*/ 2286286 h 2286286"/>
              <a:gd name="connsiteX2" fmla="*/ 1332167 w 1350169"/>
              <a:gd name="connsiteY2" fmla="*/ 0 h 2286286"/>
              <a:gd name="connsiteX3" fmla="*/ 1350169 w 1350169"/>
              <a:gd name="connsiteY3" fmla="*/ 30896 h 2286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50169" h="2286286">
                <a:moveTo>
                  <a:pt x="1350169" y="2286286"/>
                </a:moveTo>
                <a:lnTo>
                  <a:pt x="0" y="2286286"/>
                </a:lnTo>
                <a:lnTo>
                  <a:pt x="1332167" y="0"/>
                </a:lnTo>
                <a:lnTo>
                  <a:pt x="1350169" y="3089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3" name="Likebent trekant 12" descr="Figurer satt sammen til en illustrasjon">
            <a:extLst>
              <a:ext uri="{FF2B5EF4-FFF2-40B4-BE49-F238E27FC236}">
                <a16:creationId xmlns:a16="http://schemas.microsoft.com/office/drawing/2014/main" id="{75EAE5B5-D5E7-4B9A-B254-30B384253203}"/>
              </a:ext>
            </a:extLst>
          </p:cNvPr>
          <p:cNvSpPr/>
          <p:nvPr userDrawn="1"/>
        </p:nvSpPr>
        <p:spPr>
          <a:xfrm rot="10800000">
            <a:off x="1332166" y="4571714"/>
            <a:ext cx="2664333" cy="2286286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647742" y="3087315"/>
            <a:ext cx="8693675" cy="1384995"/>
          </a:xfrm>
        </p:spPr>
        <p:txBody>
          <a:bodyPr anchor="b">
            <a:normAutofit/>
          </a:bodyPr>
          <a:lstStyle>
            <a:lvl1pPr>
              <a:defRPr sz="5000" b="0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2647742" y="4682178"/>
            <a:ext cx="8693676" cy="738664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2400" b="0">
                <a:solidFill>
                  <a:schemeClr val="l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Likebent trekant 6" descr="Figurer satt sammen til en illustrasjon">
            <a:extLst>
              <a:ext uri="{FF2B5EF4-FFF2-40B4-BE49-F238E27FC236}">
                <a16:creationId xmlns:a16="http://schemas.microsoft.com/office/drawing/2014/main" id="{3DC5A469-46D7-4945-B466-C6D0BD1F82B3}"/>
              </a:ext>
            </a:extLst>
          </p:cNvPr>
          <p:cNvSpPr/>
          <p:nvPr userDrawn="1"/>
        </p:nvSpPr>
        <p:spPr>
          <a:xfrm>
            <a:off x="2664334" y="0"/>
            <a:ext cx="2664333" cy="2286286"/>
          </a:xfrm>
          <a:prstGeom prst="triangl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1" name="Likebent trekant 10" descr="Figurer satt sammen til en illustrasjon">
            <a:extLst>
              <a:ext uri="{FF2B5EF4-FFF2-40B4-BE49-F238E27FC236}">
                <a16:creationId xmlns:a16="http://schemas.microsoft.com/office/drawing/2014/main" id="{3635F545-BAA9-4EEF-99AE-616EB8F62A40}"/>
              </a:ext>
            </a:extLst>
          </p:cNvPr>
          <p:cNvSpPr/>
          <p:nvPr userDrawn="1"/>
        </p:nvSpPr>
        <p:spPr>
          <a:xfrm>
            <a:off x="0" y="4571714"/>
            <a:ext cx="2667933" cy="2286286"/>
          </a:xfrm>
          <a:prstGeom prst="triangl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983651F3-9B16-40C6-B209-3688FC9C95F6}" type="datetimeFigureOut">
              <a:rPr lang="nb-NO" smtClean="0"/>
              <a:pPr/>
              <a:t>04.05.2022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5" name="Bilde 14" descr="Logo til Askøy kommune">
            <a:extLst>
              <a:ext uri="{FF2B5EF4-FFF2-40B4-BE49-F238E27FC236}">
                <a16:creationId xmlns:a16="http://schemas.microsoft.com/office/drawing/2014/main" id="{580613CE-B41B-4A82-BFEE-158610B8EFD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20090" y="720090"/>
            <a:ext cx="1927652" cy="843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7059213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28104" y="3087315"/>
            <a:ext cx="8693675" cy="1384995"/>
          </a:xfrm>
        </p:spPr>
        <p:txBody>
          <a:bodyPr anchor="b">
            <a:normAutofit/>
          </a:bodyPr>
          <a:lstStyle>
            <a:lvl1pPr>
              <a:defRPr sz="5000" b="0">
                <a:solidFill>
                  <a:schemeClr val="dk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828104" y="4682178"/>
            <a:ext cx="8693676" cy="738664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2400" b="0">
                <a:solidFill>
                  <a:schemeClr val="dk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fld id="{983651F3-9B16-40C6-B209-3688FC9C95F6}" type="datetimeFigureOut">
              <a:rPr lang="nb-NO" smtClean="0"/>
              <a:pPr/>
              <a:t>04.05.2022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22" name="Bilde 21" descr="Logo til Askøy kommune">
            <a:extLst>
              <a:ext uri="{FF2B5EF4-FFF2-40B4-BE49-F238E27FC236}">
                <a16:creationId xmlns:a16="http://schemas.microsoft.com/office/drawing/2014/main" id="{C57F5287-9D9F-41FF-A847-132514A1419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20090" y="720089"/>
            <a:ext cx="1924680" cy="84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1043378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828104" y="2052258"/>
            <a:ext cx="5040630" cy="3780473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300788" y="2052258"/>
            <a:ext cx="5040630" cy="3780473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651F3-9B16-40C6-B209-3688FC9C95F6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816F5EAB-B4FD-4588-BB3E-BEA27BA056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795962758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839788" y="2052257"/>
            <a:ext cx="5040630" cy="369332"/>
          </a:xfrm>
        </p:spPr>
        <p:txBody>
          <a:bodyPr anchor="t">
            <a:normAutofit/>
          </a:bodyPr>
          <a:lstStyle>
            <a:lvl1pPr marL="0" indent="0"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839788" y="2520315"/>
            <a:ext cx="5040630" cy="3312414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6311584" y="2052257"/>
            <a:ext cx="5040630" cy="369332"/>
          </a:xfrm>
        </p:spPr>
        <p:txBody>
          <a:bodyPr anchor="b">
            <a:normAutofit/>
          </a:bodyPr>
          <a:lstStyle>
            <a:lvl1pPr marL="0" indent="0">
              <a:buNone/>
              <a:defRPr sz="2400" b="1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6311584" y="2520315"/>
            <a:ext cx="5040630" cy="3312414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651F3-9B16-40C6-B209-3688FC9C95F6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133923D2-69E1-49E5-AC18-335798A401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574973486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651F3-9B16-40C6-B209-3688FC9C95F6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9418073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651F3-9B16-40C6-B209-3688FC9C95F6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30630687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5E6538D-7309-48C5-8F2D-C3D189B29C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9874066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5E6538D-7309-48C5-8F2D-C3D189B29C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3F1CBA5-61D5-47D7-A71C-36A1FDE99F5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nb-NO" sz="2999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7856" y="795662"/>
            <a:ext cx="4927845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799" noProof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100" y="1954221"/>
            <a:ext cx="4326679" cy="979702"/>
          </a:xfr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nb-NO"/>
              <a:t>Click to edit Master title sty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100" y="3046159"/>
            <a:ext cx="4326679" cy="1046323"/>
          </a:xfr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Click to edit Master subtitle sty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2490" y="5709060"/>
            <a:ext cx="8117873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744" y="5605201"/>
            <a:ext cx="1044529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nb-NO" sz="1199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2490" y="6019189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Name Surname</a:t>
            </a:r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2490" y="6216807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Job Title</a:t>
            </a:r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743" y="5914642"/>
            <a:ext cx="5757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/>
            </a:p>
          </p:txBody>
        </p:sp>
      </p:grpSp>
    </p:spTree>
    <p:extLst>
      <p:ext uri="{BB962C8B-B14F-4D97-AF65-F5344CB8AC3E}">
        <p14:creationId xmlns:p14="http://schemas.microsoft.com/office/powerpoint/2010/main" val="41600883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1DD14D-407C-D242-9763-67B11C4B4C46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576918-C8B9-C946-A073-74F3E53AEF0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87673026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29720C4-F356-424B-91D2-E0BB5F2928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4990715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29720C4-F356-424B-91D2-E0BB5F2928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FF46D89-72E3-4149-8798-7C34E7DBF7E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nb-NO" sz="2999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7856" y="5826613"/>
            <a:ext cx="3876004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388" y="2158329"/>
            <a:ext cx="3998354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nb-NO" noProof="0"/>
              <a:t>Click to edit Master title style</a:t>
            </a:r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4580" y="3200329"/>
            <a:ext cx="4018535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Click to edit Master subtitle style</a:t>
            </a:r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 userDrawn="1"/>
        </p:nvGrpSpPr>
        <p:grpSpPr>
          <a:xfrm>
            <a:off x="489112" y="876059"/>
            <a:ext cx="4852768" cy="3374475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1799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1799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1799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1799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/>
            </a:p>
          </p:txBody>
        </p:sp>
      </p:grpSp>
    </p:spTree>
    <p:extLst>
      <p:ext uri="{BB962C8B-B14F-4D97-AF65-F5344CB8AC3E}">
        <p14:creationId xmlns:p14="http://schemas.microsoft.com/office/powerpoint/2010/main" val="40210065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273DB69-7D99-4643-ACD3-8717AC1B2B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5675308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273DB69-7D99-4643-ACD3-8717AC1B2B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C41F949-68D6-47FE-8316-E72C5BF917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nb-NO" sz="2399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nb-NO" noProof="0"/>
              <a:t>Click to edit Master title style</a:t>
            </a:r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accent3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sz="1799" noProof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Side </a:t>
            </a:r>
            <a:fld id="{F1BC30E3-FFE5-4B91-AA19-87A149EBB9EE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06573310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F3A31A3-7E63-42AE-9531-68DDB1157DA5}"/>
              </a:ext>
            </a:extLst>
          </p:cNvPr>
          <p:cNvSpPr/>
          <p:nvPr userDrawn="1"/>
        </p:nvSpPr>
        <p:spPr>
          <a:xfrm>
            <a:off x="0" y="0"/>
            <a:ext cx="5874040" cy="6858000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>
              <a:solidFill>
                <a:schemeClr val="tx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273DB69-7D99-4643-ACD3-8717AC1B2B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2228728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273DB69-7D99-4643-ACD3-8717AC1B2B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C41F949-68D6-47FE-8316-E72C5BF917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nb-NO" sz="2399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85887"/>
            <a:ext cx="4475139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nb-NO" noProof="0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98665" y="1137920"/>
            <a:ext cx="5583736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Side </a:t>
            </a:r>
            <a:fld id="{F1BC30E3-FFE5-4B91-AA19-87A149EBB9EE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4010038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F3A31A3-7E63-42AE-9531-68DDB1157DA5}"/>
              </a:ext>
            </a:extLst>
          </p:cNvPr>
          <p:cNvSpPr/>
          <p:nvPr userDrawn="1"/>
        </p:nvSpPr>
        <p:spPr>
          <a:xfrm>
            <a:off x="0" y="0"/>
            <a:ext cx="5874040" cy="6858000"/>
          </a:xfrm>
          <a:prstGeom prst="rect">
            <a:avLst/>
          </a:prstGeom>
          <a:solidFill>
            <a:schemeClr val="tx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>
              <a:solidFill>
                <a:schemeClr val="tx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273DB69-7D99-4643-ACD3-8717AC1B2B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7826349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273DB69-7D99-4643-ACD3-8717AC1B2B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C41F949-68D6-47FE-8316-E72C5BF917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nb-NO" sz="2399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85887"/>
            <a:ext cx="4475139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nb-NO" noProof="0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98665" y="1137920"/>
            <a:ext cx="5583736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Side </a:t>
            </a:r>
            <a:fld id="{F1BC30E3-FFE5-4B91-AA19-87A149EBB9EE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39113363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">
            <a:extLst>
              <a:ext uri="{FF2B5EF4-FFF2-40B4-BE49-F238E27FC236}">
                <a16:creationId xmlns:a16="http://schemas.microsoft.com/office/drawing/2014/main" id="{E5DB2DA5-91A6-4816-9881-A8CE9E1045A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1250" y="6356350"/>
            <a:ext cx="303055" cy="311150"/>
            <a:chOff x="7110" y="4004"/>
            <a:chExt cx="191" cy="196"/>
          </a:xfrm>
        </p:grpSpPr>
        <p:sp>
          <p:nvSpPr>
            <p:cNvPr id="3" name="Freeform 5">
              <a:extLst>
                <a:ext uri="{FF2B5EF4-FFF2-40B4-BE49-F238E27FC236}">
                  <a16:creationId xmlns:a16="http://schemas.microsoft.com/office/drawing/2014/main" id="{716658EC-C39F-4928-9266-78429285A1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/>
            </a:p>
          </p:txBody>
        </p:sp>
        <p:sp>
          <p:nvSpPr>
            <p:cNvPr id="4" name="Freeform 6">
              <a:extLst>
                <a:ext uri="{FF2B5EF4-FFF2-40B4-BE49-F238E27FC236}">
                  <a16:creationId xmlns:a16="http://schemas.microsoft.com/office/drawing/2014/main" id="{8D949B96-8B90-43F8-B92A-17A7483C35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/>
            </a:p>
          </p:txBody>
        </p:sp>
        <p:sp>
          <p:nvSpPr>
            <p:cNvPr id="5" name="Freeform 7">
              <a:extLst>
                <a:ext uri="{FF2B5EF4-FFF2-40B4-BE49-F238E27FC236}">
                  <a16:creationId xmlns:a16="http://schemas.microsoft.com/office/drawing/2014/main" id="{5600A429-A837-4C7A-9BAB-C0526B0C25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/>
            </a:p>
          </p:txBody>
        </p:sp>
      </p:grp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301F39-8893-4186-9055-82E2A4CC2C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6900" y="6471244"/>
            <a:ext cx="662721" cy="180000"/>
          </a:xfrm>
          <a:prstGeom prst="rect">
            <a:avLst/>
          </a:prstGeom>
        </p:spPr>
        <p:txBody>
          <a:bodyPr/>
          <a:lstStyle>
            <a:lvl1pPr marL="0" algn="l" defTabSz="913943" rtl="0" eaLnBrk="1" latinLnBrk="0" hangingPunct="1">
              <a:defRPr lang="en-GB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nb-NO"/>
              <a:t>Side </a:t>
            </a:r>
            <a:fld id="{F1BC30E3-FFE5-4B91-AA19-87A149EBB9EE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38744170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DF912F4-A8CC-47BC-9514-290EFCA5B768}"/>
              </a:ext>
            </a:extLst>
          </p:cNvPr>
          <p:cNvSpPr/>
          <p:nvPr userDrawn="1"/>
        </p:nvSpPr>
        <p:spPr>
          <a:xfrm>
            <a:off x="0" y="352668"/>
            <a:ext cx="9524086" cy="744312"/>
          </a:xfrm>
          <a:prstGeom prst="rect">
            <a:avLst/>
          </a:prstGeom>
          <a:solidFill>
            <a:srgbClr val="0C467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30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97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0D637BE-1CBC-4F35-9805-E10DE7899621}"/>
              </a:ext>
            </a:extLst>
          </p:cNvPr>
          <p:cNvSpPr txBox="1"/>
          <p:nvPr userDrawn="1"/>
        </p:nvSpPr>
        <p:spPr>
          <a:xfrm>
            <a:off x="351692" y="467938"/>
            <a:ext cx="2657381" cy="62721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3029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27ACAA"/>
              </a:buClr>
              <a:buSzPct val="70000"/>
              <a:buFontTx/>
              <a:buNone/>
              <a:tabLst/>
              <a:defRPr/>
            </a:pPr>
            <a:r>
              <a:rPr kumimoji="0" lang="nb-NO" sz="4794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Innhold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D6D8592-A4DD-4B75-9686-6AEDCF5CEF81}"/>
              </a:ext>
            </a:extLst>
          </p:cNvPr>
          <p:cNvGrpSpPr/>
          <p:nvPr userDrawn="1"/>
        </p:nvGrpSpPr>
        <p:grpSpPr>
          <a:xfrm>
            <a:off x="9524088" y="352668"/>
            <a:ext cx="2661569" cy="744312"/>
            <a:chOff x="9532620" y="112048"/>
            <a:chExt cx="2665730" cy="745088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D2ADA928-AA3C-427A-A9FC-EE44853B5882}"/>
                </a:ext>
              </a:extLst>
            </p:cNvPr>
            <p:cNvSpPr/>
            <p:nvPr/>
          </p:nvSpPr>
          <p:spPr>
            <a:xfrm>
              <a:off x="9532620" y="112048"/>
              <a:ext cx="2665730" cy="745088"/>
            </a:xfrm>
            <a:prstGeom prst="rect">
              <a:avLst/>
            </a:prstGeom>
            <a:solidFill>
              <a:srgbClr val="F2F2F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ctr" defTabSz="91302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7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grpSp>
          <p:nvGrpSpPr>
            <p:cNvPr id="6" name="Group 4">
              <a:extLst>
                <a:ext uri="{FF2B5EF4-FFF2-40B4-BE49-F238E27FC236}">
                  <a16:creationId xmlns:a16="http://schemas.microsoft.com/office/drawing/2014/main" id="{6C3CD795-40FC-4D50-AFE8-23252E933072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1302119" y="141719"/>
              <a:ext cx="585615" cy="685745"/>
              <a:chOff x="6529" y="3125"/>
              <a:chExt cx="772" cy="904"/>
            </a:xfrm>
          </p:grpSpPr>
          <p:sp>
            <p:nvSpPr>
              <p:cNvPr id="8" name="Freeform 5">
                <a:extLst>
                  <a:ext uri="{FF2B5EF4-FFF2-40B4-BE49-F238E27FC236}">
                    <a16:creationId xmlns:a16="http://schemas.microsoft.com/office/drawing/2014/main" id="{92D5A6CB-3EB5-4EF7-829F-41C908D22DC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29" y="3125"/>
                <a:ext cx="619" cy="226"/>
              </a:xfrm>
              <a:custGeom>
                <a:avLst/>
                <a:gdLst>
                  <a:gd name="T0" fmla="*/ 2473 w 2473"/>
                  <a:gd name="T1" fmla="*/ 0 h 902"/>
                  <a:gd name="T2" fmla="*/ 0 w 2473"/>
                  <a:gd name="T3" fmla="*/ 902 h 902"/>
                  <a:gd name="T4" fmla="*/ 2473 w 2473"/>
                  <a:gd name="T5" fmla="*/ 466 h 902"/>
                  <a:gd name="T6" fmla="*/ 2473 w 2473"/>
                  <a:gd name="T7" fmla="*/ 0 h 9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73" h="902">
                    <a:moveTo>
                      <a:pt x="2473" y="0"/>
                    </a:moveTo>
                    <a:lnTo>
                      <a:pt x="0" y="902"/>
                    </a:lnTo>
                    <a:lnTo>
                      <a:pt x="2473" y="466"/>
                    </a:lnTo>
                    <a:lnTo>
                      <a:pt x="2473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44" tIns="45672" rIns="91344" bIns="4567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02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97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endParaRPr>
              </a:p>
            </p:txBody>
          </p:sp>
          <p:sp>
            <p:nvSpPr>
              <p:cNvPr id="9" name="Freeform 6">
                <a:extLst>
                  <a:ext uri="{FF2B5EF4-FFF2-40B4-BE49-F238E27FC236}">
                    <a16:creationId xmlns:a16="http://schemas.microsoft.com/office/drawing/2014/main" id="{700B2B41-C3FF-43C3-8CE8-B09C5180C76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529" y="3444"/>
                <a:ext cx="772" cy="585"/>
              </a:xfrm>
              <a:custGeom>
                <a:avLst/>
                <a:gdLst>
                  <a:gd name="T0" fmla="*/ 233 w 3088"/>
                  <a:gd name="T1" fmla="*/ 1588 h 2339"/>
                  <a:gd name="T2" fmla="*/ 253 w 3088"/>
                  <a:gd name="T3" fmla="*/ 1795 h 2339"/>
                  <a:gd name="T4" fmla="*/ 151 w 3088"/>
                  <a:gd name="T5" fmla="*/ 1810 h 2339"/>
                  <a:gd name="T6" fmla="*/ 351 w 3088"/>
                  <a:gd name="T7" fmla="*/ 1761 h 2339"/>
                  <a:gd name="T8" fmla="*/ 416 w 3088"/>
                  <a:gd name="T9" fmla="*/ 1857 h 2339"/>
                  <a:gd name="T10" fmla="*/ 1140 w 3088"/>
                  <a:gd name="T11" fmla="*/ 1652 h 2339"/>
                  <a:gd name="T12" fmla="*/ 1216 w 3088"/>
                  <a:gd name="T13" fmla="*/ 1738 h 2339"/>
                  <a:gd name="T14" fmla="*/ 696 w 3088"/>
                  <a:gd name="T15" fmla="*/ 1546 h 2339"/>
                  <a:gd name="T16" fmla="*/ 738 w 3088"/>
                  <a:gd name="T17" fmla="*/ 1710 h 2339"/>
                  <a:gd name="T18" fmla="*/ 860 w 3088"/>
                  <a:gd name="T19" fmla="*/ 1854 h 2339"/>
                  <a:gd name="T20" fmla="*/ 832 w 3088"/>
                  <a:gd name="T21" fmla="*/ 1684 h 2339"/>
                  <a:gd name="T22" fmla="*/ 2021 w 3088"/>
                  <a:gd name="T23" fmla="*/ 1860 h 2339"/>
                  <a:gd name="T24" fmla="*/ 2158 w 3088"/>
                  <a:gd name="T25" fmla="*/ 1747 h 2339"/>
                  <a:gd name="T26" fmla="*/ 2100 w 3088"/>
                  <a:gd name="T27" fmla="*/ 1730 h 2339"/>
                  <a:gd name="T28" fmla="*/ 2059 w 3088"/>
                  <a:gd name="T29" fmla="*/ 1684 h 2339"/>
                  <a:gd name="T30" fmla="*/ 1309 w 3088"/>
                  <a:gd name="T31" fmla="*/ 1734 h 2339"/>
                  <a:gd name="T32" fmla="*/ 1445 w 3088"/>
                  <a:gd name="T33" fmla="*/ 1844 h 2339"/>
                  <a:gd name="T34" fmla="*/ 1473 w 3088"/>
                  <a:gd name="T35" fmla="*/ 1923 h 2339"/>
                  <a:gd name="T36" fmla="*/ 1369 w 3088"/>
                  <a:gd name="T37" fmla="*/ 1781 h 2339"/>
                  <a:gd name="T38" fmla="*/ 1727 w 3088"/>
                  <a:gd name="T39" fmla="*/ 1677 h 2339"/>
                  <a:gd name="T40" fmla="*/ 1632 w 3088"/>
                  <a:gd name="T41" fmla="*/ 1778 h 2339"/>
                  <a:gd name="T42" fmla="*/ 1822 w 3088"/>
                  <a:gd name="T43" fmla="*/ 1710 h 2339"/>
                  <a:gd name="T44" fmla="*/ 1686 w 3088"/>
                  <a:gd name="T45" fmla="*/ 1786 h 2339"/>
                  <a:gd name="T46" fmla="*/ 1708 w 3088"/>
                  <a:gd name="T47" fmla="*/ 1817 h 2339"/>
                  <a:gd name="T48" fmla="*/ 2240 w 3088"/>
                  <a:gd name="T49" fmla="*/ 1766 h 2339"/>
                  <a:gd name="T50" fmla="*/ 2227 w 3088"/>
                  <a:gd name="T51" fmla="*/ 1653 h 2339"/>
                  <a:gd name="T52" fmla="*/ 2290 w 3088"/>
                  <a:gd name="T53" fmla="*/ 1866 h 2339"/>
                  <a:gd name="T54" fmla="*/ 2321 w 3088"/>
                  <a:gd name="T55" fmla="*/ 1709 h 2339"/>
                  <a:gd name="T56" fmla="*/ 2908 w 3088"/>
                  <a:gd name="T57" fmla="*/ 1750 h 2339"/>
                  <a:gd name="T58" fmla="*/ 2730 w 3088"/>
                  <a:gd name="T59" fmla="*/ 1683 h 2339"/>
                  <a:gd name="T60" fmla="*/ 2852 w 3088"/>
                  <a:gd name="T61" fmla="*/ 1860 h 2339"/>
                  <a:gd name="T62" fmla="*/ 2639 w 3088"/>
                  <a:gd name="T63" fmla="*/ 1783 h 2339"/>
                  <a:gd name="T64" fmla="*/ 2605 w 3088"/>
                  <a:gd name="T65" fmla="*/ 1853 h 2339"/>
                  <a:gd name="T66" fmla="*/ 2464 w 3088"/>
                  <a:gd name="T67" fmla="*/ 1861 h 2339"/>
                  <a:gd name="T68" fmla="*/ 2495 w 3088"/>
                  <a:gd name="T69" fmla="*/ 1812 h 2339"/>
                  <a:gd name="T70" fmla="*/ 2998 w 3088"/>
                  <a:gd name="T71" fmla="*/ 1639 h 2339"/>
                  <a:gd name="T72" fmla="*/ 975 w 3088"/>
                  <a:gd name="T73" fmla="*/ 1860 h 2339"/>
                  <a:gd name="T74" fmla="*/ 2416 w 3088"/>
                  <a:gd name="T75" fmla="*/ 2069 h 2339"/>
                  <a:gd name="T76" fmla="*/ 2510 w 3088"/>
                  <a:gd name="T77" fmla="*/ 2251 h 2339"/>
                  <a:gd name="T78" fmla="*/ 2485 w 3088"/>
                  <a:gd name="T79" fmla="*/ 2074 h 2339"/>
                  <a:gd name="T80" fmla="*/ 627 w 3088"/>
                  <a:gd name="T81" fmla="*/ 2078 h 2339"/>
                  <a:gd name="T82" fmla="*/ 672 w 3088"/>
                  <a:gd name="T83" fmla="*/ 2089 h 2339"/>
                  <a:gd name="T84" fmla="*/ 202 w 3088"/>
                  <a:gd name="T85" fmla="*/ 2135 h 2339"/>
                  <a:gd name="T86" fmla="*/ 310 w 3088"/>
                  <a:gd name="T87" fmla="*/ 2174 h 2339"/>
                  <a:gd name="T88" fmla="*/ 503 w 3088"/>
                  <a:gd name="T89" fmla="*/ 2174 h 2339"/>
                  <a:gd name="T90" fmla="*/ 374 w 3088"/>
                  <a:gd name="T91" fmla="*/ 2185 h 2339"/>
                  <a:gd name="T92" fmla="*/ 439 w 3088"/>
                  <a:gd name="T93" fmla="*/ 2185 h 2339"/>
                  <a:gd name="T94" fmla="*/ 2197 w 3088"/>
                  <a:gd name="T95" fmla="*/ 2040 h 2339"/>
                  <a:gd name="T96" fmla="*/ 1597 w 3088"/>
                  <a:gd name="T97" fmla="*/ 2027 h 2339"/>
                  <a:gd name="T98" fmla="*/ 1937 w 3088"/>
                  <a:gd name="T99" fmla="*/ 2047 h 2339"/>
                  <a:gd name="T100" fmla="*/ 2002 w 3088"/>
                  <a:gd name="T101" fmla="*/ 2254 h 2339"/>
                  <a:gd name="T102" fmla="*/ 2061 w 3088"/>
                  <a:gd name="T103" fmla="*/ 2041 h 2339"/>
                  <a:gd name="T104" fmla="*/ 2002 w 3088"/>
                  <a:gd name="T105" fmla="*/ 2073 h 2339"/>
                  <a:gd name="T106" fmla="*/ 767 w 3088"/>
                  <a:gd name="T107" fmla="*/ 1934 h 2339"/>
                  <a:gd name="T108" fmla="*/ 1202 w 3088"/>
                  <a:gd name="T109" fmla="*/ 2037 h 2339"/>
                  <a:gd name="T110" fmla="*/ 1108 w 3088"/>
                  <a:gd name="T111" fmla="*/ 2086 h 2339"/>
                  <a:gd name="T112" fmla="*/ 1280 w 3088"/>
                  <a:gd name="T113" fmla="*/ 2078 h 2339"/>
                  <a:gd name="T114" fmla="*/ 1385 w 3088"/>
                  <a:gd name="T115" fmla="*/ 2249 h 2339"/>
                  <a:gd name="T116" fmla="*/ 1403 w 3088"/>
                  <a:gd name="T117" fmla="*/ 2332 h 2339"/>
                  <a:gd name="T118" fmla="*/ 1354 w 3088"/>
                  <a:gd name="T119" fmla="*/ 2200 h 2339"/>
                  <a:gd name="T120" fmla="*/ 993 w 3088"/>
                  <a:gd name="T121" fmla="*/ 2123 h 2339"/>
                  <a:gd name="T122" fmla="*/ 397 w 3088"/>
                  <a:gd name="T123" fmla="*/ 963 h 23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088" h="2339">
                    <a:moveTo>
                      <a:pt x="257" y="1763"/>
                    </a:moveTo>
                    <a:lnTo>
                      <a:pt x="257" y="1763"/>
                    </a:lnTo>
                    <a:lnTo>
                      <a:pt x="257" y="1755"/>
                    </a:lnTo>
                    <a:lnTo>
                      <a:pt x="256" y="1749"/>
                    </a:lnTo>
                    <a:lnTo>
                      <a:pt x="253" y="1736"/>
                    </a:lnTo>
                    <a:lnTo>
                      <a:pt x="247" y="1725"/>
                    </a:lnTo>
                    <a:lnTo>
                      <a:pt x="241" y="1716"/>
                    </a:lnTo>
                    <a:lnTo>
                      <a:pt x="233" y="1709"/>
                    </a:lnTo>
                    <a:lnTo>
                      <a:pt x="225" y="1704"/>
                    </a:lnTo>
                    <a:lnTo>
                      <a:pt x="219" y="1699"/>
                    </a:lnTo>
                    <a:lnTo>
                      <a:pt x="212" y="1696"/>
                    </a:lnTo>
                    <a:lnTo>
                      <a:pt x="212" y="1696"/>
                    </a:lnTo>
                    <a:lnTo>
                      <a:pt x="220" y="1690"/>
                    </a:lnTo>
                    <a:lnTo>
                      <a:pt x="226" y="1685"/>
                    </a:lnTo>
                    <a:lnTo>
                      <a:pt x="232" y="1678"/>
                    </a:lnTo>
                    <a:lnTo>
                      <a:pt x="237" y="1671"/>
                    </a:lnTo>
                    <a:lnTo>
                      <a:pt x="242" y="1663"/>
                    </a:lnTo>
                    <a:lnTo>
                      <a:pt x="244" y="1654"/>
                    </a:lnTo>
                    <a:lnTo>
                      <a:pt x="246" y="1645"/>
                    </a:lnTo>
                    <a:lnTo>
                      <a:pt x="246" y="1635"/>
                    </a:lnTo>
                    <a:lnTo>
                      <a:pt x="246" y="1635"/>
                    </a:lnTo>
                    <a:lnTo>
                      <a:pt x="246" y="1626"/>
                    </a:lnTo>
                    <a:lnTo>
                      <a:pt x="245" y="1618"/>
                    </a:lnTo>
                    <a:lnTo>
                      <a:pt x="243" y="1610"/>
                    </a:lnTo>
                    <a:lnTo>
                      <a:pt x="241" y="1602"/>
                    </a:lnTo>
                    <a:lnTo>
                      <a:pt x="237" y="1594"/>
                    </a:lnTo>
                    <a:lnTo>
                      <a:pt x="233" y="1588"/>
                    </a:lnTo>
                    <a:lnTo>
                      <a:pt x="227" y="1582"/>
                    </a:lnTo>
                    <a:lnTo>
                      <a:pt x="222" y="1577"/>
                    </a:lnTo>
                    <a:lnTo>
                      <a:pt x="215" y="1572"/>
                    </a:lnTo>
                    <a:lnTo>
                      <a:pt x="209" y="1568"/>
                    </a:lnTo>
                    <a:lnTo>
                      <a:pt x="201" y="1565"/>
                    </a:lnTo>
                    <a:lnTo>
                      <a:pt x="192" y="1561"/>
                    </a:lnTo>
                    <a:lnTo>
                      <a:pt x="183" y="1559"/>
                    </a:lnTo>
                    <a:lnTo>
                      <a:pt x="173" y="1557"/>
                    </a:lnTo>
                    <a:lnTo>
                      <a:pt x="163" y="1557"/>
                    </a:lnTo>
                    <a:lnTo>
                      <a:pt x="152" y="1556"/>
                    </a:lnTo>
                    <a:lnTo>
                      <a:pt x="22" y="1556"/>
                    </a:lnTo>
                    <a:lnTo>
                      <a:pt x="22" y="1860"/>
                    </a:lnTo>
                    <a:lnTo>
                      <a:pt x="151" y="1860"/>
                    </a:lnTo>
                    <a:lnTo>
                      <a:pt x="151" y="1860"/>
                    </a:lnTo>
                    <a:lnTo>
                      <a:pt x="163" y="1860"/>
                    </a:lnTo>
                    <a:lnTo>
                      <a:pt x="174" y="1859"/>
                    </a:lnTo>
                    <a:lnTo>
                      <a:pt x="185" y="1857"/>
                    </a:lnTo>
                    <a:lnTo>
                      <a:pt x="195" y="1854"/>
                    </a:lnTo>
                    <a:lnTo>
                      <a:pt x="205" y="1850"/>
                    </a:lnTo>
                    <a:lnTo>
                      <a:pt x="214" y="1846"/>
                    </a:lnTo>
                    <a:lnTo>
                      <a:pt x="222" y="1840"/>
                    </a:lnTo>
                    <a:lnTo>
                      <a:pt x="228" y="1835"/>
                    </a:lnTo>
                    <a:lnTo>
                      <a:pt x="235" y="1828"/>
                    </a:lnTo>
                    <a:lnTo>
                      <a:pt x="241" y="1821"/>
                    </a:lnTo>
                    <a:lnTo>
                      <a:pt x="246" y="1813"/>
                    </a:lnTo>
                    <a:lnTo>
                      <a:pt x="249" y="1804"/>
                    </a:lnTo>
                    <a:lnTo>
                      <a:pt x="253" y="1795"/>
                    </a:lnTo>
                    <a:lnTo>
                      <a:pt x="255" y="1785"/>
                    </a:lnTo>
                    <a:lnTo>
                      <a:pt x="256" y="1774"/>
                    </a:lnTo>
                    <a:lnTo>
                      <a:pt x="257" y="1763"/>
                    </a:lnTo>
                    <a:lnTo>
                      <a:pt x="257" y="1763"/>
                    </a:lnTo>
                    <a:close/>
                    <a:moveTo>
                      <a:pt x="151" y="1810"/>
                    </a:moveTo>
                    <a:lnTo>
                      <a:pt x="78" y="1810"/>
                    </a:lnTo>
                    <a:lnTo>
                      <a:pt x="78" y="1722"/>
                    </a:lnTo>
                    <a:lnTo>
                      <a:pt x="151" y="1722"/>
                    </a:lnTo>
                    <a:lnTo>
                      <a:pt x="151" y="1722"/>
                    </a:lnTo>
                    <a:lnTo>
                      <a:pt x="162" y="1723"/>
                    </a:lnTo>
                    <a:lnTo>
                      <a:pt x="171" y="1725"/>
                    </a:lnTo>
                    <a:lnTo>
                      <a:pt x="179" y="1728"/>
                    </a:lnTo>
                    <a:lnTo>
                      <a:pt x="185" y="1733"/>
                    </a:lnTo>
                    <a:lnTo>
                      <a:pt x="191" y="1739"/>
                    </a:lnTo>
                    <a:lnTo>
                      <a:pt x="194" y="1747"/>
                    </a:lnTo>
                    <a:lnTo>
                      <a:pt x="196" y="1755"/>
                    </a:lnTo>
                    <a:lnTo>
                      <a:pt x="198" y="1765"/>
                    </a:lnTo>
                    <a:lnTo>
                      <a:pt x="198" y="1765"/>
                    </a:lnTo>
                    <a:lnTo>
                      <a:pt x="196" y="1775"/>
                    </a:lnTo>
                    <a:lnTo>
                      <a:pt x="194" y="1784"/>
                    </a:lnTo>
                    <a:lnTo>
                      <a:pt x="190" y="1792"/>
                    </a:lnTo>
                    <a:lnTo>
                      <a:pt x="185" y="1797"/>
                    </a:lnTo>
                    <a:lnTo>
                      <a:pt x="179" y="1803"/>
                    </a:lnTo>
                    <a:lnTo>
                      <a:pt x="171" y="1806"/>
                    </a:lnTo>
                    <a:lnTo>
                      <a:pt x="161" y="1808"/>
                    </a:lnTo>
                    <a:lnTo>
                      <a:pt x="151" y="1810"/>
                    </a:lnTo>
                    <a:lnTo>
                      <a:pt x="151" y="1810"/>
                    </a:lnTo>
                    <a:close/>
                    <a:moveTo>
                      <a:pt x="150" y="1673"/>
                    </a:moveTo>
                    <a:lnTo>
                      <a:pt x="78" y="1673"/>
                    </a:lnTo>
                    <a:lnTo>
                      <a:pt x="78" y="1608"/>
                    </a:lnTo>
                    <a:lnTo>
                      <a:pt x="148" y="1608"/>
                    </a:lnTo>
                    <a:lnTo>
                      <a:pt x="148" y="1608"/>
                    </a:lnTo>
                    <a:lnTo>
                      <a:pt x="157" y="1609"/>
                    </a:lnTo>
                    <a:lnTo>
                      <a:pt x="166" y="1610"/>
                    </a:lnTo>
                    <a:lnTo>
                      <a:pt x="172" y="1612"/>
                    </a:lnTo>
                    <a:lnTo>
                      <a:pt x="178" y="1615"/>
                    </a:lnTo>
                    <a:lnTo>
                      <a:pt x="182" y="1621"/>
                    </a:lnTo>
                    <a:lnTo>
                      <a:pt x="185" y="1626"/>
                    </a:lnTo>
                    <a:lnTo>
                      <a:pt x="187" y="1633"/>
                    </a:lnTo>
                    <a:lnTo>
                      <a:pt x="188" y="1641"/>
                    </a:lnTo>
                    <a:lnTo>
                      <a:pt x="188" y="1641"/>
                    </a:lnTo>
                    <a:lnTo>
                      <a:pt x="188" y="1646"/>
                    </a:lnTo>
                    <a:lnTo>
                      <a:pt x="187" y="1652"/>
                    </a:lnTo>
                    <a:lnTo>
                      <a:pt x="184" y="1657"/>
                    </a:lnTo>
                    <a:lnTo>
                      <a:pt x="181" y="1662"/>
                    </a:lnTo>
                    <a:lnTo>
                      <a:pt x="175" y="1666"/>
                    </a:lnTo>
                    <a:lnTo>
                      <a:pt x="169" y="1669"/>
                    </a:lnTo>
                    <a:lnTo>
                      <a:pt x="161" y="1672"/>
                    </a:lnTo>
                    <a:lnTo>
                      <a:pt x="150" y="1673"/>
                    </a:lnTo>
                    <a:lnTo>
                      <a:pt x="150" y="1673"/>
                    </a:lnTo>
                    <a:close/>
                    <a:moveTo>
                      <a:pt x="296" y="1764"/>
                    </a:moveTo>
                    <a:lnTo>
                      <a:pt x="296" y="1639"/>
                    </a:lnTo>
                    <a:lnTo>
                      <a:pt x="351" y="1639"/>
                    </a:lnTo>
                    <a:lnTo>
                      <a:pt x="351" y="1761"/>
                    </a:lnTo>
                    <a:lnTo>
                      <a:pt x="351" y="1761"/>
                    </a:lnTo>
                    <a:lnTo>
                      <a:pt x="351" y="1773"/>
                    </a:lnTo>
                    <a:lnTo>
                      <a:pt x="353" y="1785"/>
                    </a:lnTo>
                    <a:lnTo>
                      <a:pt x="356" y="1794"/>
                    </a:lnTo>
                    <a:lnTo>
                      <a:pt x="361" y="1802"/>
                    </a:lnTo>
                    <a:lnTo>
                      <a:pt x="366" y="1807"/>
                    </a:lnTo>
                    <a:lnTo>
                      <a:pt x="373" y="1812"/>
                    </a:lnTo>
                    <a:lnTo>
                      <a:pt x="382" y="1814"/>
                    </a:lnTo>
                    <a:lnTo>
                      <a:pt x="392" y="1815"/>
                    </a:lnTo>
                    <a:lnTo>
                      <a:pt x="392" y="1815"/>
                    </a:lnTo>
                    <a:lnTo>
                      <a:pt x="402" y="1814"/>
                    </a:lnTo>
                    <a:lnTo>
                      <a:pt x="409" y="1812"/>
                    </a:lnTo>
                    <a:lnTo>
                      <a:pt x="417" y="1807"/>
                    </a:lnTo>
                    <a:lnTo>
                      <a:pt x="423" y="1802"/>
                    </a:lnTo>
                    <a:lnTo>
                      <a:pt x="427" y="1794"/>
                    </a:lnTo>
                    <a:lnTo>
                      <a:pt x="430" y="1784"/>
                    </a:lnTo>
                    <a:lnTo>
                      <a:pt x="433" y="1773"/>
                    </a:lnTo>
                    <a:lnTo>
                      <a:pt x="433" y="1761"/>
                    </a:lnTo>
                    <a:lnTo>
                      <a:pt x="433" y="1639"/>
                    </a:lnTo>
                    <a:lnTo>
                      <a:pt x="488" y="1639"/>
                    </a:lnTo>
                    <a:lnTo>
                      <a:pt x="488" y="1860"/>
                    </a:lnTo>
                    <a:lnTo>
                      <a:pt x="433" y="1860"/>
                    </a:lnTo>
                    <a:lnTo>
                      <a:pt x="433" y="1843"/>
                    </a:lnTo>
                    <a:lnTo>
                      <a:pt x="433" y="1843"/>
                    </a:lnTo>
                    <a:lnTo>
                      <a:pt x="428" y="1848"/>
                    </a:lnTo>
                    <a:lnTo>
                      <a:pt x="422" y="1853"/>
                    </a:lnTo>
                    <a:lnTo>
                      <a:pt x="416" y="1857"/>
                    </a:lnTo>
                    <a:lnTo>
                      <a:pt x="409" y="1859"/>
                    </a:lnTo>
                    <a:lnTo>
                      <a:pt x="403" y="1862"/>
                    </a:lnTo>
                    <a:lnTo>
                      <a:pt x="395" y="1864"/>
                    </a:lnTo>
                    <a:lnTo>
                      <a:pt x="387" y="1865"/>
                    </a:lnTo>
                    <a:lnTo>
                      <a:pt x="380" y="1866"/>
                    </a:lnTo>
                    <a:lnTo>
                      <a:pt x="380" y="1866"/>
                    </a:lnTo>
                    <a:lnTo>
                      <a:pt x="366" y="1865"/>
                    </a:lnTo>
                    <a:lnTo>
                      <a:pt x="355" y="1862"/>
                    </a:lnTo>
                    <a:lnTo>
                      <a:pt x="345" y="1859"/>
                    </a:lnTo>
                    <a:lnTo>
                      <a:pt x="336" y="1855"/>
                    </a:lnTo>
                    <a:lnTo>
                      <a:pt x="328" y="1849"/>
                    </a:lnTo>
                    <a:lnTo>
                      <a:pt x="321" y="1844"/>
                    </a:lnTo>
                    <a:lnTo>
                      <a:pt x="316" y="1836"/>
                    </a:lnTo>
                    <a:lnTo>
                      <a:pt x="310" y="1828"/>
                    </a:lnTo>
                    <a:lnTo>
                      <a:pt x="307" y="1821"/>
                    </a:lnTo>
                    <a:lnTo>
                      <a:pt x="304" y="1813"/>
                    </a:lnTo>
                    <a:lnTo>
                      <a:pt x="299" y="1795"/>
                    </a:lnTo>
                    <a:lnTo>
                      <a:pt x="297" y="1779"/>
                    </a:lnTo>
                    <a:lnTo>
                      <a:pt x="296" y="1764"/>
                    </a:lnTo>
                    <a:lnTo>
                      <a:pt x="296" y="1764"/>
                    </a:lnTo>
                    <a:close/>
                    <a:moveTo>
                      <a:pt x="1135" y="1860"/>
                    </a:moveTo>
                    <a:lnTo>
                      <a:pt x="1079" y="1860"/>
                    </a:lnTo>
                    <a:lnTo>
                      <a:pt x="1079" y="1639"/>
                    </a:lnTo>
                    <a:lnTo>
                      <a:pt x="1135" y="1639"/>
                    </a:lnTo>
                    <a:lnTo>
                      <a:pt x="1135" y="1657"/>
                    </a:lnTo>
                    <a:lnTo>
                      <a:pt x="1135" y="1657"/>
                    </a:lnTo>
                    <a:lnTo>
                      <a:pt x="1140" y="1652"/>
                    </a:lnTo>
                    <a:lnTo>
                      <a:pt x="1146" y="1646"/>
                    </a:lnTo>
                    <a:lnTo>
                      <a:pt x="1152" y="1643"/>
                    </a:lnTo>
                    <a:lnTo>
                      <a:pt x="1159" y="1640"/>
                    </a:lnTo>
                    <a:lnTo>
                      <a:pt x="1167" y="1636"/>
                    </a:lnTo>
                    <a:lnTo>
                      <a:pt x="1173" y="1635"/>
                    </a:lnTo>
                    <a:lnTo>
                      <a:pt x="1182" y="1634"/>
                    </a:lnTo>
                    <a:lnTo>
                      <a:pt x="1190" y="1633"/>
                    </a:lnTo>
                    <a:lnTo>
                      <a:pt x="1190" y="1633"/>
                    </a:lnTo>
                    <a:lnTo>
                      <a:pt x="1200" y="1634"/>
                    </a:lnTo>
                    <a:lnTo>
                      <a:pt x="1208" y="1635"/>
                    </a:lnTo>
                    <a:lnTo>
                      <a:pt x="1217" y="1637"/>
                    </a:lnTo>
                    <a:lnTo>
                      <a:pt x="1225" y="1640"/>
                    </a:lnTo>
                    <a:lnTo>
                      <a:pt x="1233" y="1643"/>
                    </a:lnTo>
                    <a:lnTo>
                      <a:pt x="1239" y="1648"/>
                    </a:lnTo>
                    <a:lnTo>
                      <a:pt x="1245" y="1653"/>
                    </a:lnTo>
                    <a:lnTo>
                      <a:pt x="1250" y="1659"/>
                    </a:lnTo>
                    <a:lnTo>
                      <a:pt x="1256" y="1666"/>
                    </a:lnTo>
                    <a:lnTo>
                      <a:pt x="1259" y="1674"/>
                    </a:lnTo>
                    <a:lnTo>
                      <a:pt x="1264" y="1682"/>
                    </a:lnTo>
                    <a:lnTo>
                      <a:pt x="1266" y="1690"/>
                    </a:lnTo>
                    <a:lnTo>
                      <a:pt x="1268" y="1700"/>
                    </a:lnTo>
                    <a:lnTo>
                      <a:pt x="1270" y="1711"/>
                    </a:lnTo>
                    <a:lnTo>
                      <a:pt x="1271" y="1722"/>
                    </a:lnTo>
                    <a:lnTo>
                      <a:pt x="1271" y="1734"/>
                    </a:lnTo>
                    <a:lnTo>
                      <a:pt x="1271" y="1860"/>
                    </a:lnTo>
                    <a:lnTo>
                      <a:pt x="1216" y="1860"/>
                    </a:lnTo>
                    <a:lnTo>
                      <a:pt x="1216" y="1738"/>
                    </a:lnTo>
                    <a:lnTo>
                      <a:pt x="1216" y="1738"/>
                    </a:lnTo>
                    <a:lnTo>
                      <a:pt x="1216" y="1725"/>
                    </a:lnTo>
                    <a:lnTo>
                      <a:pt x="1214" y="1714"/>
                    </a:lnTo>
                    <a:lnTo>
                      <a:pt x="1211" y="1705"/>
                    </a:lnTo>
                    <a:lnTo>
                      <a:pt x="1206" y="1697"/>
                    </a:lnTo>
                    <a:lnTo>
                      <a:pt x="1201" y="1691"/>
                    </a:lnTo>
                    <a:lnTo>
                      <a:pt x="1194" y="1687"/>
                    </a:lnTo>
                    <a:lnTo>
                      <a:pt x="1186" y="1685"/>
                    </a:lnTo>
                    <a:lnTo>
                      <a:pt x="1176" y="1684"/>
                    </a:lnTo>
                    <a:lnTo>
                      <a:pt x="1176" y="1684"/>
                    </a:lnTo>
                    <a:lnTo>
                      <a:pt x="1167" y="1685"/>
                    </a:lnTo>
                    <a:lnTo>
                      <a:pt x="1158" y="1687"/>
                    </a:lnTo>
                    <a:lnTo>
                      <a:pt x="1151" y="1691"/>
                    </a:lnTo>
                    <a:lnTo>
                      <a:pt x="1146" y="1697"/>
                    </a:lnTo>
                    <a:lnTo>
                      <a:pt x="1140" y="1705"/>
                    </a:lnTo>
                    <a:lnTo>
                      <a:pt x="1137" y="1715"/>
                    </a:lnTo>
                    <a:lnTo>
                      <a:pt x="1135" y="1726"/>
                    </a:lnTo>
                    <a:lnTo>
                      <a:pt x="1135" y="1738"/>
                    </a:lnTo>
                    <a:lnTo>
                      <a:pt x="1135" y="1860"/>
                    </a:lnTo>
                    <a:close/>
                    <a:moveTo>
                      <a:pt x="593" y="1742"/>
                    </a:moveTo>
                    <a:lnTo>
                      <a:pt x="593" y="1860"/>
                    </a:lnTo>
                    <a:lnTo>
                      <a:pt x="537" y="1860"/>
                    </a:lnTo>
                    <a:lnTo>
                      <a:pt x="537" y="1639"/>
                    </a:lnTo>
                    <a:lnTo>
                      <a:pt x="593" y="1639"/>
                    </a:lnTo>
                    <a:lnTo>
                      <a:pt x="593" y="1742"/>
                    </a:lnTo>
                    <a:close/>
                    <a:moveTo>
                      <a:pt x="641" y="1573"/>
                    </a:moveTo>
                    <a:lnTo>
                      <a:pt x="696" y="1546"/>
                    </a:lnTo>
                    <a:lnTo>
                      <a:pt x="696" y="1747"/>
                    </a:lnTo>
                    <a:lnTo>
                      <a:pt x="696" y="1860"/>
                    </a:lnTo>
                    <a:lnTo>
                      <a:pt x="641" y="1860"/>
                    </a:lnTo>
                    <a:lnTo>
                      <a:pt x="641" y="1573"/>
                    </a:lnTo>
                    <a:close/>
                    <a:moveTo>
                      <a:pt x="871" y="1654"/>
                    </a:moveTo>
                    <a:lnTo>
                      <a:pt x="871" y="1654"/>
                    </a:lnTo>
                    <a:lnTo>
                      <a:pt x="866" y="1648"/>
                    </a:lnTo>
                    <a:lnTo>
                      <a:pt x="861" y="1645"/>
                    </a:lnTo>
                    <a:lnTo>
                      <a:pt x="854" y="1641"/>
                    </a:lnTo>
                    <a:lnTo>
                      <a:pt x="849" y="1639"/>
                    </a:lnTo>
                    <a:lnTo>
                      <a:pt x="842" y="1636"/>
                    </a:lnTo>
                    <a:lnTo>
                      <a:pt x="835" y="1634"/>
                    </a:lnTo>
                    <a:lnTo>
                      <a:pt x="822" y="1633"/>
                    </a:lnTo>
                    <a:lnTo>
                      <a:pt x="822" y="1633"/>
                    </a:lnTo>
                    <a:lnTo>
                      <a:pt x="812" y="1634"/>
                    </a:lnTo>
                    <a:lnTo>
                      <a:pt x="802" y="1635"/>
                    </a:lnTo>
                    <a:lnTo>
                      <a:pt x="794" y="1637"/>
                    </a:lnTo>
                    <a:lnTo>
                      <a:pt x="786" y="1641"/>
                    </a:lnTo>
                    <a:lnTo>
                      <a:pt x="778" y="1645"/>
                    </a:lnTo>
                    <a:lnTo>
                      <a:pt x="770" y="1651"/>
                    </a:lnTo>
                    <a:lnTo>
                      <a:pt x="764" y="1657"/>
                    </a:lnTo>
                    <a:lnTo>
                      <a:pt x="758" y="1664"/>
                    </a:lnTo>
                    <a:lnTo>
                      <a:pt x="753" y="1672"/>
                    </a:lnTo>
                    <a:lnTo>
                      <a:pt x="748" y="1680"/>
                    </a:lnTo>
                    <a:lnTo>
                      <a:pt x="744" y="1689"/>
                    </a:lnTo>
                    <a:lnTo>
                      <a:pt x="741" y="1699"/>
                    </a:lnTo>
                    <a:lnTo>
                      <a:pt x="738" y="1710"/>
                    </a:lnTo>
                    <a:lnTo>
                      <a:pt x="736" y="1722"/>
                    </a:lnTo>
                    <a:lnTo>
                      <a:pt x="735" y="1734"/>
                    </a:lnTo>
                    <a:lnTo>
                      <a:pt x="735" y="1747"/>
                    </a:lnTo>
                    <a:lnTo>
                      <a:pt x="735" y="1747"/>
                    </a:lnTo>
                    <a:lnTo>
                      <a:pt x="735" y="1761"/>
                    </a:lnTo>
                    <a:lnTo>
                      <a:pt x="736" y="1773"/>
                    </a:lnTo>
                    <a:lnTo>
                      <a:pt x="738" y="1785"/>
                    </a:lnTo>
                    <a:lnTo>
                      <a:pt x="741" y="1796"/>
                    </a:lnTo>
                    <a:lnTo>
                      <a:pt x="744" y="1807"/>
                    </a:lnTo>
                    <a:lnTo>
                      <a:pt x="747" y="1817"/>
                    </a:lnTo>
                    <a:lnTo>
                      <a:pt x="752" y="1826"/>
                    </a:lnTo>
                    <a:lnTo>
                      <a:pt x="757" y="1834"/>
                    </a:lnTo>
                    <a:lnTo>
                      <a:pt x="764" y="1841"/>
                    </a:lnTo>
                    <a:lnTo>
                      <a:pt x="769" y="1847"/>
                    </a:lnTo>
                    <a:lnTo>
                      <a:pt x="777" y="1853"/>
                    </a:lnTo>
                    <a:lnTo>
                      <a:pt x="785" y="1857"/>
                    </a:lnTo>
                    <a:lnTo>
                      <a:pt x="792" y="1860"/>
                    </a:lnTo>
                    <a:lnTo>
                      <a:pt x="801" y="1864"/>
                    </a:lnTo>
                    <a:lnTo>
                      <a:pt x="811" y="1865"/>
                    </a:lnTo>
                    <a:lnTo>
                      <a:pt x="821" y="1866"/>
                    </a:lnTo>
                    <a:lnTo>
                      <a:pt x="821" y="1866"/>
                    </a:lnTo>
                    <a:lnTo>
                      <a:pt x="828" y="1865"/>
                    </a:lnTo>
                    <a:lnTo>
                      <a:pt x="834" y="1864"/>
                    </a:lnTo>
                    <a:lnTo>
                      <a:pt x="841" y="1862"/>
                    </a:lnTo>
                    <a:lnTo>
                      <a:pt x="848" y="1860"/>
                    </a:lnTo>
                    <a:lnTo>
                      <a:pt x="853" y="1857"/>
                    </a:lnTo>
                    <a:lnTo>
                      <a:pt x="860" y="1854"/>
                    </a:lnTo>
                    <a:lnTo>
                      <a:pt x="865" y="1849"/>
                    </a:lnTo>
                    <a:lnTo>
                      <a:pt x="871" y="1844"/>
                    </a:lnTo>
                    <a:lnTo>
                      <a:pt x="871" y="1860"/>
                    </a:lnTo>
                    <a:lnTo>
                      <a:pt x="926" y="1860"/>
                    </a:lnTo>
                    <a:lnTo>
                      <a:pt x="926" y="1546"/>
                    </a:lnTo>
                    <a:lnTo>
                      <a:pt x="871" y="1573"/>
                    </a:lnTo>
                    <a:lnTo>
                      <a:pt x="871" y="1654"/>
                    </a:lnTo>
                    <a:close/>
                    <a:moveTo>
                      <a:pt x="832" y="1815"/>
                    </a:moveTo>
                    <a:lnTo>
                      <a:pt x="832" y="1815"/>
                    </a:lnTo>
                    <a:lnTo>
                      <a:pt x="826" y="1814"/>
                    </a:lnTo>
                    <a:lnTo>
                      <a:pt x="818" y="1812"/>
                    </a:lnTo>
                    <a:lnTo>
                      <a:pt x="811" y="1808"/>
                    </a:lnTo>
                    <a:lnTo>
                      <a:pt x="805" y="1802"/>
                    </a:lnTo>
                    <a:lnTo>
                      <a:pt x="799" y="1793"/>
                    </a:lnTo>
                    <a:lnTo>
                      <a:pt x="795" y="1781"/>
                    </a:lnTo>
                    <a:lnTo>
                      <a:pt x="791" y="1765"/>
                    </a:lnTo>
                    <a:lnTo>
                      <a:pt x="790" y="1746"/>
                    </a:lnTo>
                    <a:lnTo>
                      <a:pt x="790" y="1746"/>
                    </a:lnTo>
                    <a:lnTo>
                      <a:pt x="791" y="1728"/>
                    </a:lnTo>
                    <a:lnTo>
                      <a:pt x="795" y="1715"/>
                    </a:lnTo>
                    <a:lnTo>
                      <a:pt x="799" y="1704"/>
                    </a:lnTo>
                    <a:lnTo>
                      <a:pt x="805" y="1696"/>
                    </a:lnTo>
                    <a:lnTo>
                      <a:pt x="810" y="1689"/>
                    </a:lnTo>
                    <a:lnTo>
                      <a:pt x="818" y="1686"/>
                    </a:lnTo>
                    <a:lnTo>
                      <a:pt x="824" y="1684"/>
                    </a:lnTo>
                    <a:lnTo>
                      <a:pt x="832" y="1684"/>
                    </a:lnTo>
                    <a:lnTo>
                      <a:pt x="832" y="1684"/>
                    </a:lnTo>
                    <a:lnTo>
                      <a:pt x="839" y="1684"/>
                    </a:lnTo>
                    <a:lnTo>
                      <a:pt x="845" y="1686"/>
                    </a:lnTo>
                    <a:lnTo>
                      <a:pt x="852" y="1688"/>
                    </a:lnTo>
                    <a:lnTo>
                      <a:pt x="856" y="1691"/>
                    </a:lnTo>
                    <a:lnTo>
                      <a:pt x="861" y="1695"/>
                    </a:lnTo>
                    <a:lnTo>
                      <a:pt x="865" y="1698"/>
                    </a:lnTo>
                    <a:lnTo>
                      <a:pt x="871" y="1706"/>
                    </a:lnTo>
                    <a:lnTo>
                      <a:pt x="871" y="1793"/>
                    </a:lnTo>
                    <a:lnTo>
                      <a:pt x="871" y="1793"/>
                    </a:lnTo>
                    <a:lnTo>
                      <a:pt x="864" y="1801"/>
                    </a:lnTo>
                    <a:lnTo>
                      <a:pt x="856" y="1807"/>
                    </a:lnTo>
                    <a:lnTo>
                      <a:pt x="852" y="1811"/>
                    </a:lnTo>
                    <a:lnTo>
                      <a:pt x="845" y="1813"/>
                    </a:lnTo>
                    <a:lnTo>
                      <a:pt x="840" y="1814"/>
                    </a:lnTo>
                    <a:lnTo>
                      <a:pt x="832" y="1815"/>
                    </a:lnTo>
                    <a:lnTo>
                      <a:pt x="832" y="1815"/>
                    </a:lnTo>
                    <a:close/>
                    <a:moveTo>
                      <a:pt x="2069" y="1633"/>
                    </a:moveTo>
                    <a:lnTo>
                      <a:pt x="2069" y="1633"/>
                    </a:lnTo>
                    <a:lnTo>
                      <a:pt x="2064" y="1634"/>
                    </a:lnTo>
                    <a:lnTo>
                      <a:pt x="2057" y="1635"/>
                    </a:lnTo>
                    <a:lnTo>
                      <a:pt x="2044" y="1639"/>
                    </a:lnTo>
                    <a:lnTo>
                      <a:pt x="2032" y="1645"/>
                    </a:lnTo>
                    <a:lnTo>
                      <a:pt x="2021" y="1654"/>
                    </a:lnTo>
                    <a:lnTo>
                      <a:pt x="2021" y="1551"/>
                    </a:lnTo>
                    <a:lnTo>
                      <a:pt x="1966" y="1579"/>
                    </a:lnTo>
                    <a:lnTo>
                      <a:pt x="1966" y="1860"/>
                    </a:lnTo>
                    <a:lnTo>
                      <a:pt x="2021" y="1860"/>
                    </a:lnTo>
                    <a:lnTo>
                      <a:pt x="2021" y="1844"/>
                    </a:lnTo>
                    <a:lnTo>
                      <a:pt x="2021" y="1844"/>
                    </a:lnTo>
                    <a:lnTo>
                      <a:pt x="2025" y="1849"/>
                    </a:lnTo>
                    <a:lnTo>
                      <a:pt x="2032" y="1854"/>
                    </a:lnTo>
                    <a:lnTo>
                      <a:pt x="2037" y="1857"/>
                    </a:lnTo>
                    <a:lnTo>
                      <a:pt x="2044" y="1860"/>
                    </a:lnTo>
                    <a:lnTo>
                      <a:pt x="2049" y="1862"/>
                    </a:lnTo>
                    <a:lnTo>
                      <a:pt x="2057" y="1864"/>
                    </a:lnTo>
                    <a:lnTo>
                      <a:pt x="2064" y="1865"/>
                    </a:lnTo>
                    <a:lnTo>
                      <a:pt x="2070" y="1866"/>
                    </a:lnTo>
                    <a:lnTo>
                      <a:pt x="2070" y="1866"/>
                    </a:lnTo>
                    <a:lnTo>
                      <a:pt x="2080" y="1865"/>
                    </a:lnTo>
                    <a:lnTo>
                      <a:pt x="2090" y="1864"/>
                    </a:lnTo>
                    <a:lnTo>
                      <a:pt x="2099" y="1861"/>
                    </a:lnTo>
                    <a:lnTo>
                      <a:pt x="2108" y="1857"/>
                    </a:lnTo>
                    <a:lnTo>
                      <a:pt x="2116" y="1853"/>
                    </a:lnTo>
                    <a:lnTo>
                      <a:pt x="2122" y="1848"/>
                    </a:lnTo>
                    <a:lnTo>
                      <a:pt x="2129" y="1841"/>
                    </a:lnTo>
                    <a:lnTo>
                      <a:pt x="2134" y="1835"/>
                    </a:lnTo>
                    <a:lnTo>
                      <a:pt x="2140" y="1826"/>
                    </a:lnTo>
                    <a:lnTo>
                      <a:pt x="2144" y="1817"/>
                    </a:lnTo>
                    <a:lnTo>
                      <a:pt x="2148" y="1807"/>
                    </a:lnTo>
                    <a:lnTo>
                      <a:pt x="2151" y="1797"/>
                    </a:lnTo>
                    <a:lnTo>
                      <a:pt x="2154" y="1786"/>
                    </a:lnTo>
                    <a:lnTo>
                      <a:pt x="2155" y="1774"/>
                    </a:lnTo>
                    <a:lnTo>
                      <a:pt x="2157" y="1761"/>
                    </a:lnTo>
                    <a:lnTo>
                      <a:pt x="2158" y="1747"/>
                    </a:lnTo>
                    <a:lnTo>
                      <a:pt x="2158" y="1747"/>
                    </a:lnTo>
                    <a:lnTo>
                      <a:pt x="2157" y="1734"/>
                    </a:lnTo>
                    <a:lnTo>
                      <a:pt x="2155" y="1722"/>
                    </a:lnTo>
                    <a:lnTo>
                      <a:pt x="2153" y="1710"/>
                    </a:lnTo>
                    <a:lnTo>
                      <a:pt x="2151" y="1699"/>
                    </a:lnTo>
                    <a:lnTo>
                      <a:pt x="2148" y="1689"/>
                    </a:lnTo>
                    <a:lnTo>
                      <a:pt x="2143" y="1680"/>
                    </a:lnTo>
                    <a:lnTo>
                      <a:pt x="2139" y="1672"/>
                    </a:lnTo>
                    <a:lnTo>
                      <a:pt x="2133" y="1664"/>
                    </a:lnTo>
                    <a:lnTo>
                      <a:pt x="2128" y="1657"/>
                    </a:lnTo>
                    <a:lnTo>
                      <a:pt x="2121" y="1651"/>
                    </a:lnTo>
                    <a:lnTo>
                      <a:pt x="2113" y="1645"/>
                    </a:lnTo>
                    <a:lnTo>
                      <a:pt x="2106" y="1641"/>
                    </a:lnTo>
                    <a:lnTo>
                      <a:pt x="2098" y="1637"/>
                    </a:lnTo>
                    <a:lnTo>
                      <a:pt x="2089" y="1635"/>
                    </a:lnTo>
                    <a:lnTo>
                      <a:pt x="2079" y="1634"/>
                    </a:lnTo>
                    <a:lnTo>
                      <a:pt x="2069" y="1633"/>
                    </a:lnTo>
                    <a:lnTo>
                      <a:pt x="2069" y="1633"/>
                    </a:lnTo>
                    <a:close/>
                    <a:moveTo>
                      <a:pt x="2059" y="1684"/>
                    </a:moveTo>
                    <a:lnTo>
                      <a:pt x="2059" y="1684"/>
                    </a:lnTo>
                    <a:lnTo>
                      <a:pt x="2067" y="1685"/>
                    </a:lnTo>
                    <a:lnTo>
                      <a:pt x="2075" y="1687"/>
                    </a:lnTo>
                    <a:lnTo>
                      <a:pt x="2081" y="1691"/>
                    </a:lnTo>
                    <a:lnTo>
                      <a:pt x="2088" y="1698"/>
                    </a:lnTo>
                    <a:lnTo>
                      <a:pt x="2094" y="1706"/>
                    </a:lnTo>
                    <a:lnTo>
                      <a:pt x="2097" y="1717"/>
                    </a:lnTo>
                    <a:lnTo>
                      <a:pt x="2100" y="1730"/>
                    </a:lnTo>
                    <a:lnTo>
                      <a:pt x="2101" y="1746"/>
                    </a:lnTo>
                    <a:lnTo>
                      <a:pt x="2101" y="1746"/>
                    </a:lnTo>
                    <a:lnTo>
                      <a:pt x="2100" y="1762"/>
                    </a:lnTo>
                    <a:lnTo>
                      <a:pt x="2098" y="1776"/>
                    </a:lnTo>
                    <a:lnTo>
                      <a:pt x="2096" y="1787"/>
                    </a:lnTo>
                    <a:lnTo>
                      <a:pt x="2091" y="1797"/>
                    </a:lnTo>
                    <a:lnTo>
                      <a:pt x="2085" y="1805"/>
                    </a:lnTo>
                    <a:lnTo>
                      <a:pt x="2078" y="1811"/>
                    </a:lnTo>
                    <a:lnTo>
                      <a:pt x="2070" y="1814"/>
                    </a:lnTo>
                    <a:lnTo>
                      <a:pt x="2061" y="1815"/>
                    </a:lnTo>
                    <a:lnTo>
                      <a:pt x="2061" y="1815"/>
                    </a:lnTo>
                    <a:lnTo>
                      <a:pt x="2053" y="1814"/>
                    </a:lnTo>
                    <a:lnTo>
                      <a:pt x="2046" y="1813"/>
                    </a:lnTo>
                    <a:lnTo>
                      <a:pt x="2041" y="1810"/>
                    </a:lnTo>
                    <a:lnTo>
                      <a:pt x="2035" y="1807"/>
                    </a:lnTo>
                    <a:lnTo>
                      <a:pt x="2026" y="1800"/>
                    </a:lnTo>
                    <a:lnTo>
                      <a:pt x="2021" y="1794"/>
                    </a:lnTo>
                    <a:lnTo>
                      <a:pt x="2021" y="1706"/>
                    </a:lnTo>
                    <a:lnTo>
                      <a:pt x="2021" y="1706"/>
                    </a:lnTo>
                    <a:lnTo>
                      <a:pt x="2024" y="1701"/>
                    </a:lnTo>
                    <a:lnTo>
                      <a:pt x="2029" y="1697"/>
                    </a:lnTo>
                    <a:lnTo>
                      <a:pt x="2033" y="1693"/>
                    </a:lnTo>
                    <a:lnTo>
                      <a:pt x="2037" y="1689"/>
                    </a:lnTo>
                    <a:lnTo>
                      <a:pt x="2043" y="1687"/>
                    </a:lnTo>
                    <a:lnTo>
                      <a:pt x="2048" y="1685"/>
                    </a:lnTo>
                    <a:lnTo>
                      <a:pt x="2054" y="1684"/>
                    </a:lnTo>
                    <a:lnTo>
                      <a:pt x="2059" y="1684"/>
                    </a:lnTo>
                    <a:lnTo>
                      <a:pt x="2059" y="1684"/>
                    </a:lnTo>
                    <a:close/>
                    <a:moveTo>
                      <a:pt x="1445" y="1654"/>
                    </a:moveTo>
                    <a:lnTo>
                      <a:pt x="1445" y="1654"/>
                    </a:lnTo>
                    <a:lnTo>
                      <a:pt x="1440" y="1650"/>
                    </a:lnTo>
                    <a:lnTo>
                      <a:pt x="1435" y="1645"/>
                    </a:lnTo>
                    <a:lnTo>
                      <a:pt x="1428" y="1642"/>
                    </a:lnTo>
                    <a:lnTo>
                      <a:pt x="1423" y="1639"/>
                    </a:lnTo>
                    <a:lnTo>
                      <a:pt x="1416" y="1636"/>
                    </a:lnTo>
                    <a:lnTo>
                      <a:pt x="1409" y="1634"/>
                    </a:lnTo>
                    <a:lnTo>
                      <a:pt x="1403" y="1634"/>
                    </a:lnTo>
                    <a:lnTo>
                      <a:pt x="1396" y="1633"/>
                    </a:lnTo>
                    <a:lnTo>
                      <a:pt x="1396" y="1633"/>
                    </a:lnTo>
                    <a:lnTo>
                      <a:pt x="1386" y="1634"/>
                    </a:lnTo>
                    <a:lnTo>
                      <a:pt x="1376" y="1635"/>
                    </a:lnTo>
                    <a:lnTo>
                      <a:pt x="1367" y="1637"/>
                    </a:lnTo>
                    <a:lnTo>
                      <a:pt x="1360" y="1641"/>
                    </a:lnTo>
                    <a:lnTo>
                      <a:pt x="1352" y="1645"/>
                    </a:lnTo>
                    <a:lnTo>
                      <a:pt x="1344" y="1651"/>
                    </a:lnTo>
                    <a:lnTo>
                      <a:pt x="1338" y="1657"/>
                    </a:lnTo>
                    <a:lnTo>
                      <a:pt x="1332" y="1664"/>
                    </a:lnTo>
                    <a:lnTo>
                      <a:pt x="1327" y="1672"/>
                    </a:lnTo>
                    <a:lnTo>
                      <a:pt x="1322" y="1680"/>
                    </a:lnTo>
                    <a:lnTo>
                      <a:pt x="1318" y="1689"/>
                    </a:lnTo>
                    <a:lnTo>
                      <a:pt x="1314" y="1699"/>
                    </a:lnTo>
                    <a:lnTo>
                      <a:pt x="1312" y="1710"/>
                    </a:lnTo>
                    <a:lnTo>
                      <a:pt x="1310" y="1722"/>
                    </a:lnTo>
                    <a:lnTo>
                      <a:pt x="1309" y="1734"/>
                    </a:lnTo>
                    <a:lnTo>
                      <a:pt x="1309" y="1747"/>
                    </a:lnTo>
                    <a:lnTo>
                      <a:pt x="1309" y="1747"/>
                    </a:lnTo>
                    <a:lnTo>
                      <a:pt x="1309" y="1761"/>
                    </a:lnTo>
                    <a:lnTo>
                      <a:pt x="1310" y="1773"/>
                    </a:lnTo>
                    <a:lnTo>
                      <a:pt x="1312" y="1785"/>
                    </a:lnTo>
                    <a:lnTo>
                      <a:pt x="1314" y="1796"/>
                    </a:lnTo>
                    <a:lnTo>
                      <a:pt x="1318" y="1807"/>
                    </a:lnTo>
                    <a:lnTo>
                      <a:pt x="1321" y="1817"/>
                    </a:lnTo>
                    <a:lnTo>
                      <a:pt x="1327" y="1826"/>
                    </a:lnTo>
                    <a:lnTo>
                      <a:pt x="1331" y="1834"/>
                    </a:lnTo>
                    <a:lnTo>
                      <a:pt x="1338" y="1841"/>
                    </a:lnTo>
                    <a:lnTo>
                      <a:pt x="1343" y="1847"/>
                    </a:lnTo>
                    <a:lnTo>
                      <a:pt x="1351" y="1853"/>
                    </a:lnTo>
                    <a:lnTo>
                      <a:pt x="1359" y="1857"/>
                    </a:lnTo>
                    <a:lnTo>
                      <a:pt x="1366" y="1860"/>
                    </a:lnTo>
                    <a:lnTo>
                      <a:pt x="1375" y="1864"/>
                    </a:lnTo>
                    <a:lnTo>
                      <a:pt x="1385" y="1865"/>
                    </a:lnTo>
                    <a:lnTo>
                      <a:pt x="1395" y="1865"/>
                    </a:lnTo>
                    <a:lnTo>
                      <a:pt x="1395" y="1865"/>
                    </a:lnTo>
                    <a:lnTo>
                      <a:pt x="1402" y="1865"/>
                    </a:lnTo>
                    <a:lnTo>
                      <a:pt x="1408" y="1864"/>
                    </a:lnTo>
                    <a:lnTo>
                      <a:pt x="1415" y="1862"/>
                    </a:lnTo>
                    <a:lnTo>
                      <a:pt x="1421" y="1860"/>
                    </a:lnTo>
                    <a:lnTo>
                      <a:pt x="1428" y="1857"/>
                    </a:lnTo>
                    <a:lnTo>
                      <a:pt x="1434" y="1853"/>
                    </a:lnTo>
                    <a:lnTo>
                      <a:pt x="1439" y="1849"/>
                    </a:lnTo>
                    <a:lnTo>
                      <a:pt x="1445" y="1844"/>
                    </a:lnTo>
                    <a:lnTo>
                      <a:pt x="1445" y="1849"/>
                    </a:lnTo>
                    <a:lnTo>
                      <a:pt x="1445" y="1849"/>
                    </a:lnTo>
                    <a:lnTo>
                      <a:pt x="1445" y="1858"/>
                    </a:lnTo>
                    <a:lnTo>
                      <a:pt x="1444" y="1868"/>
                    </a:lnTo>
                    <a:lnTo>
                      <a:pt x="1441" y="1878"/>
                    </a:lnTo>
                    <a:lnTo>
                      <a:pt x="1439" y="1882"/>
                    </a:lnTo>
                    <a:lnTo>
                      <a:pt x="1436" y="1887"/>
                    </a:lnTo>
                    <a:lnTo>
                      <a:pt x="1433" y="1891"/>
                    </a:lnTo>
                    <a:lnTo>
                      <a:pt x="1428" y="1896"/>
                    </a:lnTo>
                    <a:lnTo>
                      <a:pt x="1421" y="1899"/>
                    </a:lnTo>
                    <a:lnTo>
                      <a:pt x="1415" y="1901"/>
                    </a:lnTo>
                    <a:lnTo>
                      <a:pt x="1407" y="1904"/>
                    </a:lnTo>
                    <a:lnTo>
                      <a:pt x="1397" y="1905"/>
                    </a:lnTo>
                    <a:lnTo>
                      <a:pt x="1386" y="1908"/>
                    </a:lnTo>
                    <a:lnTo>
                      <a:pt x="1374" y="1908"/>
                    </a:lnTo>
                    <a:lnTo>
                      <a:pt x="1372" y="1908"/>
                    </a:lnTo>
                    <a:lnTo>
                      <a:pt x="1391" y="1951"/>
                    </a:lnTo>
                    <a:lnTo>
                      <a:pt x="1392" y="1951"/>
                    </a:lnTo>
                    <a:lnTo>
                      <a:pt x="1392" y="1951"/>
                    </a:lnTo>
                    <a:lnTo>
                      <a:pt x="1405" y="1951"/>
                    </a:lnTo>
                    <a:lnTo>
                      <a:pt x="1417" y="1948"/>
                    </a:lnTo>
                    <a:lnTo>
                      <a:pt x="1429" y="1946"/>
                    </a:lnTo>
                    <a:lnTo>
                      <a:pt x="1439" y="1943"/>
                    </a:lnTo>
                    <a:lnTo>
                      <a:pt x="1449" y="1940"/>
                    </a:lnTo>
                    <a:lnTo>
                      <a:pt x="1458" y="1935"/>
                    </a:lnTo>
                    <a:lnTo>
                      <a:pt x="1466" y="1929"/>
                    </a:lnTo>
                    <a:lnTo>
                      <a:pt x="1473" y="1923"/>
                    </a:lnTo>
                    <a:lnTo>
                      <a:pt x="1480" y="1915"/>
                    </a:lnTo>
                    <a:lnTo>
                      <a:pt x="1484" y="1907"/>
                    </a:lnTo>
                    <a:lnTo>
                      <a:pt x="1490" y="1898"/>
                    </a:lnTo>
                    <a:lnTo>
                      <a:pt x="1493" y="1888"/>
                    </a:lnTo>
                    <a:lnTo>
                      <a:pt x="1497" y="1877"/>
                    </a:lnTo>
                    <a:lnTo>
                      <a:pt x="1499" y="1866"/>
                    </a:lnTo>
                    <a:lnTo>
                      <a:pt x="1500" y="1854"/>
                    </a:lnTo>
                    <a:lnTo>
                      <a:pt x="1500" y="1839"/>
                    </a:lnTo>
                    <a:lnTo>
                      <a:pt x="1500" y="1639"/>
                    </a:lnTo>
                    <a:lnTo>
                      <a:pt x="1445" y="1639"/>
                    </a:lnTo>
                    <a:lnTo>
                      <a:pt x="1445" y="1654"/>
                    </a:lnTo>
                    <a:close/>
                    <a:moveTo>
                      <a:pt x="1445" y="1706"/>
                    </a:moveTo>
                    <a:lnTo>
                      <a:pt x="1445" y="1793"/>
                    </a:lnTo>
                    <a:lnTo>
                      <a:pt x="1445" y="1793"/>
                    </a:lnTo>
                    <a:lnTo>
                      <a:pt x="1438" y="1801"/>
                    </a:lnTo>
                    <a:lnTo>
                      <a:pt x="1429" y="1808"/>
                    </a:lnTo>
                    <a:lnTo>
                      <a:pt x="1425" y="1811"/>
                    </a:lnTo>
                    <a:lnTo>
                      <a:pt x="1419" y="1813"/>
                    </a:lnTo>
                    <a:lnTo>
                      <a:pt x="1413" y="1814"/>
                    </a:lnTo>
                    <a:lnTo>
                      <a:pt x="1406" y="1815"/>
                    </a:lnTo>
                    <a:lnTo>
                      <a:pt x="1406" y="1815"/>
                    </a:lnTo>
                    <a:lnTo>
                      <a:pt x="1398" y="1814"/>
                    </a:lnTo>
                    <a:lnTo>
                      <a:pt x="1392" y="1812"/>
                    </a:lnTo>
                    <a:lnTo>
                      <a:pt x="1384" y="1807"/>
                    </a:lnTo>
                    <a:lnTo>
                      <a:pt x="1378" y="1802"/>
                    </a:lnTo>
                    <a:lnTo>
                      <a:pt x="1373" y="1793"/>
                    </a:lnTo>
                    <a:lnTo>
                      <a:pt x="1369" y="1781"/>
                    </a:lnTo>
                    <a:lnTo>
                      <a:pt x="1365" y="1765"/>
                    </a:lnTo>
                    <a:lnTo>
                      <a:pt x="1364" y="1746"/>
                    </a:lnTo>
                    <a:lnTo>
                      <a:pt x="1364" y="1746"/>
                    </a:lnTo>
                    <a:lnTo>
                      <a:pt x="1365" y="1728"/>
                    </a:lnTo>
                    <a:lnTo>
                      <a:pt x="1369" y="1715"/>
                    </a:lnTo>
                    <a:lnTo>
                      <a:pt x="1373" y="1704"/>
                    </a:lnTo>
                    <a:lnTo>
                      <a:pt x="1378" y="1696"/>
                    </a:lnTo>
                    <a:lnTo>
                      <a:pt x="1384" y="1689"/>
                    </a:lnTo>
                    <a:lnTo>
                      <a:pt x="1392" y="1686"/>
                    </a:lnTo>
                    <a:lnTo>
                      <a:pt x="1398" y="1684"/>
                    </a:lnTo>
                    <a:lnTo>
                      <a:pt x="1406" y="1684"/>
                    </a:lnTo>
                    <a:lnTo>
                      <a:pt x="1406" y="1684"/>
                    </a:lnTo>
                    <a:lnTo>
                      <a:pt x="1413" y="1684"/>
                    </a:lnTo>
                    <a:lnTo>
                      <a:pt x="1419" y="1686"/>
                    </a:lnTo>
                    <a:lnTo>
                      <a:pt x="1426" y="1688"/>
                    </a:lnTo>
                    <a:lnTo>
                      <a:pt x="1430" y="1690"/>
                    </a:lnTo>
                    <a:lnTo>
                      <a:pt x="1435" y="1695"/>
                    </a:lnTo>
                    <a:lnTo>
                      <a:pt x="1439" y="1698"/>
                    </a:lnTo>
                    <a:lnTo>
                      <a:pt x="1445" y="1706"/>
                    </a:lnTo>
                    <a:lnTo>
                      <a:pt x="1445" y="1706"/>
                    </a:lnTo>
                    <a:close/>
                    <a:moveTo>
                      <a:pt x="1671" y="1693"/>
                    </a:moveTo>
                    <a:lnTo>
                      <a:pt x="1671" y="1693"/>
                    </a:lnTo>
                    <a:lnTo>
                      <a:pt x="1684" y="1686"/>
                    </a:lnTo>
                    <a:lnTo>
                      <a:pt x="1697" y="1682"/>
                    </a:lnTo>
                    <a:lnTo>
                      <a:pt x="1712" y="1678"/>
                    </a:lnTo>
                    <a:lnTo>
                      <a:pt x="1727" y="1677"/>
                    </a:lnTo>
                    <a:lnTo>
                      <a:pt x="1727" y="1677"/>
                    </a:lnTo>
                    <a:lnTo>
                      <a:pt x="1737" y="1678"/>
                    </a:lnTo>
                    <a:lnTo>
                      <a:pt x="1745" y="1679"/>
                    </a:lnTo>
                    <a:lnTo>
                      <a:pt x="1751" y="1682"/>
                    </a:lnTo>
                    <a:lnTo>
                      <a:pt x="1757" y="1686"/>
                    </a:lnTo>
                    <a:lnTo>
                      <a:pt x="1761" y="1690"/>
                    </a:lnTo>
                    <a:lnTo>
                      <a:pt x="1765" y="1696"/>
                    </a:lnTo>
                    <a:lnTo>
                      <a:pt x="1767" y="1701"/>
                    </a:lnTo>
                    <a:lnTo>
                      <a:pt x="1767" y="1709"/>
                    </a:lnTo>
                    <a:lnTo>
                      <a:pt x="1767" y="1725"/>
                    </a:lnTo>
                    <a:lnTo>
                      <a:pt x="1767" y="1725"/>
                    </a:lnTo>
                    <a:lnTo>
                      <a:pt x="1757" y="1720"/>
                    </a:lnTo>
                    <a:lnTo>
                      <a:pt x="1745" y="1717"/>
                    </a:lnTo>
                    <a:lnTo>
                      <a:pt x="1733" y="1715"/>
                    </a:lnTo>
                    <a:lnTo>
                      <a:pt x="1719" y="1714"/>
                    </a:lnTo>
                    <a:lnTo>
                      <a:pt x="1719" y="1714"/>
                    </a:lnTo>
                    <a:lnTo>
                      <a:pt x="1704" y="1715"/>
                    </a:lnTo>
                    <a:lnTo>
                      <a:pt x="1689" y="1718"/>
                    </a:lnTo>
                    <a:lnTo>
                      <a:pt x="1674" y="1722"/>
                    </a:lnTo>
                    <a:lnTo>
                      <a:pt x="1667" y="1726"/>
                    </a:lnTo>
                    <a:lnTo>
                      <a:pt x="1660" y="1730"/>
                    </a:lnTo>
                    <a:lnTo>
                      <a:pt x="1654" y="1734"/>
                    </a:lnTo>
                    <a:lnTo>
                      <a:pt x="1649" y="1740"/>
                    </a:lnTo>
                    <a:lnTo>
                      <a:pt x="1643" y="1746"/>
                    </a:lnTo>
                    <a:lnTo>
                      <a:pt x="1639" y="1752"/>
                    </a:lnTo>
                    <a:lnTo>
                      <a:pt x="1636" y="1760"/>
                    </a:lnTo>
                    <a:lnTo>
                      <a:pt x="1633" y="1769"/>
                    </a:lnTo>
                    <a:lnTo>
                      <a:pt x="1632" y="1778"/>
                    </a:lnTo>
                    <a:lnTo>
                      <a:pt x="1631" y="1786"/>
                    </a:lnTo>
                    <a:lnTo>
                      <a:pt x="1631" y="1786"/>
                    </a:lnTo>
                    <a:lnTo>
                      <a:pt x="1632" y="1797"/>
                    </a:lnTo>
                    <a:lnTo>
                      <a:pt x="1633" y="1807"/>
                    </a:lnTo>
                    <a:lnTo>
                      <a:pt x="1636" y="1815"/>
                    </a:lnTo>
                    <a:lnTo>
                      <a:pt x="1639" y="1824"/>
                    </a:lnTo>
                    <a:lnTo>
                      <a:pt x="1642" y="1830"/>
                    </a:lnTo>
                    <a:lnTo>
                      <a:pt x="1648" y="1837"/>
                    </a:lnTo>
                    <a:lnTo>
                      <a:pt x="1652" y="1843"/>
                    </a:lnTo>
                    <a:lnTo>
                      <a:pt x="1659" y="1848"/>
                    </a:lnTo>
                    <a:lnTo>
                      <a:pt x="1664" y="1853"/>
                    </a:lnTo>
                    <a:lnTo>
                      <a:pt x="1671" y="1856"/>
                    </a:lnTo>
                    <a:lnTo>
                      <a:pt x="1685" y="1861"/>
                    </a:lnTo>
                    <a:lnTo>
                      <a:pt x="1700" y="1865"/>
                    </a:lnTo>
                    <a:lnTo>
                      <a:pt x="1714" y="1866"/>
                    </a:lnTo>
                    <a:lnTo>
                      <a:pt x="1714" y="1866"/>
                    </a:lnTo>
                    <a:lnTo>
                      <a:pt x="1726" y="1864"/>
                    </a:lnTo>
                    <a:lnTo>
                      <a:pt x="1734" y="1862"/>
                    </a:lnTo>
                    <a:lnTo>
                      <a:pt x="1740" y="1860"/>
                    </a:lnTo>
                    <a:lnTo>
                      <a:pt x="1748" y="1857"/>
                    </a:lnTo>
                    <a:lnTo>
                      <a:pt x="1755" y="1853"/>
                    </a:lnTo>
                    <a:lnTo>
                      <a:pt x="1761" y="1848"/>
                    </a:lnTo>
                    <a:lnTo>
                      <a:pt x="1767" y="1843"/>
                    </a:lnTo>
                    <a:lnTo>
                      <a:pt x="1767" y="1860"/>
                    </a:lnTo>
                    <a:lnTo>
                      <a:pt x="1822" y="1860"/>
                    </a:lnTo>
                    <a:lnTo>
                      <a:pt x="1822" y="1710"/>
                    </a:lnTo>
                    <a:lnTo>
                      <a:pt x="1822" y="1710"/>
                    </a:lnTo>
                    <a:lnTo>
                      <a:pt x="1822" y="1701"/>
                    </a:lnTo>
                    <a:lnTo>
                      <a:pt x="1821" y="1694"/>
                    </a:lnTo>
                    <a:lnTo>
                      <a:pt x="1819" y="1686"/>
                    </a:lnTo>
                    <a:lnTo>
                      <a:pt x="1817" y="1678"/>
                    </a:lnTo>
                    <a:lnTo>
                      <a:pt x="1812" y="1672"/>
                    </a:lnTo>
                    <a:lnTo>
                      <a:pt x="1809" y="1665"/>
                    </a:lnTo>
                    <a:lnTo>
                      <a:pt x="1803" y="1659"/>
                    </a:lnTo>
                    <a:lnTo>
                      <a:pt x="1798" y="1654"/>
                    </a:lnTo>
                    <a:lnTo>
                      <a:pt x="1792" y="1650"/>
                    </a:lnTo>
                    <a:lnTo>
                      <a:pt x="1786" y="1645"/>
                    </a:lnTo>
                    <a:lnTo>
                      <a:pt x="1778" y="1642"/>
                    </a:lnTo>
                    <a:lnTo>
                      <a:pt x="1770" y="1639"/>
                    </a:lnTo>
                    <a:lnTo>
                      <a:pt x="1761" y="1636"/>
                    </a:lnTo>
                    <a:lnTo>
                      <a:pt x="1753" y="1635"/>
                    </a:lnTo>
                    <a:lnTo>
                      <a:pt x="1743" y="1634"/>
                    </a:lnTo>
                    <a:lnTo>
                      <a:pt x="1733" y="1633"/>
                    </a:lnTo>
                    <a:lnTo>
                      <a:pt x="1733" y="1633"/>
                    </a:lnTo>
                    <a:lnTo>
                      <a:pt x="1721" y="1634"/>
                    </a:lnTo>
                    <a:lnTo>
                      <a:pt x="1711" y="1634"/>
                    </a:lnTo>
                    <a:lnTo>
                      <a:pt x="1700" y="1636"/>
                    </a:lnTo>
                    <a:lnTo>
                      <a:pt x="1689" y="1639"/>
                    </a:lnTo>
                    <a:lnTo>
                      <a:pt x="1679" y="1642"/>
                    </a:lnTo>
                    <a:lnTo>
                      <a:pt x="1669" y="1645"/>
                    </a:lnTo>
                    <a:lnTo>
                      <a:pt x="1659" y="1650"/>
                    </a:lnTo>
                    <a:lnTo>
                      <a:pt x="1649" y="1655"/>
                    </a:lnTo>
                    <a:lnTo>
                      <a:pt x="1671" y="1693"/>
                    </a:lnTo>
                    <a:close/>
                    <a:moveTo>
                      <a:pt x="1686" y="1786"/>
                    </a:moveTo>
                    <a:lnTo>
                      <a:pt x="1686" y="1786"/>
                    </a:lnTo>
                    <a:lnTo>
                      <a:pt x="1686" y="1780"/>
                    </a:lnTo>
                    <a:lnTo>
                      <a:pt x="1689" y="1773"/>
                    </a:lnTo>
                    <a:lnTo>
                      <a:pt x="1692" y="1768"/>
                    </a:lnTo>
                    <a:lnTo>
                      <a:pt x="1696" y="1763"/>
                    </a:lnTo>
                    <a:lnTo>
                      <a:pt x="1702" y="1760"/>
                    </a:lnTo>
                    <a:lnTo>
                      <a:pt x="1708" y="1758"/>
                    </a:lnTo>
                    <a:lnTo>
                      <a:pt x="1716" y="1755"/>
                    </a:lnTo>
                    <a:lnTo>
                      <a:pt x="1724" y="1755"/>
                    </a:lnTo>
                    <a:lnTo>
                      <a:pt x="1724" y="1755"/>
                    </a:lnTo>
                    <a:lnTo>
                      <a:pt x="1736" y="1755"/>
                    </a:lnTo>
                    <a:lnTo>
                      <a:pt x="1747" y="1758"/>
                    </a:lnTo>
                    <a:lnTo>
                      <a:pt x="1757" y="1761"/>
                    </a:lnTo>
                    <a:lnTo>
                      <a:pt x="1767" y="1766"/>
                    </a:lnTo>
                    <a:lnTo>
                      <a:pt x="1767" y="1796"/>
                    </a:lnTo>
                    <a:lnTo>
                      <a:pt x="1767" y="1796"/>
                    </a:lnTo>
                    <a:lnTo>
                      <a:pt x="1765" y="1801"/>
                    </a:lnTo>
                    <a:lnTo>
                      <a:pt x="1760" y="1805"/>
                    </a:lnTo>
                    <a:lnTo>
                      <a:pt x="1756" y="1810"/>
                    </a:lnTo>
                    <a:lnTo>
                      <a:pt x="1750" y="1813"/>
                    </a:lnTo>
                    <a:lnTo>
                      <a:pt x="1745" y="1816"/>
                    </a:lnTo>
                    <a:lnTo>
                      <a:pt x="1738" y="1818"/>
                    </a:lnTo>
                    <a:lnTo>
                      <a:pt x="1732" y="1819"/>
                    </a:lnTo>
                    <a:lnTo>
                      <a:pt x="1724" y="1821"/>
                    </a:lnTo>
                    <a:lnTo>
                      <a:pt x="1724" y="1821"/>
                    </a:lnTo>
                    <a:lnTo>
                      <a:pt x="1716" y="1819"/>
                    </a:lnTo>
                    <a:lnTo>
                      <a:pt x="1708" y="1817"/>
                    </a:lnTo>
                    <a:lnTo>
                      <a:pt x="1702" y="1815"/>
                    </a:lnTo>
                    <a:lnTo>
                      <a:pt x="1696" y="1811"/>
                    </a:lnTo>
                    <a:lnTo>
                      <a:pt x="1692" y="1806"/>
                    </a:lnTo>
                    <a:lnTo>
                      <a:pt x="1689" y="1801"/>
                    </a:lnTo>
                    <a:lnTo>
                      <a:pt x="1687" y="1794"/>
                    </a:lnTo>
                    <a:lnTo>
                      <a:pt x="1686" y="1786"/>
                    </a:lnTo>
                    <a:lnTo>
                      <a:pt x="1686" y="1786"/>
                    </a:lnTo>
                    <a:close/>
                    <a:moveTo>
                      <a:pt x="2333" y="1796"/>
                    </a:moveTo>
                    <a:lnTo>
                      <a:pt x="2333" y="1796"/>
                    </a:lnTo>
                    <a:lnTo>
                      <a:pt x="2325" y="1803"/>
                    </a:lnTo>
                    <a:lnTo>
                      <a:pt x="2315" y="1808"/>
                    </a:lnTo>
                    <a:lnTo>
                      <a:pt x="2310" y="1811"/>
                    </a:lnTo>
                    <a:lnTo>
                      <a:pt x="2303" y="1813"/>
                    </a:lnTo>
                    <a:lnTo>
                      <a:pt x="2297" y="1814"/>
                    </a:lnTo>
                    <a:lnTo>
                      <a:pt x="2290" y="1815"/>
                    </a:lnTo>
                    <a:lnTo>
                      <a:pt x="2290" y="1815"/>
                    </a:lnTo>
                    <a:lnTo>
                      <a:pt x="2285" y="1814"/>
                    </a:lnTo>
                    <a:lnTo>
                      <a:pt x="2278" y="1814"/>
                    </a:lnTo>
                    <a:lnTo>
                      <a:pt x="2270" y="1812"/>
                    </a:lnTo>
                    <a:lnTo>
                      <a:pt x="2261" y="1807"/>
                    </a:lnTo>
                    <a:lnTo>
                      <a:pt x="2254" y="1802"/>
                    </a:lnTo>
                    <a:lnTo>
                      <a:pt x="2250" y="1797"/>
                    </a:lnTo>
                    <a:lnTo>
                      <a:pt x="2247" y="1793"/>
                    </a:lnTo>
                    <a:lnTo>
                      <a:pt x="2245" y="1787"/>
                    </a:lnTo>
                    <a:lnTo>
                      <a:pt x="2243" y="1781"/>
                    </a:lnTo>
                    <a:lnTo>
                      <a:pt x="2242" y="1774"/>
                    </a:lnTo>
                    <a:lnTo>
                      <a:pt x="2240" y="1766"/>
                    </a:lnTo>
                    <a:lnTo>
                      <a:pt x="2376" y="1766"/>
                    </a:lnTo>
                    <a:lnTo>
                      <a:pt x="2376" y="1766"/>
                    </a:lnTo>
                    <a:lnTo>
                      <a:pt x="2377" y="1750"/>
                    </a:lnTo>
                    <a:lnTo>
                      <a:pt x="2377" y="1750"/>
                    </a:lnTo>
                    <a:lnTo>
                      <a:pt x="2377" y="1737"/>
                    </a:lnTo>
                    <a:lnTo>
                      <a:pt x="2375" y="1725"/>
                    </a:lnTo>
                    <a:lnTo>
                      <a:pt x="2374" y="1712"/>
                    </a:lnTo>
                    <a:lnTo>
                      <a:pt x="2371" y="1701"/>
                    </a:lnTo>
                    <a:lnTo>
                      <a:pt x="2367" y="1691"/>
                    </a:lnTo>
                    <a:lnTo>
                      <a:pt x="2363" y="1682"/>
                    </a:lnTo>
                    <a:lnTo>
                      <a:pt x="2357" y="1673"/>
                    </a:lnTo>
                    <a:lnTo>
                      <a:pt x="2352" y="1665"/>
                    </a:lnTo>
                    <a:lnTo>
                      <a:pt x="2345" y="1657"/>
                    </a:lnTo>
                    <a:lnTo>
                      <a:pt x="2339" y="1652"/>
                    </a:lnTo>
                    <a:lnTo>
                      <a:pt x="2331" y="1646"/>
                    </a:lnTo>
                    <a:lnTo>
                      <a:pt x="2322" y="1642"/>
                    </a:lnTo>
                    <a:lnTo>
                      <a:pt x="2313" y="1639"/>
                    </a:lnTo>
                    <a:lnTo>
                      <a:pt x="2304" y="1635"/>
                    </a:lnTo>
                    <a:lnTo>
                      <a:pt x="2294" y="1634"/>
                    </a:lnTo>
                    <a:lnTo>
                      <a:pt x="2283" y="1633"/>
                    </a:lnTo>
                    <a:lnTo>
                      <a:pt x="2283" y="1633"/>
                    </a:lnTo>
                    <a:lnTo>
                      <a:pt x="2274" y="1634"/>
                    </a:lnTo>
                    <a:lnTo>
                      <a:pt x="2264" y="1635"/>
                    </a:lnTo>
                    <a:lnTo>
                      <a:pt x="2254" y="1639"/>
                    </a:lnTo>
                    <a:lnTo>
                      <a:pt x="2244" y="1642"/>
                    </a:lnTo>
                    <a:lnTo>
                      <a:pt x="2235" y="1646"/>
                    </a:lnTo>
                    <a:lnTo>
                      <a:pt x="2227" y="1653"/>
                    </a:lnTo>
                    <a:lnTo>
                      <a:pt x="2219" y="1658"/>
                    </a:lnTo>
                    <a:lnTo>
                      <a:pt x="2213" y="1666"/>
                    </a:lnTo>
                    <a:lnTo>
                      <a:pt x="2206" y="1674"/>
                    </a:lnTo>
                    <a:lnTo>
                      <a:pt x="2201" y="1683"/>
                    </a:lnTo>
                    <a:lnTo>
                      <a:pt x="2196" y="1693"/>
                    </a:lnTo>
                    <a:lnTo>
                      <a:pt x="2192" y="1703"/>
                    </a:lnTo>
                    <a:lnTo>
                      <a:pt x="2189" y="1714"/>
                    </a:lnTo>
                    <a:lnTo>
                      <a:pt x="2186" y="1726"/>
                    </a:lnTo>
                    <a:lnTo>
                      <a:pt x="2185" y="1737"/>
                    </a:lnTo>
                    <a:lnTo>
                      <a:pt x="2184" y="1750"/>
                    </a:lnTo>
                    <a:lnTo>
                      <a:pt x="2184" y="1750"/>
                    </a:lnTo>
                    <a:lnTo>
                      <a:pt x="2185" y="1762"/>
                    </a:lnTo>
                    <a:lnTo>
                      <a:pt x="2186" y="1774"/>
                    </a:lnTo>
                    <a:lnTo>
                      <a:pt x="2189" y="1786"/>
                    </a:lnTo>
                    <a:lnTo>
                      <a:pt x="2192" y="1797"/>
                    </a:lnTo>
                    <a:lnTo>
                      <a:pt x="2196" y="1807"/>
                    </a:lnTo>
                    <a:lnTo>
                      <a:pt x="2201" y="1817"/>
                    </a:lnTo>
                    <a:lnTo>
                      <a:pt x="2206" y="1826"/>
                    </a:lnTo>
                    <a:lnTo>
                      <a:pt x="2213" y="1834"/>
                    </a:lnTo>
                    <a:lnTo>
                      <a:pt x="2221" y="1840"/>
                    </a:lnTo>
                    <a:lnTo>
                      <a:pt x="2228" y="1847"/>
                    </a:lnTo>
                    <a:lnTo>
                      <a:pt x="2237" y="1853"/>
                    </a:lnTo>
                    <a:lnTo>
                      <a:pt x="2246" y="1857"/>
                    </a:lnTo>
                    <a:lnTo>
                      <a:pt x="2256" y="1860"/>
                    </a:lnTo>
                    <a:lnTo>
                      <a:pt x="2267" y="1864"/>
                    </a:lnTo>
                    <a:lnTo>
                      <a:pt x="2278" y="1865"/>
                    </a:lnTo>
                    <a:lnTo>
                      <a:pt x="2290" y="1866"/>
                    </a:lnTo>
                    <a:lnTo>
                      <a:pt x="2290" y="1866"/>
                    </a:lnTo>
                    <a:lnTo>
                      <a:pt x="2301" y="1865"/>
                    </a:lnTo>
                    <a:lnTo>
                      <a:pt x="2311" y="1864"/>
                    </a:lnTo>
                    <a:lnTo>
                      <a:pt x="2322" y="1860"/>
                    </a:lnTo>
                    <a:lnTo>
                      <a:pt x="2332" y="1857"/>
                    </a:lnTo>
                    <a:lnTo>
                      <a:pt x="2342" y="1851"/>
                    </a:lnTo>
                    <a:lnTo>
                      <a:pt x="2351" y="1846"/>
                    </a:lnTo>
                    <a:lnTo>
                      <a:pt x="2360" y="1838"/>
                    </a:lnTo>
                    <a:lnTo>
                      <a:pt x="2368" y="1830"/>
                    </a:lnTo>
                    <a:lnTo>
                      <a:pt x="2333" y="1796"/>
                    </a:lnTo>
                    <a:close/>
                    <a:moveTo>
                      <a:pt x="2242" y="1726"/>
                    </a:moveTo>
                    <a:lnTo>
                      <a:pt x="2242" y="1726"/>
                    </a:lnTo>
                    <a:lnTo>
                      <a:pt x="2243" y="1716"/>
                    </a:lnTo>
                    <a:lnTo>
                      <a:pt x="2245" y="1707"/>
                    </a:lnTo>
                    <a:lnTo>
                      <a:pt x="2248" y="1699"/>
                    </a:lnTo>
                    <a:lnTo>
                      <a:pt x="2254" y="1693"/>
                    </a:lnTo>
                    <a:lnTo>
                      <a:pt x="2259" y="1687"/>
                    </a:lnTo>
                    <a:lnTo>
                      <a:pt x="2266" y="1684"/>
                    </a:lnTo>
                    <a:lnTo>
                      <a:pt x="2274" y="1680"/>
                    </a:lnTo>
                    <a:lnTo>
                      <a:pt x="2282" y="1680"/>
                    </a:lnTo>
                    <a:lnTo>
                      <a:pt x="2282" y="1680"/>
                    </a:lnTo>
                    <a:lnTo>
                      <a:pt x="2292" y="1682"/>
                    </a:lnTo>
                    <a:lnTo>
                      <a:pt x="2301" y="1684"/>
                    </a:lnTo>
                    <a:lnTo>
                      <a:pt x="2308" y="1688"/>
                    </a:lnTo>
                    <a:lnTo>
                      <a:pt x="2313" y="1695"/>
                    </a:lnTo>
                    <a:lnTo>
                      <a:pt x="2318" y="1701"/>
                    </a:lnTo>
                    <a:lnTo>
                      <a:pt x="2321" y="1709"/>
                    </a:lnTo>
                    <a:lnTo>
                      <a:pt x="2323" y="1718"/>
                    </a:lnTo>
                    <a:lnTo>
                      <a:pt x="2324" y="1726"/>
                    </a:lnTo>
                    <a:lnTo>
                      <a:pt x="2242" y="1726"/>
                    </a:lnTo>
                    <a:close/>
                    <a:moveTo>
                      <a:pt x="2864" y="1796"/>
                    </a:moveTo>
                    <a:lnTo>
                      <a:pt x="2864" y="1796"/>
                    </a:lnTo>
                    <a:lnTo>
                      <a:pt x="2855" y="1803"/>
                    </a:lnTo>
                    <a:lnTo>
                      <a:pt x="2846" y="1808"/>
                    </a:lnTo>
                    <a:lnTo>
                      <a:pt x="2840" y="1811"/>
                    </a:lnTo>
                    <a:lnTo>
                      <a:pt x="2834" y="1813"/>
                    </a:lnTo>
                    <a:lnTo>
                      <a:pt x="2828" y="1814"/>
                    </a:lnTo>
                    <a:lnTo>
                      <a:pt x="2820" y="1815"/>
                    </a:lnTo>
                    <a:lnTo>
                      <a:pt x="2820" y="1815"/>
                    </a:lnTo>
                    <a:lnTo>
                      <a:pt x="2814" y="1814"/>
                    </a:lnTo>
                    <a:lnTo>
                      <a:pt x="2808" y="1814"/>
                    </a:lnTo>
                    <a:lnTo>
                      <a:pt x="2800" y="1812"/>
                    </a:lnTo>
                    <a:lnTo>
                      <a:pt x="2792" y="1807"/>
                    </a:lnTo>
                    <a:lnTo>
                      <a:pt x="2784" y="1802"/>
                    </a:lnTo>
                    <a:lnTo>
                      <a:pt x="2781" y="1797"/>
                    </a:lnTo>
                    <a:lnTo>
                      <a:pt x="2778" y="1793"/>
                    </a:lnTo>
                    <a:lnTo>
                      <a:pt x="2776" y="1787"/>
                    </a:lnTo>
                    <a:lnTo>
                      <a:pt x="2773" y="1781"/>
                    </a:lnTo>
                    <a:lnTo>
                      <a:pt x="2771" y="1774"/>
                    </a:lnTo>
                    <a:lnTo>
                      <a:pt x="2770" y="1766"/>
                    </a:lnTo>
                    <a:lnTo>
                      <a:pt x="2907" y="1766"/>
                    </a:lnTo>
                    <a:lnTo>
                      <a:pt x="2907" y="1766"/>
                    </a:lnTo>
                    <a:lnTo>
                      <a:pt x="2908" y="1750"/>
                    </a:lnTo>
                    <a:lnTo>
                      <a:pt x="2908" y="1750"/>
                    </a:lnTo>
                    <a:lnTo>
                      <a:pt x="2907" y="1737"/>
                    </a:lnTo>
                    <a:lnTo>
                      <a:pt x="2906" y="1725"/>
                    </a:lnTo>
                    <a:lnTo>
                      <a:pt x="2904" y="1712"/>
                    </a:lnTo>
                    <a:lnTo>
                      <a:pt x="2901" y="1701"/>
                    </a:lnTo>
                    <a:lnTo>
                      <a:pt x="2897" y="1691"/>
                    </a:lnTo>
                    <a:lnTo>
                      <a:pt x="2893" y="1682"/>
                    </a:lnTo>
                    <a:lnTo>
                      <a:pt x="2888" y="1673"/>
                    </a:lnTo>
                    <a:lnTo>
                      <a:pt x="2883" y="1665"/>
                    </a:lnTo>
                    <a:lnTo>
                      <a:pt x="2876" y="1657"/>
                    </a:lnTo>
                    <a:lnTo>
                      <a:pt x="2868" y="1652"/>
                    </a:lnTo>
                    <a:lnTo>
                      <a:pt x="2861" y="1646"/>
                    </a:lnTo>
                    <a:lnTo>
                      <a:pt x="2853" y="1642"/>
                    </a:lnTo>
                    <a:lnTo>
                      <a:pt x="2844" y="1639"/>
                    </a:lnTo>
                    <a:lnTo>
                      <a:pt x="2834" y="1635"/>
                    </a:lnTo>
                    <a:lnTo>
                      <a:pt x="2824" y="1634"/>
                    </a:lnTo>
                    <a:lnTo>
                      <a:pt x="2814" y="1633"/>
                    </a:lnTo>
                    <a:lnTo>
                      <a:pt x="2814" y="1633"/>
                    </a:lnTo>
                    <a:lnTo>
                      <a:pt x="2803" y="1634"/>
                    </a:lnTo>
                    <a:lnTo>
                      <a:pt x="2793" y="1635"/>
                    </a:lnTo>
                    <a:lnTo>
                      <a:pt x="2783" y="1639"/>
                    </a:lnTo>
                    <a:lnTo>
                      <a:pt x="2775" y="1642"/>
                    </a:lnTo>
                    <a:lnTo>
                      <a:pt x="2766" y="1646"/>
                    </a:lnTo>
                    <a:lnTo>
                      <a:pt x="2757" y="1653"/>
                    </a:lnTo>
                    <a:lnTo>
                      <a:pt x="2750" y="1658"/>
                    </a:lnTo>
                    <a:lnTo>
                      <a:pt x="2743" y="1666"/>
                    </a:lnTo>
                    <a:lnTo>
                      <a:pt x="2736" y="1674"/>
                    </a:lnTo>
                    <a:lnTo>
                      <a:pt x="2730" y="1683"/>
                    </a:lnTo>
                    <a:lnTo>
                      <a:pt x="2726" y="1693"/>
                    </a:lnTo>
                    <a:lnTo>
                      <a:pt x="2722" y="1703"/>
                    </a:lnTo>
                    <a:lnTo>
                      <a:pt x="2719" y="1714"/>
                    </a:lnTo>
                    <a:lnTo>
                      <a:pt x="2716" y="1726"/>
                    </a:lnTo>
                    <a:lnTo>
                      <a:pt x="2715" y="1737"/>
                    </a:lnTo>
                    <a:lnTo>
                      <a:pt x="2715" y="1750"/>
                    </a:lnTo>
                    <a:lnTo>
                      <a:pt x="2715" y="1750"/>
                    </a:lnTo>
                    <a:lnTo>
                      <a:pt x="2715" y="1762"/>
                    </a:lnTo>
                    <a:lnTo>
                      <a:pt x="2716" y="1774"/>
                    </a:lnTo>
                    <a:lnTo>
                      <a:pt x="2718" y="1786"/>
                    </a:lnTo>
                    <a:lnTo>
                      <a:pt x="2722" y="1797"/>
                    </a:lnTo>
                    <a:lnTo>
                      <a:pt x="2726" y="1807"/>
                    </a:lnTo>
                    <a:lnTo>
                      <a:pt x="2732" y="1817"/>
                    </a:lnTo>
                    <a:lnTo>
                      <a:pt x="2737" y="1826"/>
                    </a:lnTo>
                    <a:lnTo>
                      <a:pt x="2744" y="1834"/>
                    </a:lnTo>
                    <a:lnTo>
                      <a:pt x="2750" y="1840"/>
                    </a:lnTo>
                    <a:lnTo>
                      <a:pt x="2758" y="1847"/>
                    </a:lnTo>
                    <a:lnTo>
                      <a:pt x="2767" y="1853"/>
                    </a:lnTo>
                    <a:lnTo>
                      <a:pt x="2777" y="1857"/>
                    </a:lnTo>
                    <a:lnTo>
                      <a:pt x="2787" y="1860"/>
                    </a:lnTo>
                    <a:lnTo>
                      <a:pt x="2797" y="1864"/>
                    </a:lnTo>
                    <a:lnTo>
                      <a:pt x="2809" y="1865"/>
                    </a:lnTo>
                    <a:lnTo>
                      <a:pt x="2820" y="1866"/>
                    </a:lnTo>
                    <a:lnTo>
                      <a:pt x="2820" y="1866"/>
                    </a:lnTo>
                    <a:lnTo>
                      <a:pt x="2831" y="1865"/>
                    </a:lnTo>
                    <a:lnTo>
                      <a:pt x="2842" y="1864"/>
                    </a:lnTo>
                    <a:lnTo>
                      <a:pt x="2852" y="1860"/>
                    </a:lnTo>
                    <a:lnTo>
                      <a:pt x="2862" y="1857"/>
                    </a:lnTo>
                    <a:lnTo>
                      <a:pt x="2872" y="1851"/>
                    </a:lnTo>
                    <a:lnTo>
                      <a:pt x="2882" y="1846"/>
                    </a:lnTo>
                    <a:lnTo>
                      <a:pt x="2890" y="1838"/>
                    </a:lnTo>
                    <a:lnTo>
                      <a:pt x="2898" y="1830"/>
                    </a:lnTo>
                    <a:lnTo>
                      <a:pt x="2864" y="1796"/>
                    </a:lnTo>
                    <a:close/>
                    <a:moveTo>
                      <a:pt x="2771" y="1726"/>
                    </a:moveTo>
                    <a:lnTo>
                      <a:pt x="2771" y="1726"/>
                    </a:lnTo>
                    <a:lnTo>
                      <a:pt x="2772" y="1716"/>
                    </a:lnTo>
                    <a:lnTo>
                      <a:pt x="2776" y="1707"/>
                    </a:lnTo>
                    <a:lnTo>
                      <a:pt x="2779" y="1699"/>
                    </a:lnTo>
                    <a:lnTo>
                      <a:pt x="2783" y="1693"/>
                    </a:lnTo>
                    <a:lnTo>
                      <a:pt x="2790" y="1687"/>
                    </a:lnTo>
                    <a:lnTo>
                      <a:pt x="2797" y="1684"/>
                    </a:lnTo>
                    <a:lnTo>
                      <a:pt x="2804" y="1680"/>
                    </a:lnTo>
                    <a:lnTo>
                      <a:pt x="2813" y="1680"/>
                    </a:lnTo>
                    <a:lnTo>
                      <a:pt x="2813" y="1680"/>
                    </a:lnTo>
                    <a:lnTo>
                      <a:pt x="2823" y="1682"/>
                    </a:lnTo>
                    <a:lnTo>
                      <a:pt x="2831" y="1684"/>
                    </a:lnTo>
                    <a:lnTo>
                      <a:pt x="2839" y="1688"/>
                    </a:lnTo>
                    <a:lnTo>
                      <a:pt x="2844" y="1695"/>
                    </a:lnTo>
                    <a:lnTo>
                      <a:pt x="2849" y="1701"/>
                    </a:lnTo>
                    <a:lnTo>
                      <a:pt x="2852" y="1709"/>
                    </a:lnTo>
                    <a:lnTo>
                      <a:pt x="2854" y="1718"/>
                    </a:lnTo>
                    <a:lnTo>
                      <a:pt x="2855" y="1726"/>
                    </a:lnTo>
                    <a:lnTo>
                      <a:pt x="2771" y="1726"/>
                    </a:lnTo>
                    <a:close/>
                    <a:moveTo>
                      <a:pt x="2639" y="1783"/>
                    </a:moveTo>
                    <a:lnTo>
                      <a:pt x="2639" y="1783"/>
                    </a:lnTo>
                    <a:lnTo>
                      <a:pt x="2639" y="1791"/>
                    </a:lnTo>
                    <a:lnTo>
                      <a:pt x="2640" y="1796"/>
                    </a:lnTo>
                    <a:lnTo>
                      <a:pt x="2642" y="1802"/>
                    </a:lnTo>
                    <a:lnTo>
                      <a:pt x="2644" y="1806"/>
                    </a:lnTo>
                    <a:lnTo>
                      <a:pt x="2648" y="1810"/>
                    </a:lnTo>
                    <a:lnTo>
                      <a:pt x="2652" y="1812"/>
                    </a:lnTo>
                    <a:lnTo>
                      <a:pt x="2656" y="1813"/>
                    </a:lnTo>
                    <a:lnTo>
                      <a:pt x="2663" y="1813"/>
                    </a:lnTo>
                    <a:lnTo>
                      <a:pt x="2663" y="1813"/>
                    </a:lnTo>
                    <a:lnTo>
                      <a:pt x="2671" y="1813"/>
                    </a:lnTo>
                    <a:lnTo>
                      <a:pt x="2680" y="1811"/>
                    </a:lnTo>
                    <a:lnTo>
                      <a:pt x="2688" y="1807"/>
                    </a:lnTo>
                    <a:lnTo>
                      <a:pt x="2696" y="1803"/>
                    </a:lnTo>
                    <a:lnTo>
                      <a:pt x="2690" y="1855"/>
                    </a:lnTo>
                    <a:lnTo>
                      <a:pt x="2690" y="1855"/>
                    </a:lnTo>
                    <a:lnTo>
                      <a:pt x="2680" y="1859"/>
                    </a:lnTo>
                    <a:lnTo>
                      <a:pt x="2668" y="1862"/>
                    </a:lnTo>
                    <a:lnTo>
                      <a:pt x="2655" y="1865"/>
                    </a:lnTo>
                    <a:lnTo>
                      <a:pt x="2643" y="1866"/>
                    </a:lnTo>
                    <a:lnTo>
                      <a:pt x="2643" y="1866"/>
                    </a:lnTo>
                    <a:lnTo>
                      <a:pt x="2636" y="1865"/>
                    </a:lnTo>
                    <a:lnTo>
                      <a:pt x="2628" y="1864"/>
                    </a:lnTo>
                    <a:lnTo>
                      <a:pt x="2621" y="1861"/>
                    </a:lnTo>
                    <a:lnTo>
                      <a:pt x="2616" y="1859"/>
                    </a:lnTo>
                    <a:lnTo>
                      <a:pt x="2610" y="1856"/>
                    </a:lnTo>
                    <a:lnTo>
                      <a:pt x="2605" y="1853"/>
                    </a:lnTo>
                    <a:lnTo>
                      <a:pt x="2601" y="1848"/>
                    </a:lnTo>
                    <a:lnTo>
                      <a:pt x="2597" y="1843"/>
                    </a:lnTo>
                    <a:lnTo>
                      <a:pt x="2591" y="1833"/>
                    </a:lnTo>
                    <a:lnTo>
                      <a:pt x="2587" y="1821"/>
                    </a:lnTo>
                    <a:lnTo>
                      <a:pt x="2585" y="1810"/>
                    </a:lnTo>
                    <a:lnTo>
                      <a:pt x="2584" y="1797"/>
                    </a:lnTo>
                    <a:lnTo>
                      <a:pt x="2584" y="1689"/>
                    </a:lnTo>
                    <a:lnTo>
                      <a:pt x="2549" y="1689"/>
                    </a:lnTo>
                    <a:lnTo>
                      <a:pt x="2549" y="1639"/>
                    </a:lnTo>
                    <a:lnTo>
                      <a:pt x="2584" y="1639"/>
                    </a:lnTo>
                    <a:lnTo>
                      <a:pt x="2584" y="1581"/>
                    </a:lnTo>
                    <a:lnTo>
                      <a:pt x="2639" y="1554"/>
                    </a:lnTo>
                    <a:lnTo>
                      <a:pt x="2639" y="1639"/>
                    </a:lnTo>
                    <a:lnTo>
                      <a:pt x="2688" y="1639"/>
                    </a:lnTo>
                    <a:lnTo>
                      <a:pt x="2688" y="1689"/>
                    </a:lnTo>
                    <a:lnTo>
                      <a:pt x="2639" y="1689"/>
                    </a:lnTo>
                    <a:lnTo>
                      <a:pt x="2639" y="1783"/>
                    </a:lnTo>
                    <a:close/>
                    <a:moveTo>
                      <a:pt x="2532" y="1855"/>
                    </a:moveTo>
                    <a:lnTo>
                      <a:pt x="2532" y="1855"/>
                    </a:lnTo>
                    <a:lnTo>
                      <a:pt x="2522" y="1859"/>
                    </a:lnTo>
                    <a:lnTo>
                      <a:pt x="2511" y="1862"/>
                    </a:lnTo>
                    <a:lnTo>
                      <a:pt x="2499" y="1865"/>
                    </a:lnTo>
                    <a:lnTo>
                      <a:pt x="2487" y="1866"/>
                    </a:lnTo>
                    <a:lnTo>
                      <a:pt x="2487" y="1866"/>
                    </a:lnTo>
                    <a:lnTo>
                      <a:pt x="2478" y="1865"/>
                    </a:lnTo>
                    <a:lnTo>
                      <a:pt x="2471" y="1864"/>
                    </a:lnTo>
                    <a:lnTo>
                      <a:pt x="2464" y="1861"/>
                    </a:lnTo>
                    <a:lnTo>
                      <a:pt x="2458" y="1859"/>
                    </a:lnTo>
                    <a:lnTo>
                      <a:pt x="2453" y="1856"/>
                    </a:lnTo>
                    <a:lnTo>
                      <a:pt x="2448" y="1853"/>
                    </a:lnTo>
                    <a:lnTo>
                      <a:pt x="2443" y="1848"/>
                    </a:lnTo>
                    <a:lnTo>
                      <a:pt x="2440" y="1843"/>
                    </a:lnTo>
                    <a:lnTo>
                      <a:pt x="2434" y="1833"/>
                    </a:lnTo>
                    <a:lnTo>
                      <a:pt x="2430" y="1821"/>
                    </a:lnTo>
                    <a:lnTo>
                      <a:pt x="2427" y="1810"/>
                    </a:lnTo>
                    <a:lnTo>
                      <a:pt x="2427" y="1797"/>
                    </a:lnTo>
                    <a:lnTo>
                      <a:pt x="2427" y="1689"/>
                    </a:lnTo>
                    <a:lnTo>
                      <a:pt x="2393" y="1689"/>
                    </a:lnTo>
                    <a:lnTo>
                      <a:pt x="2393" y="1639"/>
                    </a:lnTo>
                    <a:lnTo>
                      <a:pt x="2427" y="1639"/>
                    </a:lnTo>
                    <a:lnTo>
                      <a:pt x="2427" y="1581"/>
                    </a:lnTo>
                    <a:lnTo>
                      <a:pt x="2482" y="1554"/>
                    </a:lnTo>
                    <a:lnTo>
                      <a:pt x="2482" y="1639"/>
                    </a:lnTo>
                    <a:lnTo>
                      <a:pt x="2528" y="1639"/>
                    </a:lnTo>
                    <a:lnTo>
                      <a:pt x="2528" y="1689"/>
                    </a:lnTo>
                    <a:lnTo>
                      <a:pt x="2482" y="1689"/>
                    </a:lnTo>
                    <a:lnTo>
                      <a:pt x="2482" y="1783"/>
                    </a:lnTo>
                    <a:lnTo>
                      <a:pt x="2482" y="1783"/>
                    </a:lnTo>
                    <a:lnTo>
                      <a:pt x="2482" y="1791"/>
                    </a:lnTo>
                    <a:lnTo>
                      <a:pt x="2483" y="1796"/>
                    </a:lnTo>
                    <a:lnTo>
                      <a:pt x="2485" y="1802"/>
                    </a:lnTo>
                    <a:lnTo>
                      <a:pt x="2488" y="1806"/>
                    </a:lnTo>
                    <a:lnTo>
                      <a:pt x="2491" y="1810"/>
                    </a:lnTo>
                    <a:lnTo>
                      <a:pt x="2495" y="1812"/>
                    </a:lnTo>
                    <a:lnTo>
                      <a:pt x="2500" y="1813"/>
                    </a:lnTo>
                    <a:lnTo>
                      <a:pt x="2505" y="1813"/>
                    </a:lnTo>
                    <a:lnTo>
                      <a:pt x="2505" y="1813"/>
                    </a:lnTo>
                    <a:lnTo>
                      <a:pt x="2514" y="1813"/>
                    </a:lnTo>
                    <a:lnTo>
                      <a:pt x="2523" y="1811"/>
                    </a:lnTo>
                    <a:lnTo>
                      <a:pt x="2531" y="1807"/>
                    </a:lnTo>
                    <a:lnTo>
                      <a:pt x="2538" y="1803"/>
                    </a:lnTo>
                    <a:lnTo>
                      <a:pt x="2532" y="1855"/>
                    </a:lnTo>
                    <a:close/>
                    <a:moveTo>
                      <a:pt x="3074" y="1700"/>
                    </a:moveTo>
                    <a:lnTo>
                      <a:pt x="3074" y="1700"/>
                    </a:lnTo>
                    <a:lnTo>
                      <a:pt x="3066" y="1695"/>
                    </a:lnTo>
                    <a:lnTo>
                      <a:pt x="3057" y="1691"/>
                    </a:lnTo>
                    <a:lnTo>
                      <a:pt x="3047" y="1689"/>
                    </a:lnTo>
                    <a:lnTo>
                      <a:pt x="3037" y="1688"/>
                    </a:lnTo>
                    <a:lnTo>
                      <a:pt x="3037" y="1688"/>
                    </a:lnTo>
                    <a:lnTo>
                      <a:pt x="3028" y="1689"/>
                    </a:lnTo>
                    <a:lnTo>
                      <a:pt x="3020" y="1691"/>
                    </a:lnTo>
                    <a:lnTo>
                      <a:pt x="3013" y="1696"/>
                    </a:lnTo>
                    <a:lnTo>
                      <a:pt x="3007" y="1701"/>
                    </a:lnTo>
                    <a:lnTo>
                      <a:pt x="3003" y="1708"/>
                    </a:lnTo>
                    <a:lnTo>
                      <a:pt x="3001" y="1717"/>
                    </a:lnTo>
                    <a:lnTo>
                      <a:pt x="2999" y="1728"/>
                    </a:lnTo>
                    <a:lnTo>
                      <a:pt x="2998" y="1740"/>
                    </a:lnTo>
                    <a:lnTo>
                      <a:pt x="2998" y="1860"/>
                    </a:lnTo>
                    <a:lnTo>
                      <a:pt x="2943" y="1860"/>
                    </a:lnTo>
                    <a:lnTo>
                      <a:pt x="2943" y="1639"/>
                    </a:lnTo>
                    <a:lnTo>
                      <a:pt x="2998" y="1639"/>
                    </a:lnTo>
                    <a:lnTo>
                      <a:pt x="2998" y="1657"/>
                    </a:lnTo>
                    <a:lnTo>
                      <a:pt x="2998" y="1657"/>
                    </a:lnTo>
                    <a:lnTo>
                      <a:pt x="3003" y="1652"/>
                    </a:lnTo>
                    <a:lnTo>
                      <a:pt x="3009" y="1646"/>
                    </a:lnTo>
                    <a:lnTo>
                      <a:pt x="3014" y="1643"/>
                    </a:lnTo>
                    <a:lnTo>
                      <a:pt x="3021" y="1640"/>
                    </a:lnTo>
                    <a:lnTo>
                      <a:pt x="3026" y="1636"/>
                    </a:lnTo>
                    <a:lnTo>
                      <a:pt x="3033" y="1635"/>
                    </a:lnTo>
                    <a:lnTo>
                      <a:pt x="3039" y="1634"/>
                    </a:lnTo>
                    <a:lnTo>
                      <a:pt x="3047" y="1633"/>
                    </a:lnTo>
                    <a:lnTo>
                      <a:pt x="3047" y="1633"/>
                    </a:lnTo>
                    <a:lnTo>
                      <a:pt x="3058" y="1634"/>
                    </a:lnTo>
                    <a:lnTo>
                      <a:pt x="3069" y="1637"/>
                    </a:lnTo>
                    <a:lnTo>
                      <a:pt x="3079" y="1641"/>
                    </a:lnTo>
                    <a:lnTo>
                      <a:pt x="3088" y="1646"/>
                    </a:lnTo>
                    <a:lnTo>
                      <a:pt x="3074" y="1700"/>
                    </a:lnTo>
                    <a:close/>
                    <a:moveTo>
                      <a:pt x="593" y="1579"/>
                    </a:moveTo>
                    <a:lnTo>
                      <a:pt x="593" y="1607"/>
                    </a:lnTo>
                    <a:lnTo>
                      <a:pt x="537" y="1607"/>
                    </a:lnTo>
                    <a:lnTo>
                      <a:pt x="537" y="1551"/>
                    </a:lnTo>
                    <a:lnTo>
                      <a:pt x="593" y="1551"/>
                    </a:lnTo>
                    <a:lnTo>
                      <a:pt x="593" y="1579"/>
                    </a:lnTo>
                    <a:close/>
                    <a:moveTo>
                      <a:pt x="975" y="1639"/>
                    </a:moveTo>
                    <a:lnTo>
                      <a:pt x="1030" y="1639"/>
                    </a:lnTo>
                    <a:lnTo>
                      <a:pt x="1030" y="1738"/>
                    </a:lnTo>
                    <a:lnTo>
                      <a:pt x="1030" y="1860"/>
                    </a:lnTo>
                    <a:lnTo>
                      <a:pt x="975" y="1860"/>
                    </a:lnTo>
                    <a:lnTo>
                      <a:pt x="975" y="1639"/>
                    </a:lnTo>
                    <a:close/>
                    <a:moveTo>
                      <a:pt x="1030" y="1579"/>
                    </a:moveTo>
                    <a:lnTo>
                      <a:pt x="1030" y="1607"/>
                    </a:lnTo>
                    <a:lnTo>
                      <a:pt x="975" y="1607"/>
                    </a:lnTo>
                    <a:lnTo>
                      <a:pt x="975" y="1551"/>
                    </a:lnTo>
                    <a:lnTo>
                      <a:pt x="1030" y="1551"/>
                    </a:lnTo>
                    <a:lnTo>
                      <a:pt x="1030" y="1579"/>
                    </a:lnTo>
                    <a:close/>
                    <a:moveTo>
                      <a:pt x="2539" y="2042"/>
                    </a:moveTo>
                    <a:lnTo>
                      <a:pt x="2539" y="2042"/>
                    </a:lnTo>
                    <a:lnTo>
                      <a:pt x="2534" y="2038"/>
                    </a:lnTo>
                    <a:lnTo>
                      <a:pt x="2528" y="2033"/>
                    </a:lnTo>
                    <a:lnTo>
                      <a:pt x="2523" y="2030"/>
                    </a:lnTo>
                    <a:lnTo>
                      <a:pt x="2516" y="2027"/>
                    </a:lnTo>
                    <a:lnTo>
                      <a:pt x="2511" y="2025"/>
                    </a:lnTo>
                    <a:lnTo>
                      <a:pt x="2504" y="2024"/>
                    </a:lnTo>
                    <a:lnTo>
                      <a:pt x="2490" y="2021"/>
                    </a:lnTo>
                    <a:lnTo>
                      <a:pt x="2490" y="2021"/>
                    </a:lnTo>
                    <a:lnTo>
                      <a:pt x="2480" y="2022"/>
                    </a:lnTo>
                    <a:lnTo>
                      <a:pt x="2471" y="2024"/>
                    </a:lnTo>
                    <a:lnTo>
                      <a:pt x="2462" y="2027"/>
                    </a:lnTo>
                    <a:lnTo>
                      <a:pt x="2453" y="2030"/>
                    </a:lnTo>
                    <a:lnTo>
                      <a:pt x="2446" y="2035"/>
                    </a:lnTo>
                    <a:lnTo>
                      <a:pt x="2439" y="2039"/>
                    </a:lnTo>
                    <a:lnTo>
                      <a:pt x="2432" y="2046"/>
                    </a:lnTo>
                    <a:lnTo>
                      <a:pt x="2426" y="2052"/>
                    </a:lnTo>
                    <a:lnTo>
                      <a:pt x="2421" y="2060"/>
                    </a:lnTo>
                    <a:lnTo>
                      <a:pt x="2416" y="2069"/>
                    </a:lnTo>
                    <a:lnTo>
                      <a:pt x="2413" y="2078"/>
                    </a:lnTo>
                    <a:lnTo>
                      <a:pt x="2409" y="2089"/>
                    </a:lnTo>
                    <a:lnTo>
                      <a:pt x="2406" y="2099"/>
                    </a:lnTo>
                    <a:lnTo>
                      <a:pt x="2405" y="2111"/>
                    </a:lnTo>
                    <a:lnTo>
                      <a:pt x="2404" y="2123"/>
                    </a:lnTo>
                    <a:lnTo>
                      <a:pt x="2403" y="2136"/>
                    </a:lnTo>
                    <a:lnTo>
                      <a:pt x="2403" y="2136"/>
                    </a:lnTo>
                    <a:lnTo>
                      <a:pt x="2404" y="2149"/>
                    </a:lnTo>
                    <a:lnTo>
                      <a:pt x="2405" y="2161"/>
                    </a:lnTo>
                    <a:lnTo>
                      <a:pt x="2406" y="2174"/>
                    </a:lnTo>
                    <a:lnTo>
                      <a:pt x="2409" y="2186"/>
                    </a:lnTo>
                    <a:lnTo>
                      <a:pt x="2411" y="2196"/>
                    </a:lnTo>
                    <a:lnTo>
                      <a:pt x="2416" y="2206"/>
                    </a:lnTo>
                    <a:lnTo>
                      <a:pt x="2420" y="2214"/>
                    </a:lnTo>
                    <a:lnTo>
                      <a:pt x="2426" y="2222"/>
                    </a:lnTo>
                    <a:lnTo>
                      <a:pt x="2431" y="2230"/>
                    </a:lnTo>
                    <a:lnTo>
                      <a:pt x="2438" y="2235"/>
                    </a:lnTo>
                    <a:lnTo>
                      <a:pt x="2445" y="2241"/>
                    </a:lnTo>
                    <a:lnTo>
                      <a:pt x="2452" y="2245"/>
                    </a:lnTo>
                    <a:lnTo>
                      <a:pt x="2461" y="2250"/>
                    </a:lnTo>
                    <a:lnTo>
                      <a:pt x="2470" y="2252"/>
                    </a:lnTo>
                    <a:lnTo>
                      <a:pt x="2479" y="2253"/>
                    </a:lnTo>
                    <a:lnTo>
                      <a:pt x="2489" y="2254"/>
                    </a:lnTo>
                    <a:lnTo>
                      <a:pt x="2489" y="2254"/>
                    </a:lnTo>
                    <a:lnTo>
                      <a:pt x="2495" y="2253"/>
                    </a:lnTo>
                    <a:lnTo>
                      <a:pt x="2503" y="2252"/>
                    </a:lnTo>
                    <a:lnTo>
                      <a:pt x="2510" y="2251"/>
                    </a:lnTo>
                    <a:lnTo>
                      <a:pt x="2515" y="2249"/>
                    </a:lnTo>
                    <a:lnTo>
                      <a:pt x="2522" y="2245"/>
                    </a:lnTo>
                    <a:lnTo>
                      <a:pt x="2528" y="2242"/>
                    </a:lnTo>
                    <a:lnTo>
                      <a:pt x="2534" y="2238"/>
                    </a:lnTo>
                    <a:lnTo>
                      <a:pt x="2539" y="2232"/>
                    </a:lnTo>
                    <a:lnTo>
                      <a:pt x="2539" y="2249"/>
                    </a:lnTo>
                    <a:lnTo>
                      <a:pt x="2595" y="2249"/>
                    </a:lnTo>
                    <a:lnTo>
                      <a:pt x="2595" y="1934"/>
                    </a:lnTo>
                    <a:lnTo>
                      <a:pt x="2539" y="1962"/>
                    </a:lnTo>
                    <a:lnTo>
                      <a:pt x="2539" y="2042"/>
                    </a:lnTo>
                    <a:close/>
                    <a:moveTo>
                      <a:pt x="2501" y="2203"/>
                    </a:moveTo>
                    <a:lnTo>
                      <a:pt x="2501" y="2203"/>
                    </a:lnTo>
                    <a:lnTo>
                      <a:pt x="2493" y="2202"/>
                    </a:lnTo>
                    <a:lnTo>
                      <a:pt x="2487" y="2200"/>
                    </a:lnTo>
                    <a:lnTo>
                      <a:pt x="2479" y="2197"/>
                    </a:lnTo>
                    <a:lnTo>
                      <a:pt x="2472" y="2190"/>
                    </a:lnTo>
                    <a:lnTo>
                      <a:pt x="2467" y="2181"/>
                    </a:lnTo>
                    <a:lnTo>
                      <a:pt x="2462" y="2169"/>
                    </a:lnTo>
                    <a:lnTo>
                      <a:pt x="2460" y="2154"/>
                    </a:lnTo>
                    <a:lnTo>
                      <a:pt x="2459" y="2134"/>
                    </a:lnTo>
                    <a:lnTo>
                      <a:pt x="2459" y="2134"/>
                    </a:lnTo>
                    <a:lnTo>
                      <a:pt x="2460" y="2117"/>
                    </a:lnTo>
                    <a:lnTo>
                      <a:pt x="2462" y="2103"/>
                    </a:lnTo>
                    <a:lnTo>
                      <a:pt x="2467" y="2092"/>
                    </a:lnTo>
                    <a:lnTo>
                      <a:pt x="2472" y="2084"/>
                    </a:lnTo>
                    <a:lnTo>
                      <a:pt x="2479" y="2079"/>
                    </a:lnTo>
                    <a:lnTo>
                      <a:pt x="2485" y="2074"/>
                    </a:lnTo>
                    <a:lnTo>
                      <a:pt x="2493" y="2073"/>
                    </a:lnTo>
                    <a:lnTo>
                      <a:pt x="2500" y="2072"/>
                    </a:lnTo>
                    <a:lnTo>
                      <a:pt x="2500" y="2072"/>
                    </a:lnTo>
                    <a:lnTo>
                      <a:pt x="2507" y="2073"/>
                    </a:lnTo>
                    <a:lnTo>
                      <a:pt x="2514" y="2074"/>
                    </a:lnTo>
                    <a:lnTo>
                      <a:pt x="2520" y="2076"/>
                    </a:lnTo>
                    <a:lnTo>
                      <a:pt x="2525" y="2080"/>
                    </a:lnTo>
                    <a:lnTo>
                      <a:pt x="2530" y="2083"/>
                    </a:lnTo>
                    <a:lnTo>
                      <a:pt x="2534" y="2086"/>
                    </a:lnTo>
                    <a:lnTo>
                      <a:pt x="2539" y="2094"/>
                    </a:lnTo>
                    <a:lnTo>
                      <a:pt x="2539" y="2181"/>
                    </a:lnTo>
                    <a:lnTo>
                      <a:pt x="2539" y="2181"/>
                    </a:lnTo>
                    <a:lnTo>
                      <a:pt x="2533" y="2189"/>
                    </a:lnTo>
                    <a:lnTo>
                      <a:pt x="2525" y="2196"/>
                    </a:lnTo>
                    <a:lnTo>
                      <a:pt x="2520" y="2199"/>
                    </a:lnTo>
                    <a:lnTo>
                      <a:pt x="2514" y="2201"/>
                    </a:lnTo>
                    <a:lnTo>
                      <a:pt x="2507" y="2202"/>
                    </a:lnTo>
                    <a:lnTo>
                      <a:pt x="2501" y="2203"/>
                    </a:lnTo>
                    <a:lnTo>
                      <a:pt x="2501" y="2203"/>
                    </a:lnTo>
                    <a:close/>
                    <a:moveTo>
                      <a:pt x="672" y="2089"/>
                    </a:moveTo>
                    <a:lnTo>
                      <a:pt x="672" y="2089"/>
                    </a:lnTo>
                    <a:lnTo>
                      <a:pt x="664" y="2084"/>
                    </a:lnTo>
                    <a:lnTo>
                      <a:pt x="656" y="2080"/>
                    </a:lnTo>
                    <a:lnTo>
                      <a:pt x="646" y="2078"/>
                    </a:lnTo>
                    <a:lnTo>
                      <a:pt x="636" y="2076"/>
                    </a:lnTo>
                    <a:lnTo>
                      <a:pt x="636" y="2076"/>
                    </a:lnTo>
                    <a:lnTo>
                      <a:pt x="627" y="2078"/>
                    </a:lnTo>
                    <a:lnTo>
                      <a:pt x="618" y="2080"/>
                    </a:lnTo>
                    <a:lnTo>
                      <a:pt x="611" y="2084"/>
                    </a:lnTo>
                    <a:lnTo>
                      <a:pt x="606" y="2090"/>
                    </a:lnTo>
                    <a:lnTo>
                      <a:pt x="601" y="2096"/>
                    </a:lnTo>
                    <a:lnTo>
                      <a:pt x="599" y="2105"/>
                    </a:lnTo>
                    <a:lnTo>
                      <a:pt x="597" y="2116"/>
                    </a:lnTo>
                    <a:lnTo>
                      <a:pt x="596" y="2128"/>
                    </a:lnTo>
                    <a:lnTo>
                      <a:pt x="596" y="2249"/>
                    </a:lnTo>
                    <a:lnTo>
                      <a:pt x="542" y="2249"/>
                    </a:lnTo>
                    <a:lnTo>
                      <a:pt x="542" y="2027"/>
                    </a:lnTo>
                    <a:lnTo>
                      <a:pt x="596" y="2027"/>
                    </a:lnTo>
                    <a:lnTo>
                      <a:pt x="596" y="2046"/>
                    </a:lnTo>
                    <a:lnTo>
                      <a:pt x="596" y="2046"/>
                    </a:lnTo>
                    <a:lnTo>
                      <a:pt x="601" y="2040"/>
                    </a:lnTo>
                    <a:lnTo>
                      <a:pt x="607" y="2035"/>
                    </a:lnTo>
                    <a:lnTo>
                      <a:pt x="613" y="2031"/>
                    </a:lnTo>
                    <a:lnTo>
                      <a:pt x="619" y="2028"/>
                    </a:lnTo>
                    <a:lnTo>
                      <a:pt x="625" y="2025"/>
                    </a:lnTo>
                    <a:lnTo>
                      <a:pt x="631" y="2024"/>
                    </a:lnTo>
                    <a:lnTo>
                      <a:pt x="639" y="2022"/>
                    </a:lnTo>
                    <a:lnTo>
                      <a:pt x="646" y="2021"/>
                    </a:lnTo>
                    <a:lnTo>
                      <a:pt x="646" y="2021"/>
                    </a:lnTo>
                    <a:lnTo>
                      <a:pt x="657" y="2022"/>
                    </a:lnTo>
                    <a:lnTo>
                      <a:pt x="668" y="2026"/>
                    </a:lnTo>
                    <a:lnTo>
                      <a:pt x="679" y="2030"/>
                    </a:lnTo>
                    <a:lnTo>
                      <a:pt x="688" y="2036"/>
                    </a:lnTo>
                    <a:lnTo>
                      <a:pt x="672" y="2089"/>
                    </a:lnTo>
                    <a:close/>
                    <a:moveTo>
                      <a:pt x="241" y="2027"/>
                    </a:moveTo>
                    <a:lnTo>
                      <a:pt x="295" y="2027"/>
                    </a:lnTo>
                    <a:lnTo>
                      <a:pt x="232" y="2249"/>
                    </a:lnTo>
                    <a:lnTo>
                      <a:pt x="184" y="2249"/>
                    </a:lnTo>
                    <a:lnTo>
                      <a:pt x="160" y="2157"/>
                    </a:lnTo>
                    <a:lnTo>
                      <a:pt x="160" y="2157"/>
                    </a:lnTo>
                    <a:lnTo>
                      <a:pt x="148" y="2108"/>
                    </a:lnTo>
                    <a:lnTo>
                      <a:pt x="148" y="2108"/>
                    </a:lnTo>
                    <a:lnTo>
                      <a:pt x="142" y="2132"/>
                    </a:lnTo>
                    <a:lnTo>
                      <a:pt x="136" y="2158"/>
                    </a:lnTo>
                    <a:lnTo>
                      <a:pt x="110" y="2249"/>
                    </a:lnTo>
                    <a:lnTo>
                      <a:pt x="63" y="2249"/>
                    </a:lnTo>
                    <a:lnTo>
                      <a:pt x="63" y="2247"/>
                    </a:lnTo>
                    <a:lnTo>
                      <a:pt x="0" y="2027"/>
                    </a:lnTo>
                    <a:lnTo>
                      <a:pt x="57" y="2027"/>
                    </a:lnTo>
                    <a:lnTo>
                      <a:pt x="77" y="2110"/>
                    </a:lnTo>
                    <a:lnTo>
                      <a:pt x="77" y="2110"/>
                    </a:lnTo>
                    <a:lnTo>
                      <a:pt x="83" y="2136"/>
                    </a:lnTo>
                    <a:lnTo>
                      <a:pt x="88" y="2164"/>
                    </a:lnTo>
                    <a:lnTo>
                      <a:pt x="88" y="2164"/>
                    </a:lnTo>
                    <a:lnTo>
                      <a:pt x="95" y="2136"/>
                    </a:lnTo>
                    <a:lnTo>
                      <a:pt x="102" y="2108"/>
                    </a:lnTo>
                    <a:lnTo>
                      <a:pt x="125" y="2027"/>
                    </a:lnTo>
                    <a:lnTo>
                      <a:pt x="172" y="2027"/>
                    </a:lnTo>
                    <a:lnTo>
                      <a:pt x="195" y="2108"/>
                    </a:lnTo>
                    <a:lnTo>
                      <a:pt x="195" y="2108"/>
                    </a:lnTo>
                    <a:lnTo>
                      <a:pt x="202" y="2135"/>
                    </a:lnTo>
                    <a:lnTo>
                      <a:pt x="209" y="2165"/>
                    </a:lnTo>
                    <a:lnTo>
                      <a:pt x="209" y="2165"/>
                    </a:lnTo>
                    <a:lnTo>
                      <a:pt x="213" y="2139"/>
                    </a:lnTo>
                    <a:lnTo>
                      <a:pt x="220" y="2108"/>
                    </a:lnTo>
                    <a:lnTo>
                      <a:pt x="241" y="2027"/>
                    </a:lnTo>
                    <a:close/>
                    <a:moveTo>
                      <a:pt x="406" y="2021"/>
                    </a:moveTo>
                    <a:lnTo>
                      <a:pt x="406" y="2021"/>
                    </a:lnTo>
                    <a:lnTo>
                      <a:pt x="396" y="2022"/>
                    </a:lnTo>
                    <a:lnTo>
                      <a:pt x="385" y="2024"/>
                    </a:lnTo>
                    <a:lnTo>
                      <a:pt x="375" y="2027"/>
                    </a:lnTo>
                    <a:lnTo>
                      <a:pt x="366" y="2030"/>
                    </a:lnTo>
                    <a:lnTo>
                      <a:pt x="358" y="2035"/>
                    </a:lnTo>
                    <a:lnTo>
                      <a:pt x="349" y="2040"/>
                    </a:lnTo>
                    <a:lnTo>
                      <a:pt x="341" y="2047"/>
                    </a:lnTo>
                    <a:lnTo>
                      <a:pt x="334" y="2054"/>
                    </a:lnTo>
                    <a:lnTo>
                      <a:pt x="328" y="2062"/>
                    </a:lnTo>
                    <a:lnTo>
                      <a:pt x="322" y="2071"/>
                    </a:lnTo>
                    <a:lnTo>
                      <a:pt x="317" y="2081"/>
                    </a:lnTo>
                    <a:lnTo>
                      <a:pt x="313" y="2091"/>
                    </a:lnTo>
                    <a:lnTo>
                      <a:pt x="310" y="2102"/>
                    </a:lnTo>
                    <a:lnTo>
                      <a:pt x="308" y="2113"/>
                    </a:lnTo>
                    <a:lnTo>
                      <a:pt x="306" y="2125"/>
                    </a:lnTo>
                    <a:lnTo>
                      <a:pt x="306" y="2138"/>
                    </a:lnTo>
                    <a:lnTo>
                      <a:pt x="306" y="2138"/>
                    </a:lnTo>
                    <a:lnTo>
                      <a:pt x="306" y="2150"/>
                    </a:lnTo>
                    <a:lnTo>
                      <a:pt x="308" y="2163"/>
                    </a:lnTo>
                    <a:lnTo>
                      <a:pt x="310" y="2174"/>
                    </a:lnTo>
                    <a:lnTo>
                      <a:pt x="313" y="2185"/>
                    </a:lnTo>
                    <a:lnTo>
                      <a:pt x="317" y="2194"/>
                    </a:lnTo>
                    <a:lnTo>
                      <a:pt x="322" y="2204"/>
                    </a:lnTo>
                    <a:lnTo>
                      <a:pt x="328" y="2213"/>
                    </a:lnTo>
                    <a:lnTo>
                      <a:pt x="334" y="2221"/>
                    </a:lnTo>
                    <a:lnTo>
                      <a:pt x="341" y="2229"/>
                    </a:lnTo>
                    <a:lnTo>
                      <a:pt x="349" y="2235"/>
                    </a:lnTo>
                    <a:lnTo>
                      <a:pt x="358" y="2241"/>
                    </a:lnTo>
                    <a:lnTo>
                      <a:pt x="366" y="2245"/>
                    </a:lnTo>
                    <a:lnTo>
                      <a:pt x="375" y="2249"/>
                    </a:lnTo>
                    <a:lnTo>
                      <a:pt x="385" y="2252"/>
                    </a:lnTo>
                    <a:lnTo>
                      <a:pt x="396" y="2253"/>
                    </a:lnTo>
                    <a:lnTo>
                      <a:pt x="406" y="2254"/>
                    </a:lnTo>
                    <a:lnTo>
                      <a:pt x="406" y="2254"/>
                    </a:lnTo>
                    <a:lnTo>
                      <a:pt x="417" y="2253"/>
                    </a:lnTo>
                    <a:lnTo>
                      <a:pt x="428" y="2252"/>
                    </a:lnTo>
                    <a:lnTo>
                      <a:pt x="438" y="2249"/>
                    </a:lnTo>
                    <a:lnTo>
                      <a:pt x="447" y="2245"/>
                    </a:lnTo>
                    <a:lnTo>
                      <a:pt x="456" y="2241"/>
                    </a:lnTo>
                    <a:lnTo>
                      <a:pt x="465" y="2235"/>
                    </a:lnTo>
                    <a:lnTo>
                      <a:pt x="472" y="2229"/>
                    </a:lnTo>
                    <a:lnTo>
                      <a:pt x="479" y="2221"/>
                    </a:lnTo>
                    <a:lnTo>
                      <a:pt x="486" y="2213"/>
                    </a:lnTo>
                    <a:lnTo>
                      <a:pt x="491" y="2204"/>
                    </a:lnTo>
                    <a:lnTo>
                      <a:pt x="496" y="2194"/>
                    </a:lnTo>
                    <a:lnTo>
                      <a:pt x="500" y="2185"/>
                    </a:lnTo>
                    <a:lnTo>
                      <a:pt x="503" y="2174"/>
                    </a:lnTo>
                    <a:lnTo>
                      <a:pt x="505" y="2163"/>
                    </a:lnTo>
                    <a:lnTo>
                      <a:pt x="508" y="2150"/>
                    </a:lnTo>
                    <a:lnTo>
                      <a:pt x="508" y="2138"/>
                    </a:lnTo>
                    <a:lnTo>
                      <a:pt x="508" y="2138"/>
                    </a:lnTo>
                    <a:lnTo>
                      <a:pt x="508" y="2125"/>
                    </a:lnTo>
                    <a:lnTo>
                      <a:pt x="505" y="2113"/>
                    </a:lnTo>
                    <a:lnTo>
                      <a:pt x="503" y="2102"/>
                    </a:lnTo>
                    <a:lnTo>
                      <a:pt x="500" y="2091"/>
                    </a:lnTo>
                    <a:lnTo>
                      <a:pt x="496" y="2081"/>
                    </a:lnTo>
                    <a:lnTo>
                      <a:pt x="491" y="2071"/>
                    </a:lnTo>
                    <a:lnTo>
                      <a:pt x="486" y="2062"/>
                    </a:lnTo>
                    <a:lnTo>
                      <a:pt x="479" y="2054"/>
                    </a:lnTo>
                    <a:lnTo>
                      <a:pt x="472" y="2047"/>
                    </a:lnTo>
                    <a:lnTo>
                      <a:pt x="465" y="2040"/>
                    </a:lnTo>
                    <a:lnTo>
                      <a:pt x="456" y="2035"/>
                    </a:lnTo>
                    <a:lnTo>
                      <a:pt x="447" y="2030"/>
                    </a:lnTo>
                    <a:lnTo>
                      <a:pt x="438" y="2027"/>
                    </a:lnTo>
                    <a:lnTo>
                      <a:pt x="428" y="2024"/>
                    </a:lnTo>
                    <a:lnTo>
                      <a:pt x="417" y="2022"/>
                    </a:lnTo>
                    <a:lnTo>
                      <a:pt x="406" y="2021"/>
                    </a:lnTo>
                    <a:lnTo>
                      <a:pt x="406" y="2021"/>
                    </a:lnTo>
                    <a:close/>
                    <a:moveTo>
                      <a:pt x="406" y="2202"/>
                    </a:moveTo>
                    <a:lnTo>
                      <a:pt x="406" y="2202"/>
                    </a:lnTo>
                    <a:lnTo>
                      <a:pt x="396" y="2201"/>
                    </a:lnTo>
                    <a:lnTo>
                      <a:pt x="387" y="2198"/>
                    </a:lnTo>
                    <a:lnTo>
                      <a:pt x="381" y="2192"/>
                    </a:lnTo>
                    <a:lnTo>
                      <a:pt x="374" y="2185"/>
                    </a:lnTo>
                    <a:lnTo>
                      <a:pt x="369" y="2176"/>
                    </a:lnTo>
                    <a:lnTo>
                      <a:pt x="364" y="2165"/>
                    </a:lnTo>
                    <a:lnTo>
                      <a:pt x="362" y="2151"/>
                    </a:lnTo>
                    <a:lnTo>
                      <a:pt x="362" y="2138"/>
                    </a:lnTo>
                    <a:lnTo>
                      <a:pt x="362" y="2138"/>
                    </a:lnTo>
                    <a:lnTo>
                      <a:pt x="362" y="2124"/>
                    </a:lnTo>
                    <a:lnTo>
                      <a:pt x="364" y="2111"/>
                    </a:lnTo>
                    <a:lnTo>
                      <a:pt x="369" y="2101"/>
                    </a:lnTo>
                    <a:lnTo>
                      <a:pt x="374" y="2091"/>
                    </a:lnTo>
                    <a:lnTo>
                      <a:pt x="381" y="2083"/>
                    </a:lnTo>
                    <a:lnTo>
                      <a:pt x="387" y="2078"/>
                    </a:lnTo>
                    <a:lnTo>
                      <a:pt x="396" y="2074"/>
                    </a:lnTo>
                    <a:lnTo>
                      <a:pt x="406" y="2073"/>
                    </a:lnTo>
                    <a:lnTo>
                      <a:pt x="406" y="2073"/>
                    </a:lnTo>
                    <a:lnTo>
                      <a:pt x="416" y="2074"/>
                    </a:lnTo>
                    <a:lnTo>
                      <a:pt x="425" y="2078"/>
                    </a:lnTo>
                    <a:lnTo>
                      <a:pt x="433" y="2083"/>
                    </a:lnTo>
                    <a:lnTo>
                      <a:pt x="439" y="2091"/>
                    </a:lnTo>
                    <a:lnTo>
                      <a:pt x="445" y="2101"/>
                    </a:lnTo>
                    <a:lnTo>
                      <a:pt x="448" y="2111"/>
                    </a:lnTo>
                    <a:lnTo>
                      <a:pt x="450" y="2124"/>
                    </a:lnTo>
                    <a:lnTo>
                      <a:pt x="451" y="2138"/>
                    </a:lnTo>
                    <a:lnTo>
                      <a:pt x="451" y="2138"/>
                    </a:lnTo>
                    <a:lnTo>
                      <a:pt x="450" y="2151"/>
                    </a:lnTo>
                    <a:lnTo>
                      <a:pt x="448" y="2165"/>
                    </a:lnTo>
                    <a:lnTo>
                      <a:pt x="445" y="2176"/>
                    </a:lnTo>
                    <a:lnTo>
                      <a:pt x="439" y="2185"/>
                    </a:lnTo>
                    <a:lnTo>
                      <a:pt x="433" y="2192"/>
                    </a:lnTo>
                    <a:lnTo>
                      <a:pt x="425" y="2198"/>
                    </a:lnTo>
                    <a:lnTo>
                      <a:pt x="416" y="2201"/>
                    </a:lnTo>
                    <a:lnTo>
                      <a:pt x="406" y="2202"/>
                    </a:lnTo>
                    <a:lnTo>
                      <a:pt x="406" y="2202"/>
                    </a:lnTo>
                    <a:close/>
                    <a:moveTo>
                      <a:pt x="2269" y="2089"/>
                    </a:moveTo>
                    <a:lnTo>
                      <a:pt x="2269" y="2089"/>
                    </a:lnTo>
                    <a:lnTo>
                      <a:pt x="2260" y="2084"/>
                    </a:lnTo>
                    <a:lnTo>
                      <a:pt x="2251" y="2080"/>
                    </a:lnTo>
                    <a:lnTo>
                      <a:pt x="2242" y="2078"/>
                    </a:lnTo>
                    <a:lnTo>
                      <a:pt x="2233" y="2076"/>
                    </a:lnTo>
                    <a:lnTo>
                      <a:pt x="2233" y="2076"/>
                    </a:lnTo>
                    <a:lnTo>
                      <a:pt x="2223" y="2078"/>
                    </a:lnTo>
                    <a:lnTo>
                      <a:pt x="2215" y="2080"/>
                    </a:lnTo>
                    <a:lnTo>
                      <a:pt x="2208" y="2084"/>
                    </a:lnTo>
                    <a:lnTo>
                      <a:pt x="2203" y="2090"/>
                    </a:lnTo>
                    <a:lnTo>
                      <a:pt x="2198" y="2096"/>
                    </a:lnTo>
                    <a:lnTo>
                      <a:pt x="2195" y="2105"/>
                    </a:lnTo>
                    <a:lnTo>
                      <a:pt x="2193" y="2116"/>
                    </a:lnTo>
                    <a:lnTo>
                      <a:pt x="2193" y="2128"/>
                    </a:lnTo>
                    <a:lnTo>
                      <a:pt x="2193" y="2249"/>
                    </a:lnTo>
                    <a:lnTo>
                      <a:pt x="2138" y="2249"/>
                    </a:lnTo>
                    <a:lnTo>
                      <a:pt x="2138" y="2027"/>
                    </a:lnTo>
                    <a:lnTo>
                      <a:pt x="2193" y="2027"/>
                    </a:lnTo>
                    <a:lnTo>
                      <a:pt x="2193" y="2046"/>
                    </a:lnTo>
                    <a:lnTo>
                      <a:pt x="2193" y="2046"/>
                    </a:lnTo>
                    <a:lnTo>
                      <a:pt x="2197" y="2040"/>
                    </a:lnTo>
                    <a:lnTo>
                      <a:pt x="2203" y="2035"/>
                    </a:lnTo>
                    <a:lnTo>
                      <a:pt x="2208" y="2031"/>
                    </a:lnTo>
                    <a:lnTo>
                      <a:pt x="2215" y="2028"/>
                    </a:lnTo>
                    <a:lnTo>
                      <a:pt x="2222" y="2025"/>
                    </a:lnTo>
                    <a:lnTo>
                      <a:pt x="2228" y="2024"/>
                    </a:lnTo>
                    <a:lnTo>
                      <a:pt x="2235" y="2022"/>
                    </a:lnTo>
                    <a:lnTo>
                      <a:pt x="2242" y="2021"/>
                    </a:lnTo>
                    <a:lnTo>
                      <a:pt x="2242" y="2021"/>
                    </a:lnTo>
                    <a:lnTo>
                      <a:pt x="2253" y="2022"/>
                    </a:lnTo>
                    <a:lnTo>
                      <a:pt x="2264" y="2026"/>
                    </a:lnTo>
                    <a:lnTo>
                      <a:pt x="2275" y="2030"/>
                    </a:lnTo>
                    <a:lnTo>
                      <a:pt x="2283" y="2036"/>
                    </a:lnTo>
                    <a:lnTo>
                      <a:pt x="2269" y="2089"/>
                    </a:lnTo>
                    <a:close/>
                    <a:moveTo>
                      <a:pt x="1836" y="2027"/>
                    </a:moveTo>
                    <a:lnTo>
                      <a:pt x="1891" y="2027"/>
                    </a:lnTo>
                    <a:lnTo>
                      <a:pt x="1828" y="2249"/>
                    </a:lnTo>
                    <a:lnTo>
                      <a:pt x="1780" y="2249"/>
                    </a:lnTo>
                    <a:lnTo>
                      <a:pt x="1756" y="2157"/>
                    </a:lnTo>
                    <a:lnTo>
                      <a:pt x="1756" y="2157"/>
                    </a:lnTo>
                    <a:lnTo>
                      <a:pt x="1744" y="2108"/>
                    </a:lnTo>
                    <a:lnTo>
                      <a:pt x="1744" y="2108"/>
                    </a:lnTo>
                    <a:lnTo>
                      <a:pt x="1738" y="2132"/>
                    </a:lnTo>
                    <a:lnTo>
                      <a:pt x="1732" y="2158"/>
                    </a:lnTo>
                    <a:lnTo>
                      <a:pt x="1707" y="2249"/>
                    </a:lnTo>
                    <a:lnTo>
                      <a:pt x="1660" y="2249"/>
                    </a:lnTo>
                    <a:lnTo>
                      <a:pt x="1659" y="2247"/>
                    </a:lnTo>
                    <a:lnTo>
                      <a:pt x="1597" y="2027"/>
                    </a:lnTo>
                    <a:lnTo>
                      <a:pt x="1653" y="2027"/>
                    </a:lnTo>
                    <a:lnTo>
                      <a:pt x="1674" y="2110"/>
                    </a:lnTo>
                    <a:lnTo>
                      <a:pt x="1674" y="2110"/>
                    </a:lnTo>
                    <a:lnTo>
                      <a:pt x="1680" y="2136"/>
                    </a:lnTo>
                    <a:lnTo>
                      <a:pt x="1685" y="2164"/>
                    </a:lnTo>
                    <a:lnTo>
                      <a:pt x="1685" y="2164"/>
                    </a:lnTo>
                    <a:lnTo>
                      <a:pt x="1691" y="2136"/>
                    </a:lnTo>
                    <a:lnTo>
                      <a:pt x="1699" y="2108"/>
                    </a:lnTo>
                    <a:lnTo>
                      <a:pt x="1722" y="2027"/>
                    </a:lnTo>
                    <a:lnTo>
                      <a:pt x="1768" y="2027"/>
                    </a:lnTo>
                    <a:lnTo>
                      <a:pt x="1791" y="2108"/>
                    </a:lnTo>
                    <a:lnTo>
                      <a:pt x="1791" y="2108"/>
                    </a:lnTo>
                    <a:lnTo>
                      <a:pt x="1798" y="2135"/>
                    </a:lnTo>
                    <a:lnTo>
                      <a:pt x="1804" y="2165"/>
                    </a:lnTo>
                    <a:lnTo>
                      <a:pt x="1804" y="2165"/>
                    </a:lnTo>
                    <a:lnTo>
                      <a:pt x="1810" y="2139"/>
                    </a:lnTo>
                    <a:lnTo>
                      <a:pt x="1817" y="2108"/>
                    </a:lnTo>
                    <a:lnTo>
                      <a:pt x="1836" y="2027"/>
                    </a:lnTo>
                    <a:close/>
                    <a:moveTo>
                      <a:pt x="2002" y="2021"/>
                    </a:moveTo>
                    <a:lnTo>
                      <a:pt x="2002" y="2021"/>
                    </a:lnTo>
                    <a:lnTo>
                      <a:pt x="1992" y="2022"/>
                    </a:lnTo>
                    <a:lnTo>
                      <a:pt x="1981" y="2024"/>
                    </a:lnTo>
                    <a:lnTo>
                      <a:pt x="1971" y="2027"/>
                    </a:lnTo>
                    <a:lnTo>
                      <a:pt x="1962" y="2030"/>
                    </a:lnTo>
                    <a:lnTo>
                      <a:pt x="1953" y="2035"/>
                    </a:lnTo>
                    <a:lnTo>
                      <a:pt x="1945" y="2041"/>
                    </a:lnTo>
                    <a:lnTo>
                      <a:pt x="1937" y="2047"/>
                    </a:lnTo>
                    <a:lnTo>
                      <a:pt x="1930" y="2054"/>
                    </a:lnTo>
                    <a:lnTo>
                      <a:pt x="1924" y="2062"/>
                    </a:lnTo>
                    <a:lnTo>
                      <a:pt x="1918" y="2071"/>
                    </a:lnTo>
                    <a:lnTo>
                      <a:pt x="1913" y="2081"/>
                    </a:lnTo>
                    <a:lnTo>
                      <a:pt x="1909" y="2091"/>
                    </a:lnTo>
                    <a:lnTo>
                      <a:pt x="1906" y="2102"/>
                    </a:lnTo>
                    <a:lnTo>
                      <a:pt x="1903" y="2114"/>
                    </a:lnTo>
                    <a:lnTo>
                      <a:pt x="1902" y="2125"/>
                    </a:lnTo>
                    <a:lnTo>
                      <a:pt x="1902" y="2138"/>
                    </a:lnTo>
                    <a:lnTo>
                      <a:pt x="1902" y="2138"/>
                    </a:lnTo>
                    <a:lnTo>
                      <a:pt x="1902" y="2150"/>
                    </a:lnTo>
                    <a:lnTo>
                      <a:pt x="1903" y="2163"/>
                    </a:lnTo>
                    <a:lnTo>
                      <a:pt x="1906" y="2174"/>
                    </a:lnTo>
                    <a:lnTo>
                      <a:pt x="1909" y="2185"/>
                    </a:lnTo>
                    <a:lnTo>
                      <a:pt x="1913" y="2194"/>
                    </a:lnTo>
                    <a:lnTo>
                      <a:pt x="1918" y="2204"/>
                    </a:lnTo>
                    <a:lnTo>
                      <a:pt x="1924" y="2213"/>
                    </a:lnTo>
                    <a:lnTo>
                      <a:pt x="1930" y="2221"/>
                    </a:lnTo>
                    <a:lnTo>
                      <a:pt x="1937" y="2229"/>
                    </a:lnTo>
                    <a:lnTo>
                      <a:pt x="1945" y="2235"/>
                    </a:lnTo>
                    <a:lnTo>
                      <a:pt x="1953" y="2241"/>
                    </a:lnTo>
                    <a:lnTo>
                      <a:pt x="1962" y="2245"/>
                    </a:lnTo>
                    <a:lnTo>
                      <a:pt x="1971" y="2249"/>
                    </a:lnTo>
                    <a:lnTo>
                      <a:pt x="1981" y="2252"/>
                    </a:lnTo>
                    <a:lnTo>
                      <a:pt x="1992" y="2253"/>
                    </a:lnTo>
                    <a:lnTo>
                      <a:pt x="2002" y="2254"/>
                    </a:lnTo>
                    <a:lnTo>
                      <a:pt x="2002" y="2254"/>
                    </a:lnTo>
                    <a:lnTo>
                      <a:pt x="2013" y="2253"/>
                    </a:lnTo>
                    <a:lnTo>
                      <a:pt x="2024" y="2252"/>
                    </a:lnTo>
                    <a:lnTo>
                      <a:pt x="2034" y="2249"/>
                    </a:lnTo>
                    <a:lnTo>
                      <a:pt x="2043" y="2245"/>
                    </a:lnTo>
                    <a:lnTo>
                      <a:pt x="2052" y="2241"/>
                    </a:lnTo>
                    <a:lnTo>
                      <a:pt x="2061" y="2235"/>
                    </a:lnTo>
                    <a:lnTo>
                      <a:pt x="2068" y="2229"/>
                    </a:lnTo>
                    <a:lnTo>
                      <a:pt x="2075" y="2221"/>
                    </a:lnTo>
                    <a:lnTo>
                      <a:pt x="2081" y="2213"/>
                    </a:lnTo>
                    <a:lnTo>
                      <a:pt x="2087" y="2204"/>
                    </a:lnTo>
                    <a:lnTo>
                      <a:pt x="2091" y="2194"/>
                    </a:lnTo>
                    <a:lnTo>
                      <a:pt x="2096" y="2185"/>
                    </a:lnTo>
                    <a:lnTo>
                      <a:pt x="2099" y="2174"/>
                    </a:lnTo>
                    <a:lnTo>
                      <a:pt x="2101" y="2163"/>
                    </a:lnTo>
                    <a:lnTo>
                      <a:pt x="2104" y="2150"/>
                    </a:lnTo>
                    <a:lnTo>
                      <a:pt x="2104" y="2138"/>
                    </a:lnTo>
                    <a:lnTo>
                      <a:pt x="2104" y="2138"/>
                    </a:lnTo>
                    <a:lnTo>
                      <a:pt x="2104" y="2125"/>
                    </a:lnTo>
                    <a:lnTo>
                      <a:pt x="2101" y="2114"/>
                    </a:lnTo>
                    <a:lnTo>
                      <a:pt x="2099" y="2102"/>
                    </a:lnTo>
                    <a:lnTo>
                      <a:pt x="2096" y="2091"/>
                    </a:lnTo>
                    <a:lnTo>
                      <a:pt x="2091" y="2081"/>
                    </a:lnTo>
                    <a:lnTo>
                      <a:pt x="2087" y="2071"/>
                    </a:lnTo>
                    <a:lnTo>
                      <a:pt x="2081" y="2062"/>
                    </a:lnTo>
                    <a:lnTo>
                      <a:pt x="2075" y="2054"/>
                    </a:lnTo>
                    <a:lnTo>
                      <a:pt x="2068" y="2047"/>
                    </a:lnTo>
                    <a:lnTo>
                      <a:pt x="2061" y="2041"/>
                    </a:lnTo>
                    <a:lnTo>
                      <a:pt x="2052" y="2035"/>
                    </a:lnTo>
                    <a:lnTo>
                      <a:pt x="2043" y="2030"/>
                    </a:lnTo>
                    <a:lnTo>
                      <a:pt x="2034" y="2027"/>
                    </a:lnTo>
                    <a:lnTo>
                      <a:pt x="2024" y="2024"/>
                    </a:lnTo>
                    <a:lnTo>
                      <a:pt x="2013" y="2022"/>
                    </a:lnTo>
                    <a:lnTo>
                      <a:pt x="2002" y="2021"/>
                    </a:lnTo>
                    <a:lnTo>
                      <a:pt x="2002" y="2021"/>
                    </a:lnTo>
                    <a:close/>
                    <a:moveTo>
                      <a:pt x="2002" y="2202"/>
                    </a:moveTo>
                    <a:lnTo>
                      <a:pt x="2002" y="2202"/>
                    </a:lnTo>
                    <a:lnTo>
                      <a:pt x="1992" y="2201"/>
                    </a:lnTo>
                    <a:lnTo>
                      <a:pt x="1984" y="2198"/>
                    </a:lnTo>
                    <a:lnTo>
                      <a:pt x="1977" y="2192"/>
                    </a:lnTo>
                    <a:lnTo>
                      <a:pt x="1970" y="2185"/>
                    </a:lnTo>
                    <a:lnTo>
                      <a:pt x="1964" y="2176"/>
                    </a:lnTo>
                    <a:lnTo>
                      <a:pt x="1960" y="2165"/>
                    </a:lnTo>
                    <a:lnTo>
                      <a:pt x="1958" y="2151"/>
                    </a:lnTo>
                    <a:lnTo>
                      <a:pt x="1958" y="2138"/>
                    </a:lnTo>
                    <a:lnTo>
                      <a:pt x="1958" y="2138"/>
                    </a:lnTo>
                    <a:lnTo>
                      <a:pt x="1958" y="2124"/>
                    </a:lnTo>
                    <a:lnTo>
                      <a:pt x="1960" y="2112"/>
                    </a:lnTo>
                    <a:lnTo>
                      <a:pt x="1964" y="2101"/>
                    </a:lnTo>
                    <a:lnTo>
                      <a:pt x="1970" y="2091"/>
                    </a:lnTo>
                    <a:lnTo>
                      <a:pt x="1977" y="2083"/>
                    </a:lnTo>
                    <a:lnTo>
                      <a:pt x="1984" y="2078"/>
                    </a:lnTo>
                    <a:lnTo>
                      <a:pt x="1992" y="2074"/>
                    </a:lnTo>
                    <a:lnTo>
                      <a:pt x="2002" y="2073"/>
                    </a:lnTo>
                    <a:lnTo>
                      <a:pt x="2002" y="2073"/>
                    </a:lnTo>
                    <a:lnTo>
                      <a:pt x="2012" y="2074"/>
                    </a:lnTo>
                    <a:lnTo>
                      <a:pt x="2021" y="2078"/>
                    </a:lnTo>
                    <a:lnTo>
                      <a:pt x="2029" y="2083"/>
                    </a:lnTo>
                    <a:lnTo>
                      <a:pt x="2035" y="2091"/>
                    </a:lnTo>
                    <a:lnTo>
                      <a:pt x="2041" y="2101"/>
                    </a:lnTo>
                    <a:lnTo>
                      <a:pt x="2044" y="2112"/>
                    </a:lnTo>
                    <a:lnTo>
                      <a:pt x="2046" y="2124"/>
                    </a:lnTo>
                    <a:lnTo>
                      <a:pt x="2047" y="2138"/>
                    </a:lnTo>
                    <a:lnTo>
                      <a:pt x="2047" y="2138"/>
                    </a:lnTo>
                    <a:lnTo>
                      <a:pt x="2046" y="2151"/>
                    </a:lnTo>
                    <a:lnTo>
                      <a:pt x="2044" y="2165"/>
                    </a:lnTo>
                    <a:lnTo>
                      <a:pt x="2041" y="2176"/>
                    </a:lnTo>
                    <a:lnTo>
                      <a:pt x="2035" y="2185"/>
                    </a:lnTo>
                    <a:lnTo>
                      <a:pt x="2029" y="2192"/>
                    </a:lnTo>
                    <a:lnTo>
                      <a:pt x="2021" y="2198"/>
                    </a:lnTo>
                    <a:lnTo>
                      <a:pt x="2012" y="2201"/>
                    </a:lnTo>
                    <a:lnTo>
                      <a:pt x="2002" y="2202"/>
                    </a:lnTo>
                    <a:lnTo>
                      <a:pt x="2002" y="2202"/>
                    </a:lnTo>
                    <a:close/>
                    <a:moveTo>
                      <a:pt x="837" y="2100"/>
                    </a:moveTo>
                    <a:lnTo>
                      <a:pt x="904" y="2249"/>
                    </a:lnTo>
                    <a:lnTo>
                      <a:pt x="843" y="2249"/>
                    </a:lnTo>
                    <a:lnTo>
                      <a:pt x="797" y="2146"/>
                    </a:lnTo>
                    <a:lnTo>
                      <a:pt x="767" y="2182"/>
                    </a:lnTo>
                    <a:lnTo>
                      <a:pt x="767" y="2249"/>
                    </a:lnTo>
                    <a:lnTo>
                      <a:pt x="713" y="2249"/>
                    </a:lnTo>
                    <a:lnTo>
                      <a:pt x="713" y="1962"/>
                    </a:lnTo>
                    <a:lnTo>
                      <a:pt x="767" y="1934"/>
                    </a:lnTo>
                    <a:lnTo>
                      <a:pt x="767" y="2112"/>
                    </a:lnTo>
                    <a:lnTo>
                      <a:pt x="767" y="2112"/>
                    </a:lnTo>
                    <a:lnTo>
                      <a:pt x="788" y="2083"/>
                    </a:lnTo>
                    <a:lnTo>
                      <a:pt x="832" y="2027"/>
                    </a:lnTo>
                    <a:lnTo>
                      <a:pt x="896" y="2027"/>
                    </a:lnTo>
                    <a:lnTo>
                      <a:pt x="837" y="2100"/>
                    </a:lnTo>
                    <a:close/>
                    <a:moveTo>
                      <a:pt x="1097" y="2249"/>
                    </a:moveTo>
                    <a:lnTo>
                      <a:pt x="1042" y="2249"/>
                    </a:lnTo>
                    <a:lnTo>
                      <a:pt x="1042" y="2027"/>
                    </a:lnTo>
                    <a:lnTo>
                      <a:pt x="1097" y="2027"/>
                    </a:lnTo>
                    <a:lnTo>
                      <a:pt x="1097" y="2046"/>
                    </a:lnTo>
                    <a:lnTo>
                      <a:pt x="1097" y="2046"/>
                    </a:lnTo>
                    <a:lnTo>
                      <a:pt x="1103" y="2040"/>
                    </a:lnTo>
                    <a:lnTo>
                      <a:pt x="1108" y="2036"/>
                    </a:lnTo>
                    <a:lnTo>
                      <a:pt x="1115" y="2031"/>
                    </a:lnTo>
                    <a:lnTo>
                      <a:pt x="1121" y="2028"/>
                    </a:lnTo>
                    <a:lnTo>
                      <a:pt x="1129" y="2026"/>
                    </a:lnTo>
                    <a:lnTo>
                      <a:pt x="1137" y="2024"/>
                    </a:lnTo>
                    <a:lnTo>
                      <a:pt x="1144" y="2022"/>
                    </a:lnTo>
                    <a:lnTo>
                      <a:pt x="1153" y="2021"/>
                    </a:lnTo>
                    <a:lnTo>
                      <a:pt x="1153" y="2021"/>
                    </a:lnTo>
                    <a:lnTo>
                      <a:pt x="1163" y="2022"/>
                    </a:lnTo>
                    <a:lnTo>
                      <a:pt x="1172" y="2024"/>
                    </a:lnTo>
                    <a:lnTo>
                      <a:pt x="1180" y="2026"/>
                    </a:lnTo>
                    <a:lnTo>
                      <a:pt x="1189" y="2028"/>
                    </a:lnTo>
                    <a:lnTo>
                      <a:pt x="1195" y="2032"/>
                    </a:lnTo>
                    <a:lnTo>
                      <a:pt x="1202" y="2037"/>
                    </a:lnTo>
                    <a:lnTo>
                      <a:pt x="1208" y="2041"/>
                    </a:lnTo>
                    <a:lnTo>
                      <a:pt x="1214" y="2048"/>
                    </a:lnTo>
                    <a:lnTo>
                      <a:pt x="1218" y="2054"/>
                    </a:lnTo>
                    <a:lnTo>
                      <a:pt x="1223" y="2062"/>
                    </a:lnTo>
                    <a:lnTo>
                      <a:pt x="1226" y="2070"/>
                    </a:lnTo>
                    <a:lnTo>
                      <a:pt x="1229" y="2080"/>
                    </a:lnTo>
                    <a:lnTo>
                      <a:pt x="1232" y="2090"/>
                    </a:lnTo>
                    <a:lnTo>
                      <a:pt x="1233" y="2100"/>
                    </a:lnTo>
                    <a:lnTo>
                      <a:pt x="1234" y="2111"/>
                    </a:lnTo>
                    <a:lnTo>
                      <a:pt x="1235" y="2123"/>
                    </a:lnTo>
                    <a:lnTo>
                      <a:pt x="1235" y="2249"/>
                    </a:lnTo>
                    <a:lnTo>
                      <a:pt x="1180" y="2249"/>
                    </a:lnTo>
                    <a:lnTo>
                      <a:pt x="1180" y="2126"/>
                    </a:lnTo>
                    <a:lnTo>
                      <a:pt x="1180" y="2126"/>
                    </a:lnTo>
                    <a:lnTo>
                      <a:pt x="1179" y="2114"/>
                    </a:lnTo>
                    <a:lnTo>
                      <a:pt x="1178" y="2102"/>
                    </a:lnTo>
                    <a:lnTo>
                      <a:pt x="1174" y="2093"/>
                    </a:lnTo>
                    <a:lnTo>
                      <a:pt x="1170" y="2085"/>
                    </a:lnTo>
                    <a:lnTo>
                      <a:pt x="1164" y="2080"/>
                    </a:lnTo>
                    <a:lnTo>
                      <a:pt x="1158" y="2075"/>
                    </a:lnTo>
                    <a:lnTo>
                      <a:pt x="1149" y="2073"/>
                    </a:lnTo>
                    <a:lnTo>
                      <a:pt x="1139" y="2072"/>
                    </a:lnTo>
                    <a:lnTo>
                      <a:pt x="1139" y="2072"/>
                    </a:lnTo>
                    <a:lnTo>
                      <a:pt x="1130" y="2073"/>
                    </a:lnTo>
                    <a:lnTo>
                      <a:pt x="1121" y="2075"/>
                    </a:lnTo>
                    <a:lnTo>
                      <a:pt x="1114" y="2080"/>
                    </a:lnTo>
                    <a:lnTo>
                      <a:pt x="1108" y="2086"/>
                    </a:lnTo>
                    <a:lnTo>
                      <a:pt x="1104" y="2093"/>
                    </a:lnTo>
                    <a:lnTo>
                      <a:pt x="1100" y="2103"/>
                    </a:lnTo>
                    <a:lnTo>
                      <a:pt x="1098" y="2114"/>
                    </a:lnTo>
                    <a:lnTo>
                      <a:pt x="1097" y="2126"/>
                    </a:lnTo>
                    <a:lnTo>
                      <a:pt x="1097" y="2249"/>
                    </a:lnTo>
                    <a:close/>
                    <a:moveTo>
                      <a:pt x="1408" y="2042"/>
                    </a:moveTo>
                    <a:lnTo>
                      <a:pt x="1408" y="2042"/>
                    </a:lnTo>
                    <a:lnTo>
                      <a:pt x="1403" y="2038"/>
                    </a:lnTo>
                    <a:lnTo>
                      <a:pt x="1397" y="2033"/>
                    </a:lnTo>
                    <a:lnTo>
                      <a:pt x="1392" y="2030"/>
                    </a:lnTo>
                    <a:lnTo>
                      <a:pt x="1385" y="2027"/>
                    </a:lnTo>
                    <a:lnTo>
                      <a:pt x="1378" y="2025"/>
                    </a:lnTo>
                    <a:lnTo>
                      <a:pt x="1372" y="2024"/>
                    </a:lnTo>
                    <a:lnTo>
                      <a:pt x="1365" y="2022"/>
                    </a:lnTo>
                    <a:lnTo>
                      <a:pt x="1359" y="2021"/>
                    </a:lnTo>
                    <a:lnTo>
                      <a:pt x="1359" y="2021"/>
                    </a:lnTo>
                    <a:lnTo>
                      <a:pt x="1349" y="2022"/>
                    </a:lnTo>
                    <a:lnTo>
                      <a:pt x="1340" y="2024"/>
                    </a:lnTo>
                    <a:lnTo>
                      <a:pt x="1331" y="2026"/>
                    </a:lnTo>
                    <a:lnTo>
                      <a:pt x="1322" y="2030"/>
                    </a:lnTo>
                    <a:lnTo>
                      <a:pt x="1314" y="2033"/>
                    </a:lnTo>
                    <a:lnTo>
                      <a:pt x="1308" y="2039"/>
                    </a:lnTo>
                    <a:lnTo>
                      <a:pt x="1301" y="2046"/>
                    </a:lnTo>
                    <a:lnTo>
                      <a:pt x="1295" y="2052"/>
                    </a:lnTo>
                    <a:lnTo>
                      <a:pt x="1289" y="2060"/>
                    </a:lnTo>
                    <a:lnTo>
                      <a:pt x="1285" y="2069"/>
                    </a:lnTo>
                    <a:lnTo>
                      <a:pt x="1280" y="2078"/>
                    </a:lnTo>
                    <a:lnTo>
                      <a:pt x="1277" y="2089"/>
                    </a:lnTo>
                    <a:lnTo>
                      <a:pt x="1275" y="2099"/>
                    </a:lnTo>
                    <a:lnTo>
                      <a:pt x="1273" y="2111"/>
                    </a:lnTo>
                    <a:lnTo>
                      <a:pt x="1271" y="2123"/>
                    </a:lnTo>
                    <a:lnTo>
                      <a:pt x="1271" y="2135"/>
                    </a:lnTo>
                    <a:lnTo>
                      <a:pt x="1271" y="2135"/>
                    </a:lnTo>
                    <a:lnTo>
                      <a:pt x="1271" y="2149"/>
                    </a:lnTo>
                    <a:lnTo>
                      <a:pt x="1273" y="2161"/>
                    </a:lnTo>
                    <a:lnTo>
                      <a:pt x="1275" y="2174"/>
                    </a:lnTo>
                    <a:lnTo>
                      <a:pt x="1277" y="2186"/>
                    </a:lnTo>
                    <a:lnTo>
                      <a:pt x="1280" y="2196"/>
                    </a:lnTo>
                    <a:lnTo>
                      <a:pt x="1285" y="2206"/>
                    </a:lnTo>
                    <a:lnTo>
                      <a:pt x="1289" y="2214"/>
                    </a:lnTo>
                    <a:lnTo>
                      <a:pt x="1295" y="2222"/>
                    </a:lnTo>
                    <a:lnTo>
                      <a:pt x="1300" y="2230"/>
                    </a:lnTo>
                    <a:lnTo>
                      <a:pt x="1307" y="2235"/>
                    </a:lnTo>
                    <a:lnTo>
                      <a:pt x="1313" y="2241"/>
                    </a:lnTo>
                    <a:lnTo>
                      <a:pt x="1321" y="2245"/>
                    </a:lnTo>
                    <a:lnTo>
                      <a:pt x="1330" y="2249"/>
                    </a:lnTo>
                    <a:lnTo>
                      <a:pt x="1339" y="2252"/>
                    </a:lnTo>
                    <a:lnTo>
                      <a:pt x="1348" y="2253"/>
                    </a:lnTo>
                    <a:lnTo>
                      <a:pt x="1357" y="2254"/>
                    </a:lnTo>
                    <a:lnTo>
                      <a:pt x="1357" y="2254"/>
                    </a:lnTo>
                    <a:lnTo>
                      <a:pt x="1364" y="2253"/>
                    </a:lnTo>
                    <a:lnTo>
                      <a:pt x="1372" y="2252"/>
                    </a:lnTo>
                    <a:lnTo>
                      <a:pt x="1378" y="2251"/>
                    </a:lnTo>
                    <a:lnTo>
                      <a:pt x="1385" y="2249"/>
                    </a:lnTo>
                    <a:lnTo>
                      <a:pt x="1391" y="2245"/>
                    </a:lnTo>
                    <a:lnTo>
                      <a:pt x="1397" y="2242"/>
                    </a:lnTo>
                    <a:lnTo>
                      <a:pt x="1403" y="2238"/>
                    </a:lnTo>
                    <a:lnTo>
                      <a:pt x="1408" y="2232"/>
                    </a:lnTo>
                    <a:lnTo>
                      <a:pt x="1408" y="2238"/>
                    </a:lnTo>
                    <a:lnTo>
                      <a:pt x="1408" y="2238"/>
                    </a:lnTo>
                    <a:lnTo>
                      <a:pt x="1408" y="2246"/>
                    </a:lnTo>
                    <a:lnTo>
                      <a:pt x="1407" y="2256"/>
                    </a:lnTo>
                    <a:lnTo>
                      <a:pt x="1404" y="2266"/>
                    </a:lnTo>
                    <a:lnTo>
                      <a:pt x="1402" y="2271"/>
                    </a:lnTo>
                    <a:lnTo>
                      <a:pt x="1399" y="2275"/>
                    </a:lnTo>
                    <a:lnTo>
                      <a:pt x="1395" y="2279"/>
                    </a:lnTo>
                    <a:lnTo>
                      <a:pt x="1391" y="2284"/>
                    </a:lnTo>
                    <a:lnTo>
                      <a:pt x="1385" y="2287"/>
                    </a:lnTo>
                    <a:lnTo>
                      <a:pt x="1378" y="2290"/>
                    </a:lnTo>
                    <a:lnTo>
                      <a:pt x="1370" y="2293"/>
                    </a:lnTo>
                    <a:lnTo>
                      <a:pt x="1361" y="2295"/>
                    </a:lnTo>
                    <a:lnTo>
                      <a:pt x="1350" y="2296"/>
                    </a:lnTo>
                    <a:lnTo>
                      <a:pt x="1337" y="2296"/>
                    </a:lnTo>
                    <a:lnTo>
                      <a:pt x="1334" y="2296"/>
                    </a:lnTo>
                    <a:lnTo>
                      <a:pt x="1354" y="2339"/>
                    </a:lnTo>
                    <a:lnTo>
                      <a:pt x="1355" y="2339"/>
                    </a:lnTo>
                    <a:lnTo>
                      <a:pt x="1355" y="2339"/>
                    </a:lnTo>
                    <a:lnTo>
                      <a:pt x="1369" y="2339"/>
                    </a:lnTo>
                    <a:lnTo>
                      <a:pt x="1381" y="2338"/>
                    </a:lnTo>
                    <a:lnTo>
                      <a:pt x="1392" y="2335"/>
                    </a:lnTo>
                    <a:lnTo>
                      <a:pt x="1403" y="2332"/>
                    </a:lnTo>
                    <a:lnTo>
                      <a:pt x="1413" y="2328"/>
                    </a:lnTo>
                    <a:lnTo>
                      <a:pt x="1421" y="2324"/>
                    </a:lnTo>
                    <a:lnTo>
                      <a:pt x="1429" y="2318"/>
                    </a:lnTo>
                    <a:lnTo>
                      <a:pt x="1436" y="2311"/>
                    </a:lnTo>
                    <a:lnTo>
                      <a:pt x="1442" y="2304"/>
                    </a:lnTo>
                    <a:lnTo>
                      <a:pt x="1448" y="2296"/>
                    </a:lnTo>
                    <a:lnTo>
                      <a:pt x="1452" y="2286"/>
                    </a:lnTo>
                    <a:lnTo>
                      <a:pt x="1456" y="2276"/>
                    </a:lnTo>
                    <a:lnTo>
                      <a:pt x="1459" y="2266"/>
                    </a:lnTo>
                    <a:lnTo>
                      <a:pt x="1461" y="2254"/>
                    </a:lnTo>
                    <a:lnTo>
                      <a:pt x="1462" y="2242"/>
                    </a:lnTo>
                    <a:lnTo>
                      <a:pt x="1462" y="2229"/>
                    </a:lnTo>
                    <a:lnTo>
                      <a:pt x="1462" y="2027"/>
                    </a:lnTo>
                    <a:lnTo>
                      <a:pt x="1408" y="2027"/>
                    </a:lnTo>
                    <a:lnTo>
                      <a:pt x="1408" y="2042"/>
                    </a:lnTo>
                    <a:close/>
                    <a:moveTo>
                      <a:pt x="1408" y="2094"/>
                    </a:moveTo>
                    <a:lnTo>
                      <a:pt x="1408" y="2181"/>
                    </a:lnTo>
                    <a:lnTo>
                      <a:pt x="1408" y="2181"/>
                    </a:lnTo>
                    <a:lnTo>
                      <a:pt x="1401" y="2189"/>
                    </a:lnTo>
                    <a:lnTo>
                      <a:pt x="1393" y="2197"/>
                    </a:lnTo>
                    <a:lnTo>
                      <a:pt x="1387" y="2199"/>
                    </a:lnTo>
                    <a:lnTo>
                      <a:pt x="1382" y="2201"/>
                    </a:lnTo>
                    <a:lnTo>
                      <a:pt x="1376" y="2202"/>
                    </a:lnTo>
                    <a:lnTo>
                      <a:pt x="1369" y="2203"/>
                    </a:lnTo>
                    <a:lnTo>
                      <a:pt x="1369" y="2203"/>
                    </a:lnTo>
                    <a:lnTo>
                      <a:pt x="1362" y="2202"/>
                    </a:lnTo>
                    <a:lnTo>
                      <a:pt x="1354" y="2200"/>
                    </a:lnTo>
                    <a:lnTo>
                      <a:pt x="1348" y="2197"/>
                    </a:lnTo>
                    <a:lnTo>
                      <a:pt x="1341" y="2190"/>
                    </a:lnTo>
                    <a:lnTo>
                      <a:pt x="1335" y="2181"/>
                    </a:lnTo>
                    <a:lnTo>
                      <a:pt x="1331" y="2169"/>
                    </a:lnTo>
                    <a:lnTo>
                      <a:pt x="1329" y="2154"/>
                    </a:lnTo>
                    <a:lnTo>
                      <a:pt x="1328" y="2134"/>
                    </a:lnTo>
                    <a:lnTo>
                      <a:pt x="1328" y="2134"/>
                    </a:lnTo>
                    <a:lnTo>
                      <a:pt x="1329" y="2117"/>
                    </a:lnTo>
                    <a:lnTo>
                      <a:pt x="1331" y="2103"/>
                    </a:lnTo>
                    <a:lnTo>
                      <a:pt x="1335" y="2092"/>
                    </a:lnTo>
                    <a:lnTo>
                      <a:pt x="1341" y="2084"/>
                    </a:lnTo>
                    <a:lnTo>
                      <a:pt x="1348" y="2079"/>
                    </a:lnTo>
                    <a:lnTo>
                      <a:pt x="1354" y="2074"/>
                    </a:lnTo>
                    <a:lnTo>
                      <a:pt x="1362" y="2073"/>
                    </a:lnTo>
                    <a:lnTo>
                      <a:pt x="1369" y="2072"/>
                    </a:lnTo>
                    <a:lnTo>
                      <a:pt x="1369" y="2072"/>
                    </a:lnTo>
                    <a:lnTo>
                      <a:pt x="1376" y="2073"/>
                    </a:lnTo>
                    <a:lnTo>
                      <a:pt x="1383" y="2074"/>
                    </a:lnTo>
                    <a:lnTo>
                      <a:pt x="1388" y="2076"/>
                    </a:lnTo>
                    <a:lnTo>
                      <a:pt x="1394" y="2080"/>
                    </a:lnTo>
                    <a:lnTo>
                      <a:pt x="1398" y="2083"/>
                    </a:lnTo>
                    <a:lnTo>
                      <a:pt x="1402" y="2086"/>
                    </a:lnTo>
                    <a:lnTo>
                      <a:pt x="1408" y="2094"/>
                    </a:lnTo>
                    <a:lnTo>
                      <a:pt x="1408" y="2094"/>
                    </a:lnTo>
                    <a:close/>
                    <a:moveTo>
                      <a:pt x="938" y="2027"/>
                    </a:moveTo>
                    <a:lnTo>
                      <a:pt x="993" y="2027"/>
                    </a:lnTo>
                    <a:lnTo>
                      <a:pt x="993" y="2123"/>
                    </a:lnTo>
                    <a:lnTo>
                      <a:pt x="993" y="2249"/>
                    </a:lnTo>
                    <a:lnTo>
                      <a:pt x="938" y="2249"/>
                    </a:lnTo>
                    <a:lnTo>
                      <a:pt x="938" y="2027"/>
                    </a:lnTo>
                    <a:close/>
                    <a:moveTo>
                      <a:pt x="993" y="1967"/>
                    </a:moveTo>
                    <a:lnTo>
                      <a:pt x="993" y="1995"/>
                    </a:lnTo>
                    <a:lnTo>
                      <a:pt x="938" y="1995"/>
                    </a:lnTo>
                    <a:lnTo>
                      <a:pt x="938" y="1940"/>
                    </a:lnTo>
                    <a:lnTo>
                      <a:pt x="993" y="1940"/>
                    </a:lnTo>
                    <a:lnTo>
                      <a:pt x="993" y="1967"/>
                    </a:lnTo>
                    <a:close/>
                    <a:moveTo>
                      <a:pt x="2309" y="1962"/>
                    </a:moveTo>
                    <a:lnTo>
                      <a:pt x="2364" y="1934"/>
                    </a:lnTo>
                    <a:lnTo>
                      <a:pt x="2364" y="2127"/>
                    </a:lnTo>
                    <a:lnTo>
                      <a:pt x="2364" y="2249"/>
                    </a:lnTo>
                    <a:lnTo>
                      <a:pt x="2309" y="2249"/>
                    </a:lnTo>
                    <a:lnTo>
                      <a:pt x="2309" y="1962"/>
                    </a:lnTo>
                    <a:close/>
                    <a:moveTo>
                      <a:pt x="397" y="757"/>
                    </a:moveTo>
                    <a:lnTo>
                      <a:pt x="850" y="757"/>
                    </a:lnTo>
                    <a:lnTo>
                      <a:pt x="850" y="495"/>
                    </a:lnTo>
                    <a:lnTo>
                      <a:pt x="397" y="495"/>
                    </a:lnTo>
                    <a:lnTo>
                      <a:pt x="397" y="288"/>
                    </a:lnTo>
                    <a:lnTo>
                      <a:pt x="898" y="288"/>
                    </a:lnTo>
                    <a:lnTo>
                      <a:pt x="732" y="0"/>
                    </a:lnTo>
                    <a:lnTo>
                      <a:pt x="22" y="0"/>
                    </a:lnTo>
                    <a:lnTo>
                      <a:pt x="22" y="1251"/>
                    </a:lnTo>
                    <a:lnTo>
                      <a:pt x="1023" y="1251"/>
                    </a:lnTo>
                    <a:lnTo>
                      <a:pt x="1023" y="963"/>
                    </a:lnTo>
                    <a:lnTo>
                      <a:pt x="397" y="963"/>
                    </a:lnTo>
                    <a:lnTo>
                      <a:pt x="397" y="757"/>
                    </a:lnTo>
                    <a:close/>
                    <a:moveTo>
                      <a:pt x="1690" y="0"/>
                    </a:moveTo>
                    <a:lnTo>
                      <a:pt x="1477" y="409"/>
                    </a:lnTo>
                    <a:lnTo>
                      <a:pt x="1265" y="0"/>
                    </a:lnTo>
                    <a:lnTo>
                      <a:pt x="850" y="0"/>
                    </a:lnTo>
                    <a:lnTo>
                      <a:pt x="1287" y="757"/>
                    </a:lnTo>
                    <a:lnTo>
                      <a:pt x="1287" y="1251"/>
                    </a:lnTo>
                    <a:lnTo>
                      <a:pt x="1661" y="1251"/>
                    </a:lnTo>
                    <a:lnTo>
                      <a:pt x="1661" y="757"/>
                    </a:lnTo>
                    <a:lnTo>
                      <a:pt x="2099" y="0"/>
                    </a:lnTo>
                    <a:lnTo>
                      <a:pt x="169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44" tIns="45672" rIns="91344" bIns="4567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02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97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endParaRPr>
              </a:p>
            </p:txBody>
          </p:sp>
        </p:grp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A2B2DB6C-D035-4F35-8C46-5C3834F65CC6}"/>
                </a:ext>
              </a:extLst>
            </p:cNvPr>
            <p:cNvSpPr txBox="1"/>
            <p:nvPr/>
          </p:nvSpPr>
          <p:spPr>
            <a:xfrm>
              <a:off x="9643110" y="172968"/>
              <a:ext cx="1446552" cy="623248"/>
            </a:xfrm>
            <a:prstGeom prst="rect">
              <a:avLst/>
            </a:prstGeom>
            <a:noFill/>
          </p:spPr>
          <p:txBody>
            <a:bodyPr wrap="square" lIns="0" tIns="36538" rIns="0" bIns="0" rtlCol="0" anchor="ctr">
              <a:spAutoFit/>
            </a:bodyPr>
            <a:lstStyle/>
            <a:p>
              <a:pPr marL="0" marR="0" lvl="0" indent="0" algn="r" defTabSz="913029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27ACAA"/>
                </a:buClr>
                <a:buSzPct val="70000"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Consulting</a:t>
              </a:r>
            </a:p>
            <a:p>
              <a:pPr marL="0" marR="0" lvl="0" indent="0" algn="r" defTabSz="913029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27ACAA"/>
                </a:buClr>
                <a:buSzPct val="70000"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Strategy &amp; Transactions</a:t>
              </a:r>
            </a:p>
            <a:p>
              <a:pPr marL="0" marR="0" lvl="0" indent="0" algn="r" defTabSz="913029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27ACAA"/>
                </a:buClr>
                <a:buSzPct val="70000"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Tax &amp; Law</a:t>
              </a:r>
            </a:p>
            <a:p>
              <a:pPr marL="0" marR="0" lvl="0" indent="0" algn="r" defTabSz="913029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27ACAA"/>
                </a:buClr>
                <a:buSzPct val="70000"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Assuran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83690634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apittelski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F89392A-FD86-4BCD-BA5B-1B0D029E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9542681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0" imgH="371" progId="TCLayout.ActiveDocument.1">
                  <p:embed/>
                </p:oleObj>
              </mc:Choice>
              <mc:Fallback>
                <p:oleObj name="think-cell Slide" r:id="rId3" imgW="370" imgH="37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F89392A-FD86-4BCD-BA5B-1B0D029E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arallelogram 1">
            <a:extLst>
              <a:ext uri="{FF2B5EF4-FFF2-40B4-BE49-F238E27FC236}">
                <a16:creationId xmlns:a16="http://schemas.microsoft.com/office/drawing/2014/main" id="{F79A7B8C-E8D1-42A6-A31A-7D2F74F516EA}"/>
              </a:ext>
            </a:extLst>
          </p:cNvPr>
          <p:cNvSpPr/>
          <p:nvPr userDrawn="1"/>
        </p:nvSpPr>
        <p:spPr>
          <a:xfrm>
            <a:off x="1608756" y="0"/>
            <a:ext cx="3906087" cy="6858000"/>
          </a:xfrm>
          <a:prstGeom prst="parallelogram">
            <a:avLst/>
          </a:prstGeom>
          <a:solidFill>
            <a:schemeClr val="bg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>
              <a:solidFill>
                <a:schemeClr val="tx1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A979DB-087A-4533-95E9-C3EBDC9244E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21545" y="2461333"/>
            <a:ext cx="5039275" cy="1935337"/>
          </a:xfrm>
        </p:spPr>
        <p:txBody>
          <a:bodyPr anchor="ctr"/>
          <a:lstStyle>
            <a:lvl1pPr marL="0" indent="0">
              <a:buNone/>
              <a:defRPr sz="2799"/>
            </a:lvl1pPr>
          </a:lstStyle>
          <a:p>
            <a:pPr lvl="0"/>
            <a:r>
              <a:rPr lang="nb-NO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18906931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ki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F89392A-FD86-4BCD-BA5B-1B0D029E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7095113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0" imgH="371" progId="TCLayout.ActiveDocument.1">
                  <p:embed/>
                </p:oleObj>
              </mc:Choice>
              <mc:Fallback>
                <p:oleObj name="think-cell Slide" r:id="rId3" imgW="370" imgH="37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F89392A-FD86-4BCD-BA5B-1B0D029E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arallelogram 1">
            <a:extLst>
              <a:ext uri="{FF2B5EF4-FFF2-40B4-BE49-F238E27FC236}">
                <a16:creationId xmlns:a16="http://schemas.microsoft.com/office/drawing/2014/main" id="{F79A7B8C-E8D1-42A6-A31A-7D2F74F516EA}"/>
              </a:ext>
            </a:extLst>
          </p:cNvPr>
          <p:cNvSpPr/>
          <p:nvPr userDrawn="1"/>
        </p:nvSpPr>
        <p:spPr>
          <a:xfrm>
            <a:off x="1608756" y="0"/>
            <a:ext cx="3906087" cy="6858000"/>
          </a:xfrm>
          <a:prstGeom prst="parallelogram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>
              <a:solidFill>
                <a:schemeClr val="tx1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A979DB-087A-4533-95E9-C3EBDC9244E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21545" y="2461333"/>
            <a:ext cx="5039275" cy="1935337"/>
          </a:xfrm>
        </p:spPr>
        <p:txBody>
          <a:bodyPr anchor="ctr"/>
          <a:lstStyle>
            <a:lvl1pPr marL="0" indent="0">
              <a:buNone/>
              <a:defRPr sz="2799"/>
            </a:lvl1pPr>
          </a:lstStyle>
          <a:p>
            <a:pPr lvl="0"/>
            <a:r>
              <a:rPr lang="nb-NO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1705699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192330-2E70-49F4-A5DA-F82320E70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Sid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10682888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5E6538D-7309-48C5-8F2D-C3D189B29C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7625247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5E6538D-7309-48C5-8F2D-C3D189B29C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3F1CBA5-61D5-47D7-A71C-36A1FDE99F5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nb-NO" sz="2998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7857" y="795662"/>
            <a:ext cx="4927845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798" noProof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100" y="1954221"/>
            <a:ext cx="4326679" cy="979702"/>
          </a:xfrm>
        </p:spPr>
        <p:txBody>
          <a:bodyPr/>
          <a:lstStyle>
            <a:lvl1pPr>
              <a:defRPr sz="2998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nb-NO"/>
              <a:t>Click to edit Master title sty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100" y="3046161"/>
            <a:ext cx="4326679" cy="1046323"/>
          </a:xfrm>
        </p:spPr>
        <p:txBody>
          <a:bodyPr/>
          <a:lstStyle>
            <a:lvl1pPr marL="0" indent="0" algn="l">
              <a:spcAft>
                <a:spcPts val="1198"/>
              </a:spcAft>
              <a:buNone/>
              <a:defRPr sz="1998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8" b="1">
                <a:solidFill>
                  <a:srgbClr val="404040"/>
                </a:solidFill>
              </a:defRPr>
            </a:lvl2pPr>
            <a:lvl3pPr marL="9134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Click to edit Master subtitle sty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2491" y="5709060"/>
            <a:ext cx="8117873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745" y="5605203"/>
            <a:ext cx="1044529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nb-NO" sz="1198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2491" y="6019189"/>
            <a:ext cx="3087667" cy="180000"/>
          </a:xfrm>
        </p:spPr>
        <p:txBody>
          <a:bodyPr/>
          <a:lstStyle>
            <a:lvl1pPr marL="0" indent="0">
              <a:buNone/>
              <a:defRPr sz="1198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Name Surname</a:t>
            </a:r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2491" y="6216807"/>
            <a:ext cx="3087667" cy="180000"/>
          </a:xfrm>
        </p:spPr>
        <p:txBody>
          <a:bodyPr/>
          <a:lstStyle>
            <a:lvl1pPr marL="0" indent="0">
              <a:buNone/>
              <a:defRPr sz="1198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Job Title</a:t>
            </a:r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743" y="5914642"/>
            <a:ext cx="5757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/>
            </a:p>
          </p:txBody>
        </p:sp>
      </p:grpSp>
    </p:spTree>
    <p:extLst>
      <p:ext uri="{BB962C8B-B14F-4D97-AF65-F5344CB8AC3E}">
        <p14:creationId xmlns:p14="http://schemas.microsoft.com/office/powerpoint/2010/main" val="8196864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DB9DFE64-6D6A-4C63-A650-EC124766DA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4125AAEE-EF23-4C87-94A2-8917AC68AE7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4ED26427-AC13-46DD-9314-E88BDE64AB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815ABA-5AD9-4CFD-83D4-B9B9C9C5CC9C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0F5E9663-5524-4996-94D8-6891479E77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FF83416-60CB-473E-B32B-14EE9DCE11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DC2A16-8918-4093-8FB3-00182BD6EED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0365614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1DD14D-407C-D242-9763-67B11C4B4C46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576918-C8B9-C946-A073-74F3E53AEF0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26621188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29720C4-F356-424B-91D2-E0BB5F2928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15810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29720C4-F356-424B-91D2-E0BB5F2928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FF46D89-72E3-4149-8798-7C34E7DBF7E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nb-NO" sz="2998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7856" y="5826615"/>
            <a:ext cx="3876004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388" y="2158329"/>
            <a:ext cx="3998354" cy="860400"/>
          </a:xfrm>
          <a:prstGeom prst="rect">
            <a:avLst/>
          </a:prstGeom>
        </p:spPr>
        <p:txBody>
          <a:bodyPr/>
          <a:lstStyle>
            <a:lvl1pPr>
              <a:defRPr sz="2998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nb-NO" noProof="0"/>
              <a:t>Click to edit Master title style</a:t>
            </a:r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4580" y="3200329"/>
            <a:ext cx="4018535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8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8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4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Click to edit Master subtitle style</a:t>
            </a:r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 userDrawn="1"/>
        </p:nvGrpSpPr>
        <p:grpSpPr>
          <a:xfrm>
            <a:off x="489113" y="876061"/>
            <a:ext cx="4852768" cy="3374475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1798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1798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1798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1798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/>
            </a:p>
          </p:txBody>
        </p:sp>
      </p:grpSp>
    </p:spTree>
    <p:extLst>
      <p:ext uri="{BB962C8B-B14F-4D97-AF65-F5344CB8AC3E}">
        <p14:creationId xmlns:p14="http://schemas.microsoft.com/office/powerpoint/2010/main" val="24670245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273DB69-7D99-4643-ACD3-8717AC1B2B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1006871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273DB69-7D99-4643-ACD3-8717AC1B2B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C41F949-68D6-47FE-8316-E72C5BF917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nb-NO" sz="2398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94200"/>
            <a:ext cx="10972800" cy="590400"/>
          </a:xfrm>
        </p:spPr>
        <p:txBody>
          <a:bodyPr/>
          <a:lstStyle>
            <a:lvl1pPr>
              <a:defRPr sz="2398">
                <a:solidFill>
                  <a:schemeClr val="bg1"/>
                </a:solidFill>
              </a:defRPr>
            </a:lvl1pPr>
          </a:lstStyle>
          <a:p>
            <a:r>
              <a:rPr lang="nb-NO" noProof="0"/>
              <a:t>Click to edit Master title style</a:t>
            </a:r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rgbClr val="0C467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sz="1798" noProof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2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Side </a:t>
            </a:r>
            <a:fld id="{F1BC30E3-FFE5-4B91-AA19-87A149EBB9EE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95282295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F3A31A3-7E63-42AE-9531-68DDB1157DA5}"/>
              </a:ext>
            </a:extLst>
          </p:cNvPr>
          <p:cNvSpPr/>
          <p:nvPr userDrawn="1"/>
        </p:nvSpPr>
        <p:spPr>
          <a:xfrm>
            <a:off x="0" y="0"/>
            <a:ext cx="5874040" cy="6858000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8">
              <a:solidFill>
                <a:schemeClr val="tx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273DB69-7D99-4643-ACD3-8717AC1B2B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0723218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273DB69-7D99-4643-ACD3-8717AC1B2B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C41F949-68D6-47FE-8316-E72C5BF917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nb-NO" sz="2398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85887"/>
            <a:ext cx="4475139" cy="590400"/>
          </a:xfrm>
        </p:spPr>
        <p:txBody>
          <a:bodyPr/>
          <a:lstStyle>
            <a:lvl1pPr>
              <a:defRPr sz="2398">
                <a:solidFill>
                  <a:schemeClr val="bg1"/>
                </a:solidFill>
              </a:defRPr>
            </a:lvl1pPr>
          </a:lstStyle>
          <a:p>
            <a:r>
              <a:rPr lang="nb-NO" noProof="0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98665" y="1137920"/>
            <a:ext cx="5583736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Side </a:t>
            </a:r>
            <a:fld id="{F1BC30E3-FFE5-4B91-AA19-87A149EBB9EE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91080109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F3A31A3-7E63-42AE-9531-68DDB1157DA5}"/>
              </a:ext>
            </a:extLst>
          </p:cNvPr>
          <p:cNvSpPr/>
          <p:nvPr userDrawn="1"/>
        </p:nvSpPr>
        <p:spPr>
          <a:xfrm>
            <a:off x="0" y="0"/>
            <a:ext cx="5874040" cy="6858000"/>
          </a:xfrm>
          <a:prstGeom prst="rect">
            <a:avLst/>
          </a:prstGeom>
          <a:solidFill>
            <a:schemeClr val="tx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8">
              <a:solidFill>
                <a:schemeClr val="tx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273DB69-7D99-4643-ACD3-8717AC1B2B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5355485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273DB69-7D99-4643-ACD3-8717AC1B2B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C41F949-68D6-47FE-8316-E72C5BF917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nb-NO" sz="2398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85887"/>
            <a:ext cx="4475139" cy="590400"/>
          </a:xfrm>
        </p:spPr>
        <p:txBody>
          <a:bodyPr/>
          <a:lstStyle>
            <a:lvl1pPr>
              <a:defRPr sz="2398">
                <a:solidFill>
                  <a:schemeClr val="bg1"/>
                </a:solidFill>
              </a:defRPr>
            </a:lvl1pPr>
          </a:lstStyle>
          <a:p>
            <a:r>
              <a:rPr lang="nb-NO" noProof="0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98665" y="1137920"/>
            <a:ext cx="5583736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Side </a:t>
            </a:r>
            <a:fld id="{F1BC30E3-FFE5-4B91-AA19-87A149EBB9EE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20298156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">
            <a:extLst>
              <a:ext uri="{FF2B5EF4-FFF2-40B4-BE49-F238E27FC236}">
                <a16:creationId xmlns:a16="http://schemas.microsoft.com/office/drawing/2014/main" id="{F42BD50E-95F8-44B2-B71B-92252346EA7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1251" y="6356350"/>
            <a:ext cx="303055" cy="311150"/>
            <a:chOff x="7110" y="4004"/>
            <a:chExt cx="191" cy="196"/>
          </a:xfrm>
        </p:grpSpPr>
        <p:sp>
          <p:nvSpPr>
            <p:cNvPr id="3" name="Freeform 5">
              <a:extLst>
                <a:ext uri="{FF2B5EF4-FFF2-40B4-BE49-F238E27FC236}">
                  <a16:creationId xmlns:a16="http://schemas.microsoft.com/office/drawing/2014/main" id="{A9BC19B9-8D6D-47E0-B2C9-CFE79F673F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/>
            </a:p>
          </p:txBody>
        </p:sp>
        <p:sp>
          <p:nvSpPr>
            <p:cNvPr id="4" name="Freeform 6">
              <a:extLst>
                <a:ext uri="{FF2B5EF4-FFF2-40B4-BE49-F238E27FC236}">
                  <a16:creationId xmlns:a16="http://schemas.microsoft.com/office/drawing/2014/main" id="{FF454AD4-275A-4DA2-9ED3-013C20E501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/>
            </a:p>
          </p:txBody>
        </p:sp>
        <p:sp>
          <p:nvSpPr>
            <p:cNvPr id="5" name="Freeform 7">
              <a:extLst>
                <a:ext uri="{FF2B5EF4-FFF2-40B4-BE49-F238E27FC236}">
                  <a16:creationId xmlns:a16="http://schemas.microsoft.com/office/drawing/2014/main" id="{860BAEF0-9DF9-47A4-8A95-44A1FF0BECD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/>
            </a:p>
          </p:txBody>
        </p:sp>
      </p:grp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261273-3365-4D77-95C7-DE1ACDB04D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6901" y="6471244"/>
            <a:ext cx="662721" cy="180000"/>
          </a:xfrm>
          <a:prstGeom prst="rect">
            <a:avLst/>
          </a:prstGeom>
        </p:spPr>
        <p:txBody>
          <a:bodyPr/>
          <a:lstStyle>
            <a:lvl1pPr marL="0" algn="l" defTabSz="913486" rtl="0" eaLnBrk="1" latinLnBrk="0" hangingPunct="1">
              <a:defRPr lang="en-GB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nb-NO"/>
              <a:t>Side </a:t>
            </a:r>
            <a:fld id="{F1BC30E3-FFE5-4B91-AA19-87A149EBB9EE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10413001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DF912F4-A8CC-47BC-9514-290EFCA5B768}"/>
              </a:ext>
            </a:extLst>
          </p:cNvPr>
          <p:cNvSpPr/>
          <p:nvPr userDrawn="1"/>
        </p:nvSpPr>
        <p:spPr>
          <a:xfrm>
            <a:off x="0" y="352668"/>
            <a:ext cx="9524086" cy="74431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25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96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0D637BE-1CBC-4F35-9805-E10DE7899621}"/>
              </a:ext>
            </a:extLst>
          </p:cNvPr>
          <p:cNvSpPr txBox="1"/>
          <p:nvPr userDrawn="1"/>
        </p:nvSpPr>
        <p:spPr>
          <a:xfrm>
            <a:off x="351693" y="467938"/>
            <a:ext cx="2657381" cy="62721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2572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27ACAA"/>
              </a:buClr>
              <a:buSzPct val="70000"/>
              <a:buFontTx/>
              <a:buNone/>
              <a:tabLst/>
              <a:defRPr/>
            </a:pPr>
            <a:r>
              <a:rPr kumimoji="0" lang="nb-NO" sz="4792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Innhold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D6D8592-A4DD-4B75-9686-6AEDCF5CEF81}"/>
              </a:ext>
            </a:extLst>
          </p:cNvPr>
          <p:cNvGrpSpPr/>
          <p:nvPr userDrawn="1"/>
        </p:nvGrpSpPr>
        <p:grpSpPr>
          <a:xfrm>
            <a:off x="9524089" y="352668"/>
            <a:ext cx="2661569" cy="744312"/>
            <a:chOff x="9532620" y="112048"/>
            <a:chExt cx="2665730" cy="745088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D2ADA928-AA3C-427A-A9FC-EE44853B5882}"/>
                </a:ext>
              </a:extLst>
            </p:cNvPr>
            <p:cNvSpPr/>
            <p:nvPr/>
          </p:nvSpPr>
          <p:spPr>
            <a:xfrm>
              <a:off x="9532620" y="112048"/>
              <a:ext cx="2665730" cy="745088"/>
            </a:xfrm>
            <a:prstGeom prst="rect">
              <a:avLst/>
            </a:prstGeom>
            <a:solidFill>
              <a:srgbClr val="F2F2F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ctr" defTabSz="9125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6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grpSp>
          <p:nvGrpSpPr>
            <p:cNvPr id="6" name="Group 4">
              <a:extLst>
                <a:ext uri="{FF2B5EF4-FFF2-40B4-BE49-F238E27FC236}">
                  <a16:creationId xmlns:a16="http://schemas.microsoft.com/office/drawing/2014/main" id="{6C3CD795-40FC-4D50-AFE8-23252E933072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1302119" y="141719"/>
              <a:ext cx="585615" cy="685745"/>
              <a:chOff x="6529" y="3125"/>
              <a:chExt cx="772" cy="904"/>
            </a:xfrm>
          </p:grpSpPr>
          <p:sp>
            <p:nvSpPr>
              <p:cNvPr id="8" name="Freeform 5">
                <a:extLst>
                  <a:ext uri="{FF2B5EF4-FFF2-40B4-BE49-F238E27FC236}">
                    <a16:creationId xmlns:a16="http://schemas.microsoft.com/office/drawing/2014/main" id="{92D5A6CB-3EB5-4EF7-829F-41C908D22DC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29" y="3125"/>
                <a:ext cx="619" cy="226"/>
              </a:xfrm>
              <a:custGeom>
                <a:avLst/>
                <a:gdLst>
                  <a:gd name="T0" fmla="*/ 2473 w 2473"/>
                  <a:gd name="T1" fmla="*/ 0 h 902"/>
                  <a:gd name="T2" fmla="*/ 0 w 2473"/>
                  <a:gd name="T3" fmla="*/ 902 h 902"/>
                  <a:gd name="T4" fmla="*/ 2473 w 2473"/>
                  <a:gd name="T5" fmla="*/ 466 h 902"/>
                  <a:gd name="T6" fmla="*/ 2473 w 2473"/>
                  <a:gd name="T7" fmla="*/ 0 h 9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73" h="902">
                    <a:moveTo>
                      <a:pt x="2473" y="0"/>
                    </a:moveTo>
                    <a:lnTo>
                      <a:pt x="0" y="902"/>
                    </a:lnTo>
                    <a:lnTo>
                      <a:pt x="2473" y="466"/>
                    </a:lnTo>
                    <a:lnTo>
                      <a:pt x="2473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44" tIns="45672" rIns="91344" bIns="4567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25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96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endParaRPr>
              </a:p>
            </p:txBody>
          </p:sp>
          <p:sp>
            <p:nvSpPr>
              <p:cNvPr id="9" name="Freeform 6">
                <a:extLst>
                  <a:ext uri="{FF2B5EF4-FFF2-40B4-BE49-F238E27FC236}">
                    <a16:creationId xmlns:a16="http://schemas.microsoft.com/office/drawing/2014/main" id="{700B2B41-C3FF-43C3-8CE8-B09C5180C76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529" y="3444"/>
                <a:ext cx="772" cy="585"/>
              </a:xfrm>
              <a:custGeom>
                <a:avLst/>
                <a:gdLst>
                  <a:gd name="T0" fmla="*/ 233 w 3088"/>
                  <a:gd name="T1" fmla="*/ 1588 h 2339"/>
                  <a:gd name="T2" fmla="*/ 253 w 3088"/>
                  <a:gd name="T3" fmla="*/ 1795 h 2339"/>
                  <a:gd name="T4" fmla="*/ 151 w 3088"/>
                  <a:gd name="T5" fmla="*/ 1810 h 2339"/>
                  <a:gd name="T6" fmla="*/ 351 w 3088"/>
                  <a:gd name="T7" fmla="*/ 1761 h 2339"/>
                  <a:gd name="T8" fmla="*/ 416 w 3088"/>
                  <a:gd name="T9" fmla="*/ 1857 h 2339"/>
                  <a:gd name="T10" fmla="*/ 1140 w 3088"/>
                  <a:gd name="T11" fmla="*/ 1652 h 2339"/>
                  <a:gd name="T12" fmla="*/ 1216 w 3088"/>
                  <a:gd name="T13" fmla="*/ 1738 h 2339"/>
                  <a:gd name="T14" fmla="*/ 696 w 3088"/>
                  <a:gd name="T15" fmla="*/ 1546 h 2339"/>
                  <a:gd name="T16" fmla="*/ 738 w 3088"/>
                  <a:gd name="T17" fmla="*/ 1710 h 2339"/>
                  <a:gd name="T18" fmla="*/ 860 w 3088"/>
                  <a:gd name="T19" fmla="*/ 1854 h 2339"/>
                  <a:gd name="T20" fmla="*/ 832 w 3088"/>
                  <a:gd name="T21" fmla="*/ 1684 h 2339"/>
                  <a:gd name="T22" fmla="*/ 2021 w 3088"/>
                  <a:gd name="T23" fmla="*/ 1860 h 2339"/>
                  <a:gd name="T24" fmla="*/ 2158 w 3088"/>
                  <a:gd name="T25" fmla="*/ 1747 h 2339"/>
                  <a:gd name="T26" fmla="*/ 2100 w 3088"/>
                  <a:gd name="T27" fmla="*/ 1730 h 2339"/>
                  <a:gd name="T28" fmla="*/ 2059 w 3088"/>
                  <a:gd name="T29" fmla="*/ 1684 h 2339"/>
                  <a:gd name="T30" fmla="*/ 1309 w 3088"/>
                  <a:gd name="T31" fmla="*/ 1734 h 2339"/>
                  <a:gd name="T32" fmla="*/ 1445 w 3088"/>
                  <a:gd name="T33" fmla="*/ 1844 h 2339"/>
                  <a:gd name="T34" fmla="*/ 1473 w 3088"/>
                  <a:gd name="T35" fmla="*/ 1923 h 2339"/>
                  <a:gd name="T36" fmla="*/ 1369 w 3088"/>
                  <a:gd name="T37" fmla="*/ 1781 h 2339"/>
                  <a:gd name="T38" fmla="*/ 1727 w 3088"/>
                  <a:gd name="T39" fmla="*/ 1677 h 2339"/>
                  <a:gd name="T40" fmla="*/ 1632 w 3088"/>
                  <a:gd name="T41" fmla="*/ 1778 h 2339"/>
                  <a:gd name="T42" fmla="*/ 1822 w 3088"/>
                  <a:gd name="T43" fmla="*/ 1710 h 2339"/>
                  <a:gd name="T44" fmla="*/ 1686 w 3088"/>
                  <a:gd name="T45" fmla="*/ 1786 h 2339"/>
                  <a:gd name="T46" fmla="*/ 1708 w 3088"/>
                  <a:gd name="T47" fmla="*/ 1817 h 2339"/>
                  <a:gd name="T48" fmla="*/ 2240 w 3088"/>
                  <a:gd name="T49" fmla="*/ 1766 h 2339"/>
                  <a:gd name="T50" fmla="*/ 2227 w 3088"/>
                  <a:gd name="T51" fmla="*/ 1653 h 2339"/>
                  <a:gd name="T52" fmla="*/ 2290 w 3088"/>
                  <a:gd name="T53" fmla="*/ 1866 h 2339"/>
                  <a:gd name="T54" fmla="*/ 2321 w 3088"/>
                  <a:gd name="T55" fmla="*/ 1709 h 2339"/>
                  <a:gd name="T56" fmla="*/ 2908 w 3088"/>
                  <a:gd name="T57" fmla="*/ 1750 h 2339"/>
                  <a:gd name="T58" fmla="*/ 2730 w 3088"/>
                  <a:gd name="T59" fmla="*/ 1683 h 2339"/>
                  <a:gd name="T60" fmla="*/ 2852 w 3088"/>
                  <a:gd name="T61" fmla="*/ 1860 h 2339"/>
                  <a:gd name="T62" fmla="*/ 2639 w 3088"/>
                  <a:gd name="T63" fmla="*/ 1783 h 2339"/>
                  <a:gd name="T64" fmla="*/ 2605 w 3088"/>
                  <a:gd name="T65" fmla="*/ 1853 h 2339"/>
                  <a:gd name="T66" fmla="*/ 2464 w 3088"/>
                  <a:gd name="T67" fmla="*/ 1861 h 2339"/>
                  <a:gd name="T68" fmla="*/ 2495 w 3088"/>
                  <a:gd name="T69" fmla="*/ 1812 h 2339"/>
                  <a:gd name="T70" fmla="*/ 2998 w 3088"/>
                  <a:gd name="T71" fmla="*/ 1639 h 2339"/>
                  <a:gd name="T72" fmla="*/ 975 w 3088"/>
                  <a:gd name="T73" fmla="*/ 1860 h 2339"/>
                  <a:gd name="T74" fmla="*/ 2416 w 3088"/>
                  <a:gd name="T75" fmla="*/ 2069 h 2339"/>
                  <a:gd name="T76" fmla="*/ 2510 w 3088"/>
                  <a:gd name="T77" fmla="*/ 2251 h 2339"/>
                  <a:gd name="T78" fmla="*/ 2485 w 3088"/>
                  <a:gd name="T79" fmla="*/ 2074 h 2339"/>
                  <a:gd name="T80" fmla="*/ 627 w 3088"/>
                  <a:gd name="T81" fmla="*/ 2078 h 2339"/>
                  <a:gd name="T82" fmla="*/ 672 w 3088"/>
                  <a:gd name="T83" fmla="*/ 2089 h 2339"/>
                  <a:gd name="T84" fmla="*/ 202 w 3088"/>
                  <a:gd name="T85" fmla="*/ 2135 h 2339"/>
                  <a:gd name="T86" fmla="*/ 310 w 3088"/>
                  <a:gd name="T87" fmla="*/ 2174 h 2339"/>
                  <a:gd name="T88" fmla="*/ 503 w 3088"/>
                  <a:gd name="T89" fmla="*/ 2174 h 2339"/>
                  <a:gd name="T90" fmla="*/ 374 w 3088"/>
                  <a:gd name="T91" fmla="*/ 2185 h 2339"/>
                  <a:gd name="T92" fmla="*/ 439 w 3088"/>
                  <a:gd name="T93" fmla="*/ 2185 h 2339"/>
                  <a:gd name="T94" fmla="*/ 2197 w 3088"/>
                  <a:gd name="T95" fmla="*/ 2040 h 2339"/>
                  <a:gd name="T96" fmla="*/ 1597 w 3088"/>
                  <a:gd name="T97" fmla="*/ 2027 h 2339"/>
                  <a:gd name="T98" fmla="*/ 1937 w 3088"/>
                  <a:gd name="T99" fmla="*/ 2047 h 2339"/>
                  <a:gd name="T100" fmla="*/ 2002 w 3088"/>
                  <a:gd name="T101" fmla="*/ 2254 h 2339"/>
                  <a:gd name="T102" fmla="*/ 2061 w 3088"/>
                  <a:gd name="T103" fmla="*/ 2041 h 2339"/>
                  <a:gd name="T104" fmla="*/ 2002 w 3088"/>
                  <a:gd name="T105" fmla="*/ 2073 h 2339"/>
                  <a:gd name="T106" fmla="*/ 767 w 3088"/>
                  <a:gd name="T107" fmla="*/ 1934 h 2339"/>
                  <a:gd name="T108" fmla="*/ 1202 w 3088"/>
                  <a:gd name="T109" fmla="*/ 2037 h 2339"/>
                  <a:gd name="T110" fmla="*/ 1108 w 3088"/>
                  <a:gd name="T111" fmla="*/ 2086 h 2339"/>
                  <a:gd name="T112" fmla="*/ 1280 w 3088"/>
                  <a:gd name="T113" fmla="*/ 2078 h 2339"/>
                  <a:gd name="T114" fmla="*/ 1385 w 3088"/>
                  <a:gd name="T115" fmla="*/ 2249 h 2339"/>
                  <a:gd name="T116" fmla="*/ 1403 w 3088"/>
                  <a:gd name="T117" fmla="*/ 2332 h 2339"/>
                  <a:gd name="T118" fmla="*/ 1354 w 3088"/>
                  <a:gd name="T119" fmla="*/ 2200 h 2339"/>
                  <a:gd name="T120" fmla="*/ 993 w 3088"/>
                  <a:gd name="T121" fmla="*/ 2123 h 2339"/>
                  <a:gd name="T122" fmla="*/ 397 w 3088"/>
                  <a:gd name="T123" fmla="*/ 963 h 23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088" h="2339">
                    <a:moveTo>
                      <a:pt x="257" y="1763"/>
                    </a:moveTo>
                    <a:lnTo>
                      <a:pt x="257" y="1763"/>
                    </a:lnTo>
                    <a:lnTo>
                      <a:pt x="257" y="1755"/>
                    </a:lnTo>
                    <a:lnTo>
                      <a:pt x="256" y="1749"/>
                    </a:lnTo>
                    <a:lnTo>
                      <a:pt x="253" y="1736"/>
                    </a:lnTo>
                    <a:lnTo>
                      <a:pt x="247" y="1725"/>
                    </a:lnTo>
                    <a:lnTo>
                      <a:pt x="241" y="1716"/>
                    </a:lnTo>
                    <a:lnTo>
                      <a:pt x="233" y="1709"/>
                    </a:lnTo>
                    <a:lnTo>
                      <a:pt x="225" y="1704"/>
                    </a:lnTo>
                    <a:lnTo>
                      <a:pt x="219" y="1699"/>
                    </a:lnTo>
                    <a:lnTo>
                      <a:pt x="212" y="1696"/>
                    </a:lnTo>
                    <a:lnTo>
                      <a:pt x="212" y="1696"/>
                    </a:lnTo>
                    <a:lnTo>
                      <a:pt x="220" y="1690"/>
                    </a:lnTo>
                    <a:lnTo>
                      <a:pt x="226" y="1685"/>
                    </a:lnTo>
                    <a:lnTo>
                      <a:pt x="232" y="1678"/>
                    </a:lnTo>
                    <a:lnTo>
                      <a:pt x="237" y="1671"/>
                    </a:lnTo>
                    <a:lnTo>
                      <a:pt x="242" y="1663"/>
                    </a:lnTo>
                    <a:lnTo>
                      <a:pt x="244" y="1654"/>
                    </a:lnTo>
                    <a:lnTo>
                      <a:pt x="246" y="1645"/>
                    </a:lnTo>
                    <a:lnTo>
                      <a:pt x="246" y="1635"/>
                    </a:lnTo>
                    <a:lnTo>
                      <a:pt x="246" y="1635"/>
                    </a:lnTo>
                    <a:lnTo>
                      <a:pt x="246" y="1626"/>
                    </a:lnTo>
                    <a:lnTo>
                      <a:pt x="245" y="1618"/>
                    </a:lnTo>
                    <a:lnTo>
                      <a:pt x="243" y="1610"/>
                    </a:lnTo>
                    <a:lnTo>
                      <a:pt x="241" y="1602"/>
                    </a:lnTo>
                    <a:lnTo>
                      <a:pt x="237" y="1594"/>
                    </a:lnTo>
                    <a:lnTo>
                      <a:pt x="233" y="1588"/>
                    </a:lnTo>
                    <a:lnTo>
                      <a:pt x="227" y="1582"/>
                    </a:lnTo>
                    <a:lnTo>
                      <a:pt x="222" y="1577"/>
                    </a:lnTo>
                    <a:lnTo>
                      <a:pt x="215" y="1572"/>
                    </a:lnTo>
                    <a:lnTo>
                      <a:pt x="209" y="1568"/>
                    </a:lnTo>
                    <a:lnTo>
                      <a:pt x="201" y="1565"/>
                    </a:lnTo>
                    <a:lnTo>
                      <a:pt x="192" y="1561"/>
                    </a:lnTo>
                    <a:lnTo>
                      <a:pt x="183" y="1559"/>
                    </a:lnTo>
                    <a:lnTo>
                      <a:pt x="173" y="1557"/>
                    </a:lnTo>
                    <a:lnTo>
                      <a:pt x="163" y="1557"/>
                    </a:lnTo>
                    <a:lnTo>
                      <a:pt x="152" y="1556"/>
                    </a:lnTo>
                    <a:lnTo>
                      <a:pt x="22" y="1556"/>
                    </a:lnTo>
                    <a:lnTo>
                      <a:pt x="22" y="1860"/>
                    </a:lnTo>
                    <a:lnTo>
                      <a:pt x="151" y="1860"/>
                    </a:lnTo>
                    <a:lnTo>
                      <a:pt x="151" y="1860"/>
                    </a:lnTo>
                    <a:lnTo>
                      <a:pt x="163" y="1860"/>
                    </a:lnTo>
                    <a:lnTo>
                      <a:pt x="174" y="1859"/>
                    </a:lnTo>
                    <a:lnTo>
                      <a:pt x="185" y="1857"/>
                    </a:lnTo>
                    <a:lnTo>
                      <a:pt x="195" y="1854"/>
                    </a:lnTo>
                    <a:lnTo>
                      <a:pt x="205" y="1850"/>
                    </a:lnTo>
                    <a:lnTo>
                      <a:pt x="214" y="1846"/>
                    </a:lnTo>
                    <a:lnTo>
                      <a:pt x="222" y="1840"/>
                    </a:lnTo>
                    <a:lnTo>
                      <a:pt x="228" y="1835"/>
                    </a:lnTo>
                    <a:lnTo>
                      <a:pt x="235" y="1828"/>
                    </a:lnTo>
                    <a:lnTo>
                      <a:pt x="241" y="1821"/>
                    </a:lnTo>
                    <a:lnTo>
                      <a:pt x="246" y="1813"/>
                    </a:lnTo>
                    <a:lnTo>
                      <a:pt x="249" y="1804"/>
                    </a:lnTo>
                    <a:lnTo>
                      <a:pt x="253" y="1795"/>
                    </a:lnTo>
                    <a:lnTo>
                      <a:pt x="255" y="1785"/>
                    </a:lnTo>
                    <a:lnTo>
                      <a:pt x="256" y="1774"/>
                    </a:lnTo>
                    <a:lnTo>
                      <a:pt x="257" y="1763"/>
                    </a:lnTo>
                    <a:lnTo>
                      <a:pt x="257" y="1763"/>
                    </a:lnTo>
                    <a:close/>
                    <a:moveTo>
                      <a:pt x="151" y="1810"/>
                    </a:moveTo>
                    <a:lnTo>
                      <a:pt x="78" y="1810"/>
                    </a:lnTo>
                    <a:lnTo>
                      <a:pt x="78" y="1722"/>
                    </a:lnTo>
                    <a:lnTo>
                      <a:pt x="151" y="1722"/>
                    </a:lnTo>
                    <a:lnTo>
                      <a:pt x="151" y="1722"/>
                    </a:lnTo>
                    <a:lnTo>
                      <a:pt x="162" y="1723"/>
                    </a:lnTo>
                    <a:lnTo>
                      <a:pt x="171" y="1725"/>
                    </a:lnTo>
                    <a:lnTo>
                      <a:pt x="179" y="1728"/>
                    </a:lnTo>
                    <a:lnTo>
                      <a:pt x="185" y="1733"/>
                    </a:lnTo>
                    <a:lnTo>
                      <a:pt x="191" y="1739"/>
                    </a:lnTo>
                    <a:lnTo>
                      <a:pt x="194" y="1747"/>
                    </a:lnTo>
                    <a:lnTo>
                      <a:pt x="196" y="1755"/>
                    </a:lnTo>
                    <a:lnTo>
                      <a:pt x="198" y="1765"/>
                    </a:lnTo>
                    <a:lnTo>
                      <a:pt x="198" y="1765"/>
                    </a:lnTo>
                    <a:lnTo>
                      <a:pt x="196" y="1775"/>
                    </a:lnTo>
                    <a:lnTo>
                      <a:pt x="194" y="1784"/>
                    </a:lnTo>
                    <a:lnTo>
                      <a:pt x="190" y="1792"/>
                    </a:lnTo>
                    <a:lnTo>
                      <a:pt x="185" y="1797"/>
                    </a:lnTo>
                    <a:lnTo>
                      <a:pt x="179" y="1803"/>
                    </a:lnTo>
                    <a:lnTo>
                      <a:pt x="171" y="1806"/>
                    </a:lnTo>
                    <a:lnTo>
                      <a:pt x="161" y="1808"/>
                    </a:lnTo>
                    <a:lnTo>
                      <a:pt x="151" y="1810"/>
                    </a:lnTo>
                    <a:lnTo>
                      <a:pt x="151" y="1810"/>
                    </a:lnTo>
                    <a:close/>
                    <a:moveTo>
                      <a:pt x="150" y="1673"/>
                    </a:moveTo>
                    <a:lnTo>
                      <a:pt x="78" y="1673"/>
                    </a:lnTo>
                    <a:lnTo>
                      <a:pt x="78" y="1608"/>
                    </a:lnTo>
                    <a:lnTo>
                      <a:pt x="148" y="1608"/>
                    </a:lnTo>
                    <a:lnTo>
                      <a:pt x="148" y="1608"/>
                    </a:lnTo>
                    <a:lnTo>
                      <a:pt x="157" y="1609"/>
                    </a:lnTo>
                    <a:lnTo>
                      <a:pt x="166" y="1610"/>
                    </a:lnTo>
                    <a:lnTo>
                      <a:pt x="172" y="1612"/>
                    </a:lnTo>
                    <a:lnTo>
                      <a:pt x="178" y="1615"/>
                    </a:lnTo>
                    <a:lnTo>
                      <a:pt x="182" y="1621"/>
                    </a:lnTo>
                    <a:lnTo>
                      <a:pt x="185" y="1626"/>
                    </a:lnTo>
                    <a:lnTo>
                      <a:pt x="187" y="1633"/>
                    </a:lnTo>
                    <a:lnTo>
                      <a:pt x="188" y="1641"/>
                    </a:lnTo>
                    <a:lnTo>
                      <a:pt x="188" y="1641"/>
                    </a:lnTo>
                    <a:lnTo>
                      <a:pt x="188" y="1646"/>
                    </a:lnTo>
                    <a:lnTo>
                      <a:pt x="187" y="1652"/>
                    </a:lnTo>
                    <a:lnTo>
                      <a:pt x="184" y="1657"/>
                    </a:lnTo>
                    <a:lnTo>
                      <a:pt x="181" y="1662"/>
                    </a:lnTo>
                    <a:lnTo>
                      <a:pt x="175" y="1666"/>
                    </a:lnTo>
                    <a:lnTo>
                      <a:pt x="169" y="1669"/>
                    </a:lnTo>
                    <a:lnTo>
                      <a:pt x="161" y="1672"/>
                    </a:lnTo>
                    <a:lnTo>
                      <a:pt x="150" y="1673"/>
                    </a:lnTo>
                    <a:lnTo>
                      <a:pt x="150" y="1673"/>
                    </a:lnTo>
                    <a:close/>
                    <a:moveTo>
                      <a:pt x="296" y="1764"/>
                    </a:moveTo>
                    <a:lnTo>
                      <a:pt x="296" y="1639"/>
                    </a:lnTo>
                    <a:lnTo>
                      <a:pt x="351" y="1639"/>
                    </a:lnTo>
                    <a:lnTo>
                      <a:pt x="351" y="1761"/>
                    </a:lnTo>
                    <a:lnTo>
                      <a:pt x="351" y="1761"/>
                    </a:lnTo>
                    <a:lnTo>
                      <a:pt x="351" y="1773"/>
                    </a:lnTo>
                    <a:lnTo>
                      <a:pt x="353" y="1785"/>
                    </a:lnTo>
                    <a:lnTo>
                      <a:pt x="356" y="1794"/>
                    </a:lnTo>
                    <a:lnTo>
                      <a:pt x="361" y="1802"/>
                    </a:lnTo>
                    <a:lnTo>
                      <a:pt x="366" y="1807"/>
                    </a:lnTo>
                    <a:lnTo>
                      <a:pt x="373" y="1812"/>
                    </a:lnTo>
                    <a:lnTo>
                      <a:pt x="382" y="1814"/>
                    </a:lnTo>
                    <a:lnTo>
                      <a:pt x="392" y="1815"/>
                    </a:lnTo>
                    <a:lnTo>
                      <a:pt x="392" y="1815"/>
                    </a:lnTo>
                    <a:lnTo>
                      <a:pt x="402" y="1814"/>
                    </a:lnTo>
                    <a:lnTo>
                      <a:pt x="409" y="1812"/>
                    </a:lnTo>
                    <a:lnTo>
                      <a:pt x="417" y="1807"/>
                    </a:lnTo>
                    <a:lnTo>
                      <a:pt x="423" y="1802"/>
                    </a:lnTo>
                    <a:lnTo>
                      <a:pt x="427" y="1794"/>
                    </a:lnTo>
                    <a:lnTo>
                      <a:pt x="430" y="1784"/>
                    </a:lnTo>
                    <a:lnTo>
                      <a:pt x="433" y="1773"/>
                    </a:lnTo>
                    <a:lnTo>
                      <a:pt x="433" y="1761"/>
                    </a:lnTo>
                    <a:lnTo>
                      <a:pt x="433" y="1639"/>
                    </a:lnTo>
                    <a:lnTo>
                      <a:pt x="488" y="1639"/>
                    </a:lnTo>
                    <a:lnTo>
                      <a:pt x="488" y="1860"/>
                    </a:lnTo>
                    <a:lnTo>
                      <a:pt x="433" y="1860"/>
                    </a:lnTo>
                    <a:lnTo>
                      <a:pt x="433" y="1843"/>
                    </a:lnTo>
                    <a:lnTo>
                      <a:pt x="433" y="1843"/>
                    </a:lnTo>
                    <a:lnTo>
                      <a:pt x="428" y="1848"/>
                    </a:lnTo>
                    <a:lnTo>
                      <a:pt x="422" y="1853"/>
                    </a:lnTo>
                    <a:lnTo>
                      <a:pt x="416" y="1857"/>
                    </a:lnTo>
                    <a:lnTo>
                      <a:pt x="409" y="1859"/>
                    </a:lnTo>
                    <a:lnTo>
                      <a:pt x="403" y="1862"/>
                    </a:lnTo>
                    <a:lnTo>
                      <a:pt x="395" y="1864"/>
                    </a:lnTo>
                    <a:lnTo>
                      <a:pt x="387" y="1865"/>
                    </a:lnTo>
                    <a:lnTo>
                      <a:pt x="380" y="1866"/>
                    </a:lnTo>
                    <a:lnTo>
                      <a:pt x="380" y="1866"/>
                    </a:lnTo>
                    <a:lnTo>
                      <a:pt x="366" y="1865"/>
                    </a:lnTo>
                    <a:lnTo>
                      <a:pt x="355" y="1862"/>
                    </a:lnTo>
                    <a:lnTo>
                      <a:pt x="345" y="1859"/>
                    </a:lnTo>
                    <a:lnTo>
                      <a:pt x="336" y="1855"/>
                    </a:lnTo>
                    <a:lnTo>
                      <a:pt x="328" y="1849"/>
                    </a:lnTo>
                    <a:lnTo>
                      <a:pt x="321" y="1844"/>
                    </a:lnTo>
                    <a:lnTo>
                      <a:pt x="316" y="1836"/>
                    </a:lnTo>
                    <a:lnTo>
                      <a:pt x="310" y="1828"/>
                    </a:lnTo>
                    <a:lnTo>
                      <a:pt x="307" y="1821"/>
                    </a:lnTo>
                    <a:lnTo>
                      <a:pt x="304" y="1813"/>
                    </a:lnTo>
                    <a:lnTo>
                      <a:pt x="299" y="1795"/>
                    </a:lnTo>
                    <a:lnTo>
                      <a:pt x="297" y="1779"/>
                    </a:lnTo>
                    <a:lnTo>
                      <a:pt x="296" y="1764"/>
                    </a:lnTo>
                    <a:lnTo>
                      <a:pt x="296" y="1764"/>
                    </a:lnTo>
                    <a:close/>
                    <a:moveTo>
                      <a:pt x="1135" y="1860"/>
                    </a:moveTo>
                    <a:lnTo>
                      <a:pt x="1079" y="1860"/>
                    </a:lnTo>
                    <a:lnTo>
                      <a:pt x="1079" y="1639"/>
                    </a:lnTo>
                    <a:lnTo>
                      <a:pt x="1135" y="1639"/>
                    </a:lnTo>
                    <a:lnTo>
                      <a:pt x="1135" y="1657"/>
                    </a:lnTo>
                    <a:lnTo>
                      <a:pt x="1135" y="1657"/>
                    </a:lnTo>
                    <a:lnTo>
                      <a:pt x="1140" y="1652"/>
                    </a:lnTo>
                    <a:lnTo>
                      <a:pt x="1146" y="1646"/>
                    </a:lnTo>
                    <a:lnTo>
                      <a:pt x="1152" y="1643"/>
                    </a:lnTo>
                    <a:lnTo>
                      <a:pt x="1159" y="1640"/>
                    </a:lnTo>
                    <a:lnTo>
                      <a:pt x="1167" y="1636"/>
                    </a:lnTo>
                    <a:lnTo>
                      <a:pt x="1173" y="1635"/>
                    </a:lnTo>
                    <a:lnTo>
                      <a:pt x="1182" y="1634"/>
                    </a:lnTo>
                    <a:lnTo>
                      <a:pt x="1190" y="1633"/>
                    </a:lnTo>
                    <a:lnTo>
                      <a:pt x="1190" y="1633"/>
                    </a:lnTo>
                    <a:lnTo>
                      <a:pt x="1200" y="1634"/>
                    </a:lnTo>
                    <a:lnTo>
                      <a:pt x="1208" y="1635"/>
                    </a:lnTo>
                    <a:lnTo>
                      <a:pt x="1217" y="1637"/>
                    </a:lnTo>
                    <a:lnTo>
                      <a:pt x="1225" y="1640"/>
                    </a:lnTo>
                    <a:lnTo>
                      <a:pt x="1233" y="1643"/>
                    </a:lnTo>
                    <a:lnTo>
                      <a:pt x="1239" y="1648"/>
                    </a:lnTo>
                    <a:lnTo>
                      <a:pt x="1245" y="1653"/>
                    </a:lnTo>
                    <a:lnTo>
                      <a:pt x="1250" y="1659"/>
                    </a:lnTo>
                    <a:lnTo>
                      <a:pt x="1256" y="1666"/>
                    </a:lnTo>
                    <a:lnTo>
                      <a:pt x="1259" y="1674"/>
                    </a:lnTo>
                    <a:lnTo>
                      <a:pt x="1264" y="1682"/>
                    </a:lnTo>
                    <a:lnTo>
                      <a:pt x="1266" y="1690"/>
                    </a:lnTo>
                    <a:lnTo>
                      <a:pt x="1268" y="1700"/>
                    </a:lnTo>
                    <a:lnTo>
                      <a:pt x="1270" y="1711"/>
                    </a:lnTo>
                    <a:lnTo>
                      <a:pt x="1271" y="1722"/>
                    </a:lnTo>
                    <a:lnTo>
                      <a:pt x="1271" y="1734"/>
                    </a:lnTo>
                    <a:lnTo>
                      <a:pt x="1271" y="1860"/>
                    </a:lnTo>
                    <a:lnTo>
                      <a:pt x="1216" y="1860"/>
                    </a:lnTo>
                    <a:lnTo>
                      <a:pt x="1216" y="1738"/>
                    </a:lnTo>
                    <a:lnTo>
                      <a:pt x="1216" y="1738"/>
                    </a:lnTo>
                    <a:lnTo>
                      <a:pt x="1216" y="1725"/>
                    </a:lnTo>
                    <a:lnTo>
                      <a:pt x="1214" y="1714"/>
                    </a:lnTo>
                    <a:lnTo>
                      <a:pt x="1211" y="1705"/>
                    </a:lnTo>
                    <a:lnTo>
                      <a:pt x="1206" y="1697"/>
                    </a:lnTo>
                    <a:lnTo>
                      <a:pt x="1201" y="1691"/>
                    </a:lnTo>
                    <a:lnTo>
                      <a:pt x="1194" y="1687"/>
                    </a:lnTo>
                    <a:lnTo>
                      <a:pt x="1186" y="1685"/>
                    </a:lnTo>
                    <a:lnTo>
                      <a:pt x="1176" y="1684"/>
                    </a:lnTo>
                    <a:lnTo>
                      <a:pt x="1176" y="1684"/>
                    </a:lnTo>
                    <a:lnTo>
                      <a:pt x="1167" y="1685"/>
                    </a:lnTo>
                    <a:lnTo>
                      <a:pt x="1158" y="1687"/>
                    </a:lnTo>
                    <a:lnTo>
                      <a:pt x="1151" y="1691"/>
                    </a:lnTo>
                    <a:lnTo>
                      <a:pt x="1146" y="1697"/>
                    </a:lnTo>
                    <a:lnTo>
                      <a:pt x="1140" y="1705"/>
                    </a:lnTo>
                    <a:lnTo>
                      <a:pt x="1137" y="1715"/>
                    </a:lnTo>
                    <a:lnTo>
                      <a:pt x="1135" y="1726"/>
                    </a:lnTo>
                    <a:lnTo>
                      <a:pt x="1135" y="1738"/>
                    </a:lnTo>
                    <a:lnTo>
                      <a:pt x="1135" y="1860"/>
                    </a:lnTo>
                    <a:close/>
                    <a:moveTo>
                      <a:pt x="593" y="1742"/>
                    </a:moveTo>
                    <a:lnTo>
                      <a:pt x="593" y="1860"/>
                    </a:lnTo>
                    <a:lnTo>
                      <a:pt x="537" y="1860"/>
                    </a:lnTo>
                    <a:lnTo>
                      <a:pt x="537" y="1639"/>
                    </a:lnTo>
                    <a:lnTo>
                      <a:pt x="593" y="1639"/>
                    </a:lnTo>
                    <a:lnTo>
                      <a:pt x="593" y="1742"/>
                    </a:lnTo>
                    <a:close/>
                    <a:moveTo>
                      <a:pt x="641" y="1573"/>
                    </a:moveTo>
                    <a:lnTo>
                      <a:pt x="696" y="1546"/>
                    </a:lnTo>
                    <a:lnTo>
                      <a:pt x="696" y="1747"/>
                    </a:lnTo>
                    <a:lnTo>
                      <a:pt x="696" y="1860"/>
                    </a:lnTo>
                    <a:lnTo>
                      <a:pt x="641" y="1860"/>
                    </a:lnTo>
                    <a:lnTo>
                      <a:pt x="641" y="1573"/>
                    </a:lnTo>
                    <a:close/>
                    <a:moveTo>
                      <a:pt x="871" y="1654"/>
                    </a:moveTo>
                    <a:lnTo>
                      <a:pt x="871" y="1654"/>
                    </a:lnTo>
                    <a:lnTo>
                      <a:pt x="866" y="1648"/>
                    </a:lnTo>
                    <a:lnTo>
                      <a:pt x="861" y="1645"/>
                    </a:lnTo>
                    <a:lnTo>
                      <a:pt x="854" y="1641"/>
                    </a:lnTo>
                    <a:lnTo>
                      <a:pt x="849" y="1639"/>
                    </a:lnTo>
                    <a:lnTo>
                      <a:pt x="842" y="1636"/>
                    </a:lnTo>
                    <a:lnTo>
                      <a:pt x="835" y="1634"/>
                    </a:lnTo>
                    <a:lnTo>
                      <a:pt x="822" y="1633"/>
                    </a:lnTo>
                    <a:lnTo>
                      <a:pt x="822" y="1633"/>
                    </a:lnTo>
                    <a:lnTo>
                      <a:pt x="812" y="1634"/>
                    </a:lnTo>
                    <a:lnTo>
                      <a:pt x="802" y="1635"/>
                    </a:lnTo>
                    <a:lnTo>
                      <a:pt x="794" y="1637"/>
                    </a:lnTo>
                    <a:lnTo>
                      <a:pt x="786" y="1641"/>
                    </a:lnTo>
                    <a:lnTo>
                      <a:pt x="778" y="1645"/>
                    </a:lnTo>
                    <a:lnTo>
                      <a:pt x="770" y="1651"/>
                    </a:lnTo>
                    <a:lnTo>
                      <a:pt x="764" y="1657"/>
                    </a:lnTo>
                    <a:lnTo>
                      <a:pt x="758" y="1664"/>
                    </a:lnTo>
                    <a:lnTo>
                      <a:pt x="753" y="1672"/>
                    </a:lnTo>
                    <a:lnTo>
                      <a:pt x="748" y="1680"/>
                    </a:lnTo>
                    <a:lnTo>
                      <a:pt x="744" y="1689"/>
                    </a:lnTo>
                    <a:lnTo>
                      <a:pt x="741" y="1699"/>
                    </a:lnTo>
                    <a:lnTo>
                      <a:pt x="738" y="1710"/>
                    </a:lnTo>
                    <a:lnTo>
                      <a:pt x="736" y="1722"/>
                    </a:lnTo>
                    <a:lnTo>
                      <a:pt x="735" y="1734"/>
                    </a:lnTo>
                    <a:lnTo>
                      <a:pt x="735" y="1747"/>
                    </a:lnTo>
                    <a:lnTo>
                      <a:pt x="735" y="1747"/>
                    </a:lnTo>
                    <a:lnTo>
                      <a:pt x="735" y="1761"/>
                    </a:lnTo>
                    <a:lnTo>
                      <a:pt x="736" y="1773"/>
                    </a:lnTo>
                    <a:lnTo>
                      <a:pt x="738" y="1785"/>
                    </a:lnTo>
                    <a:lnTo>
                      <a:pt x="741" y="1796"/>
                    </a:lnTo>
                    <a:lnTo>
                      <a:pt x="744" y="1807"/>
                    </a:lnTo>
                    <a:lnTo>
                      <a:pt x="747" y="1817"/>
                    </a:lnTo>
                    <a:lnTo>
                      <a:pt x="752" y="1826"/>
                    </a:lnTo>
                    <a:lnTo>
                      <a:pt x="757" y="1834"/>
                    </a:lnTo>
                    <a:lnTo>
                      <a:pt x="764" y="1841"/>
                    </a:lnTo>
                    <a:lnTo>
                      <a:pt x="769" y="1847"/>
                    </a:lnTo>
                    <a:lnTo>
                      <a:pt x="777" y="1853"/>
                    </a:lnTo>
                    <a:lnTo>
                      <a:pt x="785" y="1857"/>
                    </a:lnTo>
                    <a:lnTo>
                      <a:pt x="792" y="1860"/>
                    </a:lnTo>
                    <a:lnTo>
                      <a:pt x="801" y="1864"/>
                    </a:lnTo>
                    <a:lnTo>
                      <a:pt x="811" y="1865"/>
                    </a:lnTo>
                    <a:lnTo>
                      <a:pt x="821" y="1866"/>
                    </a:lnTo>
                    <a:lnTo>
                      <a:pt x="821" y="1866"/>
                    </a:lnTo>
                    <a:lnTo>
                      <a:pt x="828" y="1865"/>
                    </a:lnTo>
                    <a:lnTo>
                      <a:pt x="834" y="1864"/>
                    </a:lnTo>
                    <a:lnTo>
                      <a:pt x="841" y="1862"/>
                    </a:lnTo>
                    <a:lnTo>
                      <a:pt x="848" y="1860"/>
                    </a:lnTo>
                    <a:lnTo>
                      <a:pt x="853" y="1857"/>
                    </a:lnTo>
                    <a:lnTo>
                      <a:pt x="860" y="1854"/>
                    </a:lnTo>
                    <a:lnTo>
                      <a:pt x="865" y="1849"/>
                    </a:lnTo>
                    <a:lnTo>
                      <a:pt x="871" y="1844"/>
                    </a:lnTo>
                    <a:lnTo>
                      <a:pt x="871" y="1860"/>
                    </a:lnTo>
                    <a:lnTo>
                      <a:pt x="926" y="1860"/>
                    </a:lnTo>
                    <a:lnTo>
                      <a:pt x="926" y="1546"/>
                    </a:lnTo>
                    <a:lnTo>
                      <a:pt x="871" y="1573"/>
                    </a:lnTo>
                    <a:lnTo>
                      <a:pt x="871" y="1654"/>
                    </a:lnTo>
                    <a:close/>
                    <a:moveTo>
                      <a:pt x="832" y="1815"/>
                    </a:moveTo>
                    <a:lnTo>
                      <a:pt x="832" y="1815"/>
                    </a:lnTo>
                    <a:lnTo>
                      <a:pt x="826" y="1814"/>
                    </a:lnTo>
                    <a:lnTo>
                      <a:pt x="818" y="1812"/>
                    </a:lnTo>
                    <a:lnTo>
                      <a:pt x="811" y="1808"/>
                    </a:lnTo>
                    <a:lnTo>
                      <a:pt x="805" y="1802"/>
                    </a:lnTo>
                    <a:lnTo>
                      <a:pt x="799" y="1793"/>
                    </a:lnTo>
                    <a:lnTo>
                      <a:pt x="795" y="1781"/>
                    </a:lnTo>
                    <a:lnTo>
                      <a:pt x="791" y="1765"/>
                    </a:lnTo>
                    <a:lnTo>
                      <a:pt x="790" y="1746"/>
                    </a:lnTo>
                    <a:lnTo>
                      <a:pt x="790" y="1746"/>
                    </a:lnTo>
                    <a:lnTo>
                      <a:pt x="791" y="1728"/>
                    </a:lnTo>
                    <a:lnTo>
                      <a:pt x="795" y="1715"/>
                    </a:lnTo>
                    <a:lnTo>
                      <a:pt x="799" y="1704"/>
                    </a:lnTo>
                    <a:lnTo>
                      <a:pt x="805" y="1696"/>
                    </a:lnTo>
                    <a:lnTo>
                      <a:pt x="810" y="1689"/>
                    </a:lnTo>
                    <a:lnTo>
                      <a:pt x="818" y="1686"/>
                    </a:lnTo>
                    <a:lnTo>
                      <a:pt x="824" y="1684"/>
                    </a:lnTo>
                    <a:lnTo>
                      <a:pt x="832" y="1684"/>
                    </a:lnTo>
                    <a:lnTo>
                      <a:pt x="832" y="1684"/>
                    </a:lnTo>
                    <a:lnTo>
                      <a:pt x="839" y="1684"/>
                    </a:lnTo>
                    <a:lnTo>
                      <a:pt x="845" y="1686"/>
                    </a:lnTo>
                    <a:lnTo>
                      <a:pt x="852" y="1688"/>
                    </a:lnTo>
                    <a:lnTo>
                      <a:pt x="856" y="1691"/>
                    </a:lnTo>
                    <a:lnTo>
                      <a:pt x="861" y="1695"/>
                    </a:lnTo>
                    <a:lnTo>
                      <a:pt x="865" y="1698"/>
                    </a:lnTo>
                    <a:lnTo>
                      <a:pt x="871" y="1706"/>
                    </a:lnTo>
                    <a:lnTo>
                      <a:pt x="871" y="1793"/>
                    </a:lnTo>
                    <a:lnTo>
                      <a:pt x="871" y="1793"/>
                    </a:lnTo>
                    <a:lnTo>
                      <a:pt x="864" y="1801"/>
                    </a:lnTo>
                    <a:lnTo>
                      <a:pt x="856" y="1807"/>
                    </a:lnTo>
                    <a:lnTo>
                      <a:pt x="852" y="1811"/>
                    </a:lnTo>
                    <a:lnTo>
                      <a:pt x="845" y="1813"/>
                    </a:lnTo>
                    <a:lnTo>
                      <a:pt x="840" y="1814"/>
                    </a:lnTo>
                    <a:lnTo>
                      <a:pt x="832" y="1815"/>
                    </a:lnTo>
                    <a:lnTo>
                      <a:pt x="832" y="1815"/>
                    </a:lnTo>
                    <a:close/>
                    <a:moveTo>
                      <a:pt x="2069" y="1633"/>
                    </a:moveTo>
                    <a:lnTo>
                      <a:pt x="2069" y="1633"/>
                    </a:lnTo>
                    <a:lnTo>
                      <a:pt x="2064" y="1634"/>
                    </a:lnTo>
                    <a:lnTo>
                      <a:pt x="2057" y="1635"/>
                    </a:lnTo>
                    <a:lnTo>
                      <a:pt x="2044" y="1639"/>
                    </a:lnTo>
                    <a:lnTo>
                      <a:pt x="2032" y="1645"/>
                    </a:lnTo>
                    <a:lnTo>
                      <a:pt x="2021" y="1654"/>
                    </a:lnTo>
                    <a:lnTo>
                      <a:pt x="2021" y="1551"/>
                    </a:lnTo>
                    <a:lnTo>
                      <a:pt x="1966" y="1579"/>
                    </a:lnTo>
                    <a:lnTo>
                      <a:pt x="1966" y="1860"/>
                    </a:lnTo>
                    <a:lnTo>
                      <a:pt x="2021" y="1860"/>
                    </a:lnTo>
                    <a:lnTo>
                      <a:pt x="2021" y="1844"/>
                    </a:lnTo>
                    <a:lnTo>
                      <a:pt x="2021" y="1844"/>
                    </a:lnTo>
                    <a:lnTo>
                      <a:pt x="2025" y="1849"/>
                    </a:lnTo>
                    <a:lnTo>
                      <a:pt x="2032" y="1854"/>
                    </a:lnTo>
                    <a:lnTo>
                      <a:pt x="2037" y="1857"/>
                    </a:lnTo>
                    <a:lnTo>
                      <a:pt x="2044" y="1860"/>
                    </a:lnTo>
                    <a:lnTo>
                      <a:pt x="2049" y="1862"/>
                    </a:lnTo>
                    <a:lnTo>
                      <a:pt x="2057" y="1864"/>
                    </a:lnTo>
                    <a:lnTo>
                      <a:pt x="2064" y="1865"/>
                    </a:lnTo>
                    <a:lnTo>
                      <a:pt x="2070" y="1866"/>
                    </a:lnTo>
                    <a:lnTo>
                      <a:pt x="2070" y="1866"/>
                    </a:lnTo>
                    <a:lnTo>
                      <a:pt x="2080" y="1865"/>
                    </a:lnTo>
                    <a:lnTo>
                      <a:pt x="2090" y="1864"/>
                    </a:lnTo>
                    <a:lnTo>
                      <a:pt x="2099" y="1861"/>
                    </a:lnTo>
                    <a:lnTo>
                      <a:pt x="2108" y="1857"/>
                    </a:lnTo>
                    <a:lnTo>
                      <a:pt x="2116" y="1853"/>
                    </a:lnTo>
                    <a:lnTo>
                      <a:pt x="2122" y="1848"/>
                    </a:lnTo>
                    <a:lnTo>
                      <a:pt x="2129" y="1841"/>
                    </a:lnTo>
                    <a:lnTo>
                      <a:pt x="2134" y="1835"/>
                    </a:lnTo>
                    <a:lnTo>
                      <a:pt x="2140" y="1826"/>
                    </a:lnTo>
                    <a:lnTo>
                      <a:pt x="2144" y="1817"/>
                    </a:lnTo>
                    <a:lnTo>
                      <a:pt x="2148" y="1807"/>
                    </a:lnTo>
                    <a:lnTo>
                      <a:pt x="2151" y="1797"/>
                    </a:lnTo>
                    <a:lnTo>
                      <a:pt x="2154" y="1786"/>
                    </a:lnTo>
                    <a:lnTo>
                      <a:pt x="2155" y="1774"/>
                    </a:lnTo>
                    <a:lnTo>
                      <a:pt x="2157" y="1761"/>
                    </a:lnTo>
                    <a:lnTo>
                      <a:pt x="2158" y="1747"/>
                    </a:lnTo>
                    <a:lnTo>
                      <a:pt x="2158" y="1747"/>
                    </a:lnTo>
                    <a:lnTo>
                      <a:pt x="2157" y="1734"/>
                    </a:lnTo>
                    <a:lnTo>
                      <a:pt x="2155" y="1722"/>
                    </a:lnTo>
                    <a:lnTo>
                      <a:pt x="2153" y="1710"/>
                    </a:lnTo>
                    <a:lnTo>
                      <a:pt x="2151" y="1699"/>
                    </a:lnTo>
                    <a:lnTo>
                      <a:pt x="2148" y="1689"/>
                    </a:lnTo>
                    <a:lnTo>
                      <a:pt x="2143" y="1680"/>
                    </a:lnTo>
                    <a:lnTo>
                      <a:pt x="2139" y="1672"/>
                    </a:lnTo>
                    <a:lnTo>
                      <a:pt x="2133" y="1664"/>
                    </a:lnTo>
                    <a:lnTo>
                      <a:pt x="2128" y="1657"/>
                    </a:lnTo>
                    <a:lnTo>
                      <a:pt x="2121" y="1651"/>
                    </a:lnTo>
                    <a:lnTo>
                      <a:pt x="2113" y="1645"/>
                    </a:lnTo>
                    <a:lnTo>
                      <a:pt x="2106" y="1641"/>
                    </a:lnTo>
                    <a:lnTo>
                      <a:pt x="2098" y="1637"/>
                    </a:lnTo>
                    <a:lnTo>
                      <a:pt x="2089" y="1635"/>
                    </a:lnTo>
                    <a:lnTo>
                      <a:pt x="2079" y="1634"/>
                    </a:lnTo>
                    <a:lnTo>
                      <a:pt x="2069" y="1633"/>
                    </a:lnTo>
                    <a:lnTo>
                      <a:pt x="2069" y="1633"/>
                    </a:lnTo>
                    <a:close/>
                    <a:moveTo>
                      <a:pt x="2059" y="1684"/>
                    </a:moveTo>
                    <a:lnTo>
                      <a:pt x="2059" y="1684"/>
                    </a:lnTo>
                    <a:lnTo>
                      <a:pt x="2067" y="1685"/>
                    </a:lnTo>
                    <a:lnTo>
                      <a:pt x="2075" y="1687"/>
                    </a:lnTo>
                    <a:lnTo>
                      <a:pt x="2081" y="1691"/>
                    </a:lnTo>
                    <a:lnTo>
                      <a:pt x="2088" y="1698"/>
                    </a:lnTo>
                    <a:lnTo>
                      <a:pt x="2094" y="1706"/>
                    </a:lnTo>
                    <a:lnTo>
                      <a:pt x="2097" y="1717"/>
                    </a:lnTo>
                    <a:lnTo>
                      <a:pt x="2100" y="1730"/>
                    </a:lnTo>
                    <a:lnTo>
                      <a:pt x="2101" y="1746"/>
                    </a:lnTo>
                    <a:lnTo>
                      <a:pt x="2101" y="1746"/>
                    </a:lnTo>
                    <a:lnTo>
                      <a:pt x="2100" y="1762"/>
                    </a:lnTo>
                    <a:lnTo>
                      <a:pt x="2098" y="1776"/>
                    </a:lnTo>
                    <a:lnTo>
                      <a:pt x="2096" y="1787"/>
                    </a:lnTo>
                    <a:lnTo>
                      <a:pt x="2091" y="1797"/>
                    </a:lnTo>
                    <a:lnTo>
                      <a:pt x="2085" y="1805"/>
                    </a:lnTo>
                    <a:lnTo>
                      <a:pt x="2078" y="1811"/>
                    </a:lnTo>
                    <a:lnTo>
                      <a:pt x="2070" y="1814"/>
                    </a:lnTo>
                    <a:lnTo>
                      <a:pt x="2061" y="1815"/>
                    </a:lnTo>
                    <a:lnTo>
                      <a:pt x="2061" y="1815"/>
                    </a:lnTo>
                    <a:lnTo>
                      <a:pt x="2053" y="1814"/>
                    </a:lnTo>
                    <a:lnTo>
                      <a:pt x="2046" y="1813"/>
                    </a:lnTo>
                    <a:lnTo>
                      <a:pt x="2041" y="1810"/>
                    </a:lnTo>
                    <a:lnTo>
                      <a:pt x="2035" y="1807"/>
                    </a:lnTo>
                    <a:lnTo>
                      <a:pt x="2026" y="1800"/>
                    </a:lnTo>
                    <a:lnTo>
                      <a:pt x="2021" y="1794"/>
                    </a:lnTo>
                    <a:lnTo>
                      <a:pt x="2021" y="1706"/>
                    </a:lnTo>
                    <a:lnTo>
                      <a:pt x="2021" y="1706"/>
                    </a:lnTo>
                    <a:lnTo>
                      <a:pt x="2024" y="1701"/>
                    </a:lnTo>
                    <a:lnTo>
                      <a:pt x="2029" y="1697"/>
                    </a:lnTo>
                    <a:lnTo>
                      <a:pt x="2033" y="1693"/>
                    </a:lnTo>
                    <a:lnTo>
                      <a:pt x="2037" y="1689"/>
                    </a:lnTo>
                    <a:lnTo>
                      <a:pt x="2043" y="1687"/>
                    </a:lnTo>
                    <a:lnTo>
                      <a:pt x="2048" y="1685"/>
                    </a:lnTo>
                    <a:lnTo>
                      <a:pt x="2054" y="1684"/>
                    </a:lnTo>
                    <a:lnTo>
                      <a:pt x="2059" y="1684"/>
                    </a:lnTo>
                    <a:lnTo>
                      <a:pt x="2059" y="1684"/>
                    </a:lnTo>
                    <a:close/>
                    <a:moveTo>
                      <a:pt x="1445" y="1654"/>
                    </a:moveTo>
                    <a:lnTo>
                      <a:pt x="1445" y="1654"/>
                    </a:lnTo>
                    <a:lnTo>
                      <a:pt x="1440" y="1650"/>
                    </a:lnTo>
                    <a:lnTo>
                      <a:pt x="1435" y="1645"/>
                    </a:lnTo>
                    <a:lnTo>
                      <a:pt x="1428" y="1642"/>
                    </a:lnTo>
                    <a:lnTo>
                      <a:pt x="1423" y="1639"/>
                    </a:lnTo>
                    <a:lnTo>
                      <a:pt x="1416" y="1636"/>
                    </a:lnTo>
                    <a:lnTo>
                      <a:pt x="1409" y="1634"/>
                    </a:lnTo>
                    <a:lnTo>
                      <a:pt x="1403" y="1634"/>
                    </a:lnTo>
                    <a:lnTo>
                      <a:pt x="1396" y="1633"/>
                    </a:lnTo>
                    <a:lnTo>
                      <a:pt x="1396" y="1633"/>
                    </a:lnTo>
                    <a:lnTo>
                      <a:pt x="1386" y="1634"/>
                    </a:lnTo>
                    <a:lnTo>
                      <a:pt x="1376" y="1635"/>
                    </a:lnTo>
                    <a:lnTo>
                      <a:pt x="1367" y="1637"/>
                    </a:lnTo>
                    <a:lnTo>
                      <a:pt x="1360" y="1641"/>
                    </a:lnTo>
                    <a:lnTo>
                      <a:pt x="1352" y="1645"/>
                    </a:lnTo>
                    <a:lnTo>
                      <a:pt x="1344" y="1651"/>
                    </a:lnTo>
                    <a:lnTo>
                      <a:pt x="1338" y="1657"/>
                    </a:lnTo>
                    <a:lnTo>
                      <a:pt x="1332" y="1664"/>
                    </a:lnTo>
                    <a:lnTo>
                      <a:pt x="1327" y="1672"/>
                    </a:lnTo>
                    <a:lnTo>
                      <a:pt x="1322" y="1680"/>
                    </a:lnTo>
                    <a:lnTo>
                      <a:pt x="1318" y="1689"/>
                    </a:lnTo>
                    <a:lnTo>
                      <a:pt x="1314" y="1699"/>
                    </a:lnTo>
                    <a:lnTo>
                      <a:pt x="1312" y="1710"/>
                    </a:lnTo>
                    <a:lnTo>
                      <a:pt x="1310" y="1722"/>
                    </a:lnTo>
                    <a:lnTo>
                      <a:pt x="1309" y="1734"/>
                    </a:lnTo>
                    <a:lnTo>
                      <a:pt x="1309" y="1747"/>
                    </a:lnTo>
                    <a:lnTo>
                      <a:pt x="1309" y="1747"/>
                    </a:lnTo>
                    <a:lnTo>
                      <a:pt x="1309" y="1761"/>
                    </a:lnTo>
                    <a:lnTo>
                      <a:pt x="1310" y="1773"/>
                    </a:lnTo>
                    <a:lnTo>
                      <a:pt x="1312" y="1785"/>
                    </a:lnTo>
                    <a:lnTo>
                      <a:pt x="1314" y="1796"/>
                    </a:lnTo>
                    <a:lnTo>
                      <a:pt x="1318" y="1807"/>
                    </a:lnTo>
                    <a:lnTo>
                      <a:pt x="1321" y="1817"/>
                    </a:lnTo>
                    <a:lnTo>
                      <a:pt x="1327" y="1826"/>
                    </a:lnTo>
                    <a:lnTo>
                      <a:pt x="1331" y="1834"/>
                    </a:lnTo>
                    <a:lnTo>
                      <a:pt x="1338" y="1841"/>
                    </a:lnTo>
                    <a:lnTo>
                      <a:pt x="1343" y="1847"/>
                    </a:lnTo>
                    <a:lnTo>
                      <a:pt x="1351" y="1853"/>
                    </a:lnTo>
                    <a:lnTo>
                      <a:pt x="1359" y="1857"/>
                    </a:lnTo>
                    <a:lnTo>
                      <a:pt x="1366" y="1860"/>
                    </a:lnTo>
                    <a:lnTo>
                      <a:pt x="1375" y="1864"/>
                    </a:lnTo>
                    <a:lnTo>
                      <a:pt x="1385" y="1865"/>
                    </a:lnTo>
                    <a:lnTo>
                      <a:pt x="1395" y="1865"/>
                    </a:lnTo>
                    <a:lnTo>
                      <a:pt x="1395" y="1865"/>
                    </a:lnTo>
                    <a:lnTo>
                      <a:pt x="1402" y="1865"/>
                    </a:lnTo>
                    <a:lnTo>
                      <a:pt x="1408" y="1864"/>
                    </a:lnTo>
                    <a:lnTo>
                      <a:pt x="1415" y="1862"/>
                    </a:lnTo>
                    <a:lnTo>
                      <a:pt x="1421" y="1860"/>
                    </a:lnTo>
                    <a:lnTo>
                      <a:pt x="1428" y="1857"/>
                    </a:lnTo>
                    <a:lnTo>
                      <a:pt x="1434" y="1853"/>
                    </a:lnTo>
                    <a:lnTo>
                      <a:pt x="1439" y="1849"/>
                    </a:lnTo>
                    <a:lnTo>
                      <a:pt x="1445" y="1844"/>
                    </a:lnTo>
                    <a:lnTo>
                      <a:pt x="1445" y="1849"/>
                    </a:lnTo>
                    <a:lnTo>
                      <a:pt x="1445" y="1849"/>
                    </a:lnTo>
                    <a:lnTo>
                      <a:pt x="1445" y="1858"/>
                    </a:lnTo>
                    <a:lnTo>
                      <a:pt x="1444" y="1868"/>
                    </a:lnTo>
                    <a:lnTo>
                      <a:pt x="1441" y="1878"/>
                    </a:lnTo>
                    <a:lnTo>
                      <a:pt x="1439" y="1882"/>
                    </a:lnTo>
                    <a:lnTo>
                      <a:pt x="1436" y="1887"/>
                    </a:lnTo>
                    <a:lnTo>
                      <a:pt x="1433" y="1891"/>
                    </a:lnTo>
                    <a:lnTo>
                      <a:pt x="1428" y="1896"/>
                    </a:lnTo>
                    <a:lnTo>
                      <a:pt x="1421" y="1899"/>
                    </a:lnTo>
                    <a:lnTo>
                      <a:pt x="1415" y="1901"/>
                    </a:lnTo>
                    <a:lnTo>
                      <a:pt x="1407" y="1904"/>
                    </a:lnTo>
                    <a:lnTo>
                      <a:pt x="1397" y="1905"/>
                    </a:lnTo>
                    <a:lnTo>
                      <a:pt x="1386" y="1908"/>
                    </a:lnTo>
                    <a:lnTo>
                      <a:pt x="1374" y="1908"/>
                    </a:lnTo>
                    <a:lnTo>
                      <a:pt x="1372" y="1908"/>
                    </a:lnTo>
                    <a:lnTo>
                      <a:pt x="1391" y="1951"/>
                    </a:lnTo>
                    <a:lnTo>
                      <a:pt x="1392" y="1951"/>
                    </a:lnTo>
                    <a:lnTo>
                      <a:pt x="1392" y="1951"/>
                    </a:lnTo>
                    <a:lnTo>
                      <a:pt x="1405" y="1951"/>
                    </a:lnTo>
                    <a:lnTo>
                      <a:pt x="1417" y="1948"/>
                    </a:lnTo>
                    <a:lnTo>
                      <a:pt x="1429" y="1946"/>
                    </a:lnTo>
                    <a:lnTo>
                      <a:pt x="1439" y="1943"/>
                    </a:lnTo>
                    <a:lnTo>
                      <a:pt x="1449" y="1940"/>
                    </a:lnTo>
                    <a:lnTo>
                      <a:pt x="1458" y="1935"/>
                    </a:lnTo>
                    <a:lnTo>
                      <a:pt x="1466" y="1929"/>
                    </a:lnTo>
                    <a:lnTo>
                      <a:pt x="1473" y="1923"/>
                    </a:lnTo>
                    <a:lnTo>
                      <a:pt x="1480" y="1915"/>
                    </a:lnTo>
                    <a:lnTo>
                      <a:pt x="1484" y="1907"/>
                    </a:lnTo>
                    <a:lnTo>
                      <a:pt x="1490" y="1898"/>
                    </a:lnTo>
                    <a:lnTo>
                      <a:pt x="1493" y="1888"/>
                    </a:lnTo>
                    <a:lnTo>
                      <a:pt x="1497" y="1877"/>
                    </a:lnTo>
                    <a:lnTo>
                      <a:pt x="1499" y="1866"/>
                    </a:lnTo>
                    <a:lnTo>
                      <a:pt x="1500" y="1854"/>
                    </a:lnTo>
                    <a:lnTo>
                      <a:pt x="1500" y="1839"/>
                    </a:lnTo>
                    <a:lnTo>
                      <a:pt x="1500" y="1639"/>
                    </a:lnTo>
                    <a:lnTo>
                      <a:pt x="1445" y="1639"/>
                    </a:lnTo>
                    <a:lnTo>
                      <a:pt x="1445" y="1654"/>
                    </a:lnTo>
                    <a:close/>
                    <a:moveTo>
                      <a:pt x="1445" y="1706"/>
                    </a:moveTo>
                    <a:lnTo>
                      <a:pt x="1445" y="1793"/>
                    </a:lnTo>
                    <a:lnTo>
                      <a:pt x="1445" y="1793"/>
                    </a:lnTo>
                    <a:lnTo>
                      <a:pt x="1438" y="1801"/>
                    </a:lnTo>
                    <a:lnTo>
                      <a:pt x="1429" y="1808"/>
                    </a:lnTo>
                    <a:lnTo>
                      <a:pt x="1425" y="1811"/>
                    </a:lnTo>
                    <a:lnTo>
                      <a:pt x="1419" y="1813"/>
                    </a:lnTo>
                    <a:lnTo>
                      <a:pt x="1413" y="1814"/>
                    </a:lnTo>
                    <a:lnTo>
                      <a:pt x="1406" y="1815"/>
                    </a:lnTo>
                    <a:lnTo>
                      <a:pt x="1406" y="1815"/>
                    </a:lnTo>
                    <a:lnTo>
                      <a:pt x="1398" y="1814"/>
                    </a:lnTo>
                    <a:lnTo>
                      <a:pt x="1392" y="1812"/>
                    </a:lnTo>
                    <a:lnTo>
                      <a:pt x="1384" y="1807"/>
                    </a:lnTo>
                    <a:lnTo>
                      <a:pt x="1378" y="1802"/>
                    </a:lnTo>
                    <a:lnTo>
                      <a:pt x="1373" y="1793"/>
                    </a:lnTo>
                    <a:lnTo>
                      <a:pt x="1369" y="1781"/>
                    </a:lnTo>
                    <a:lnTo>
                      <a:pt x="1365" y="1765"/>
                    </a:lnTo>
                    <a:lnTo>
                      <a:pt x="1364" y="1746"/>
                    </a:lnTo>
                    <a:lnTo>
                      <a:pt x="1364" y="1746"/>
                    </a:lnTo>
                    <a:lnTo>
                      <a:pt x="1365" y="1728"/>
                    </a:lnTo>
                    <a:lnTo>
                      <a:pt x="1369" y="1715"/>
                    </a:lnTo>
                    <a:lnTo>
                      <a:pt x="1373" y="1704"/>
                    </a:lnTo>
                    <a:lnTo>
                      <a:pt x="1378" y="1696"/>
                    </a:lnTo>
                    <a:lnTo>
                      <a:pt x="1384" y="1689"/>
                    </a:lnTo>
                    <a:lnTo>
                      <a:pt x="1392" y="1686"/>
                    </a:lnTo>
                    <a:lnTo>
                      <a:pt x="1398" y="1684"/>
                    </a:lnTo>
                    <a:lnTo>
                      <a:pt x="1406" y="1684"/>
                    </a:lnTo>
                    <a:lnTo>
                      <a:pt x="1406" y="1684"/>
                    </a:lnTo>
                    <a:lnTo>
                      <a:pt x="1413" y="1684"/>
                    </a:lnTo>
                    <a:lnTo>
                      <a:pt x="1419" y="1686"/>
                    </a:lnTo>
                    <a:lnTo>
                      <a:pt x="1426" y="1688"/>
                    </a:lnTo>
                    <a:lnTo>
                      <a:pt x="1430" y="1690"/>
                    </a:lnTo>
                    <a:lnTo>
                      <a:pt x="1435" y="1695"/>
                    </a:lnTo>
                    <a:lnTo>
                      <a:pt x="1439" y="1698"/>
                    </a:lnTo>
                    <a:lnTo>
                      <a:pt x="1445" y="1706"/>
                    </a:lnTo>
                    <a:lnTo>
                      <a:pt x="1445" y="1706"/>
                    </a:lnTo>
                    <a:close/>
                    <a:moveTo>
                      <a:pt x="1671" y="1693"/>
                    </a:moveTo>
                    <a:lnTo>
                      <a:pt x="1671" y="1693"/>
                    </a:lnTo>
                    <a:lnTo>
                      <a:pt x="1684" y="1686"/>
                    </a:lnTo>
                    <a:lnTo>
                      <a:pt x="1697" y="1682"/>
                    </a:lnTo>
                    <a:lnTo>
                      <a:pt x="1712" y="1678"/>
                    </a:lnTo>
                    <a:lnTo>
                      <a:pt x="1727" y="1677"/>
                    </a:lnTo>
                    <a:lnTo>
                      <a:pt x="1727" y="1677"/>
                    </a:lnTo>
                    <a:lnTo>
                      <a:pt x="1737" y="1678"/>
                    </a:lnTo>
                    <a:lnTo>
                      <a:pt x="1745" y="1679"/>
                    </a:lnTo>
                    <a:lnTo>
                      <a:pt x="1751" y="1682"/>
                    </a:lnTo>
                    <a:lnTo>
                      <a:pt x="1757" y="1686"/>
                    </a:lnTo>
                    <a:lnTo>
                      <a:pt x="1761" y="1690"/>
                    </a:lnTo>
                    <a:lnTo>
                      <a:pt x="1765" y="1696"/>
                    </a:lnTo>
                    <a:lnTo>
                      <a:pt x="1767" y="1701"/>
                    </a:lnTo>
                    <a:lnTo>
                      <a:pt x="1767" y="1709"/>
                    </a:lnTo>
                    <a:lnTo>
                      <a:pt x="1767" y="1725"/>
                    </a:lnTo>
                    <a:lnTo>
                      <a:pt x="1767" y="1725"/>
                    </a:lnTo>
                    <a:lnTo>
                      <a:pt x="1757" y="1720"/>
                    </a:lnTo>
                    <a:lnTo>
                      <a:pt x="1745" y="1717"/>
                    </a:lnTo>
                    <a:lnTo>
                      <a:pt x="1733" y="1715"/>
                    </a:lnTo>
                    <a:lnTo>
                      <a:pt x="1719" y="1714"/>
                    </a:lnTo>
                    <a:lnTo>
                      <a:pt x="1719" y="1714"/>
                    </a:lnTo>
                    <a:lnTo>
                      <a:pt x="1704" y="1715"/>
                    </a:lnTo>
                    <a:lnTo>
                      <a:pt x="1689" y="1718"/>
                    </a:lnTo>
                    <a:lnTo>
                      <a:pt x="1674" y="1722"/>
                    </a:lnTo>
                    <a:lnTo>
                      <a:pt x="1667" y="1726"/>
                    </a:lnTo>
                    <a:lnTo>
                      <a:pt x="1660" y="1730"/>
                    </a:lnTo>
                    <a:lnTo>
                      <a:pt x="1654" y="1734"/>
                    </a:lnTo>
                    <a:lnTo>
                      <a:pt x="1649" y="1740"/>
                    </a:lnTo>
                    <a:lnTo>
                      <a:pt x="1643" y="1746"/>
                    </a:lnTo>
                    <a:lnTo>
                      <a:pt x="1639" y="1752"/>
                    </a:lnTo>
                    <a:lnTo>
                      <a:pt x="1636" y="1760"/>
                    </a:lnTo>
                    <a:lnTo>
                      <a:pt x="1633" y="1769"/>
                    </a:lnTo>
                    <a:lnTo>
                      <a:pt x="1632" y="1778"/>
                    </a:lnTo>
                    <a:lnTo>
                      <a:pt x="1631" y="1786"/>
                    </a:lnTo>
                    <a:lnTo>
                      <a:pt x="1631" y="1786"/>
                    </a:lnTo>
                    <a:lnTo>
                      <a:pt x="1632" y="1797"/>
                    </a:lnTo>
                    <a:lnTo>
                      <a:pt x="1633" y="1807"/>
                    </a:lnTo>
                    <a:lnTo>
                      <a:pt x="1636" y="1815"/>
                    </a:lnTo>
                    <a:lnTo>
                      <a:pt x="1639" y="1824"/>
                    </a:lnTo>
                    <a:lnTo>
                      <a:pt x="1642" y="1830"/>
                    </a:lnTo>
                    <a:lnTo>
                      <a:pt x="1648" y="1837"/>
                    </a:lnTo>
                    <a:lnTo>
                      <a:pt x="1652" y="1843"/>
                    </a:lnTo>
                    <a:lnTo>
                      <a:pt x="1659" y="1848"/>
                    </a:lnTo>
                    <a:lnTo>
                      <a:pt x="1664" y="1853"/>
                    </a:lnTo>
                    <a:lnTo>
                      <a:pt x="1671" y="1856"/>
                    </a:lnTo>
                    <a:lnTo>
                      <a:pt x="1685" y="1861"/>
                    </a:lnTo>
                    <a:lnTo>
                      <a:pt x="1700" y="1865"/>
                    </a:lnTo>
                    <a:lnTo>
                      <a:pt x="1714" y="1866"/>
                    </a:lnTo>
                    <a:lnTo>
                      <a:pt x="1714" y="1866"/>
                    </a:lnTo>
                    <a:lnTo>
                      <a:pt x="1726" y="1864"/>
                    </a:lnTo>
                    <a:lnTo>
                      <a:pt x="1734" y="1862"/>
                    </a:lnTo>
                    <a:lnTo>
                      <a:pt x="1740" y="1860"/>
                    </a:lnTo>
                    <a:lnTo>
                      <a:pt x="1748" y="1857"/>
                    </a:lnTo>
                    <a:lnTo>
                      <a:pt x="1755" y="1853"/>
                    </a:lnTo>
                    <a:lnTo>
                      <a:pt x="1761" y="1848"/>
                    </a:lnTo>
                    <a:lnTo>
                      <a:pt x="1767" y="1843"/>
                    </a:lnTo>
                    <a:lnTo>
                      <a:pt x="1767" y="1860"/>
                    </a:lnTo>
                    <a:lnTo>
                      <a:pt x="1822" y="1860"/>
                    </a:lnTo>
                    <a:lnTo>
                      <a:pt x="1822" y="1710"/>
                    </a:lnTo>
                    <a:lnTo>
                      <a:pt x="1822" y="1710"/>
                    </a:lnTo>
                    <a:lnTo>
                      <a:pt x="1822" y="1701"/>
                    </a:lnTo>
                    <a:lnTo>
                      <a:pt x="1821" y="1694"/>
                    </a:lnTo>
                    <a:lnTo>
                      <a:pt x="1819" y="1686"/>
                    </a:lnTo>
                    <a:lnTo>
                      <a:pt x="1817" y="1678"/>
                    </a:lnTo>
                    <a:lnTo>
                      <a:pt x="1812" y="1672"/>
                    </a:lnTo>
                    <a:lnTo>
                      <a:pt x="1809" y="1665"/>
                    </a:lnTo>
                    <a:lnTo>
                      <a:pt x="1803" y="1659"/>
                    </a:lnTo>
                    <a:lnTo>
                      <a:pt x="1798" y="1654"/>
                    </a:lnTo>
                    <a:lnTo>
                      <a:pt x="1792" y="1650"/>
                    </a:lnTo>
                    <a:lnTo>
                      <a:pt x="1786" y="1645"/>
                    </a:lnTo>
                    <a:lnTo>
                      <a:pt x="1778" y="1642"/>
                    </a:lnTo>
                    <a:lnTo>
                      <a:pt x="1770" y="1639"/>
                    </a:lnTo>
                    <a:lnTo>
                      <a:pt x="1761" y="1636"/>
                    </a:lnTo>
                    <a:lnTo>
                      <a:pt x="1753" y="1635"/>
                    </a:lnTo>
                    <a:lnTo>
                      <a:pt x="1743" y="1634"/>
                    </a:lnTo>
                    <a:lnTo>
                      <a:pt x="1733" y="1633"/>
                    </a:lnTo>
                    <a:lnTo>
                      <a:pt x="1733" y="1633"/>
                    </a:lnTo>
                    <a:lnTo>
                      <a:pt x="1721" y="1634"/>
                    </a:lnTo>
                    <a:lnTo>
                      <a:pt x="1711" y="1634"/>
                    </a:lnTo>
                    <a:lnTo>
                      <a:pt x="1700" y="1636"/>
                    </a:lnTo>
                    <a:lnTo>
                      <a:pt x="1689" y="1639"/>
                    </a:lnTo>
                    <a:lnTo>
                      <a:pt x="1679" y="1642"/>
                    </a:lnTo>
                    <a:lnTo>
                      <a:pt x="1669" y="1645"/>
                    </a:lnTo>
                    <a:lnTo>
                      <a:pt x="1659" y="1650"/>
                    </a:lnTo>
                    <a:lnTo>
                      <a:pt x="1649" y="1655"/>
                    </a:lnTo>
                    <a:lnTo>
                      <a:pt x="1671" y="1693"/>
                    </a:lnTo>
                    <a:close/>
                    <a:moveTo>
                      <a:pt x="1686" y="1786"/>
                    </a:moveTo>
                    <a:lnTo>
                      <a:pt x="1686" y="1786"/>
                    </a:lnTo>
                    <a:lnTo>
                      <a:pt x="1686" y="1780"/>
                    </a:lnTo>
                    <a:lnTo>
                      <a:pt x="1689" y="1773"/>
                    </a:lnTo>
                    <a:lnTo>
                      <a:pt x="1692" y="1768"/>
                    </a:lnTo>
                    <a:lnTo>
                      <a:pt x="1696" y="1763"/>
                    </a:lnTo>
                    <a:lnTo>
                      <a:pt x="1702" y="1760"/>
                    </a:lnTo>
                    <a:lnTo>
                      <a:pt x="1708" y="1758"/>
                    </a:lnTo>
                    <a:lnTo>
                      <a:pt x="1716" y="1755"/>
                    </a:lnTo>
                    <a:lnTo>
                      <a:pt x="1724" y="1755"/>
                    </a:lnTo>
                    <a:lnTo>
                      <a:pt x="1724" y="1755"/>
                    </a:lnTo>
                    <a:lnTo>
                      <a:pt x="1736" y="1755"/>
                    </a:lnTo>
                    <a:lnTo>
                      <a:pt x="1747" y="1758"/>
                    </a:lnTo>
                    <a:lnTo>
                      <a:pt x="1757" y="1761"/>
                    </a:lnTo>
                    <a:lnTo>
                      <a:pt x="1767" y="1766"/>
                    </a:lnTo>
                    <a:lnTo>
                      <a:pt x="1767" y="1796"/>
                    </a:lnTo>
                    <a:lnTo>
                      <a:pt x="1767" y="1796"/>
                    </a:lnTo>
                    <a:lnTo>
                      <a:pt x="1765" y="1801"/>
                    </a:lnTo>
                    <a:lnTo>
                      <a:pt x="1760" y="1805"/>
                    </a:lnTo>
                    <a:lnTo>
                      <a:pt x="1756" y="1810"/>
                    </a:lnTo>
                    <a:lnTo>
                      <a:pt x="1750" y="1813"/>
                    </a:lnTo>
                    <a:lnTo>
                      <a:pt x="1745" y="1816"/>
                    </a:lnTo>
                    <a:lnTo>
                      <a:pt x="1738" y="1818"/>
                    </a:lnTo>
                    <a:lnTo>
                      <a:pt x="1732" y="1819"/>
                    </a:lnTo>
                    <a:lnTo>
                      <a:pt x="1724" y="1821"/>
                    </a:lnTo>
                    <a:lnTo>
                      <a:pt x="1724" y="1821"/>
                    </a:lnTo>
                    <a:lnTo>
                      <a:pt x="1716" y="1819"/>
                    </a:lnTo>
                    <a:lnTo>
                      <a:pt x="1708" y="1817"/>
                    </a:lnTo>
                    <a:lnTo>
                      <a:pt x="1702" y="1815"/>
                    </a:lnTo>
                    <a:lnTo>
                      <a:pt x="1696" y="1811"/>
                    </a:lnTo>
                    <a:lnTo>
                      <a:pt x="1692" y="1806"/>
                    </a:lnTo>
                    <a:lnTo>
                      <a:pt x="1689" y="1801"/>
                    </a:lnTo>
                    <a:lnTo>
                      <a:pt x="1687" y="1794"/>
                    </a:lnTo>
                    <a:lnTo>
                      <a:pt x="1686" y="1786"/>
                    </a:lnTo>
                    <a:lnTo>
                      <a:pt x="1686" y="1786"/>
                    </a:lnTo>
                    <a:close/>
                    <a:moveTo>
                      <a:pt x="2333" y="1796"/>
                    </a:moveTo>
                    <a:lnTo>
                      <a:pt x="2333" y="1796"/>
                    </a:lnTo>
                    <a:lnTo>
                      <a:pt x="2325" y="1803"/>
                    </a:lnTo>
                    <a:lnTo>
                      <a:pt x="2315" y="1808"/>
                    </a:lnTo>
                    <a:lnTo>
                      <a:pt x="2310" y="1811"/>
                    </a:lnTo>
                    <a:lnTo>
                      <a:pt x="2303" y="1813"/>
                    </a:lnTo>
                    <a:lnTo>
                      <a:pt x="2297" y="1814"/>
                    </a:lnTo>
                    <a:lnTo>
                      <a:pt x="2290" y="1815"/>
                    </a:lnTo>
                    <a:lnTo>
                      <a:pt x="2290" y="1815"/>
                    </a:lnTo>
                    <a:lnTo>
                      <a:pt x="2285" y="1814"/>
                    </a:lnTo>
                    <a:lnTo>
                      <a:pt x="2278" y="1814"/>
                    </a:lnTo>
                    <a:lnTo>
                      <a:pt x="2270" y="1812"/>
                    </a:lnTo>
                    <a:lnTo>
                      <a:pt x="2261" y="1807"/>
                    </a:lnTo>
                    <a:lnTo>
                      <a:pt x="2254" y="1802"/>
                    </a:lnTo>
                    <a:lnTo>
                      <a:pt x="2250" y="1797"/>
                    </a:lnTo>
                    <a:lnTo>
                      <a:pt x="2247" y="1793"/>
                    </a:lnTo>
                    <a:lnTo>
                      <a:pt x="2245" y="1787"/>
                    </a:lnTo>
                    <a:lnTo>
                      <a:pt x="2243" y="1781"/>
                    </a:lnTo>
                    <a:lnTo>
                      <a:pt x="2242" y="1774"/>
                    </a:lnTo>
                    <a:lnTo>
                      <a:pt x="2240" y="1766"/>
                    </a:lnTo>
                    <a:lnTo>
                      <a:pt x="2376" y="1766"/>
                    </a:lnTo>
                    <a:lnTo>
                      <a:pt x="2376" y="1766"/>
                    </a:lnTo>
                    <a:lnTo>
                      <a:pt x="2377" y="1750"/>
                    </a:lnTo>
                    <a:lnTo>
                      <a:pt x="2377" y="1750"/>
                    </a:lnTo>
                    <a:lnTo>
                      <a:pt x="2377" y="1737"/>
                    </a:lnTo>
                    <a:lnTo>
                      <a:pt x="2375" y="1725"/>
                    </a:lnTo>
                    <a:lnTo>
                      <a:pt x="2374" y="1712"/>
                    </a:lnTo>
                    <a:lnTo>
                      <a:pt x="2371" y="1701"/>
                    </a:lnTo>
                    <a:lnTo>
                      <a:pt x="2367" y="1691"/>
                    </a:lnTo>
                    <a:lnTo>
                      <a:pt x="2363" y="1682"/>
                    </a:lnTo>
                    <a:lnTo>
                      <a:pt x="2357" y="1673"/>
                    </a:lnTo>
                    <a:lnTo>
                      <a:pt x="2352" y="1665"/>
                    </a:lnTo>
                    <a:lnTo>
                      <a:pt x="2345" y="1657"/>
                    </a:lnTo>
                    <a:lnTo>
                      <a:pt x="2339" y="1652"/>
                    </a:lnTo>
                    <a:lnTo>
                      <a:pt x="2331" y="1646"/>
                    </a:lnTo>
                    <a:lnTo>
                      <a:pt x="2322" y="1642"/>
                    </a:lnTo>
                    <a:lnTo>
                      <a:pt x="2313" y="1639"/>
                    </a:lnTo>
                    <a:lnTo>
                      <a:pt x="2304" y="1635"/>
                    </a:lnTo>
                    <a:lnTo>
                      <a:pt x="2294" y="1634"/>
                    </a:lnTo>
                    <a:lnTo>
                      <a:pt x="2283" y="1633"/>
                    </a:lnTo>
                    <a:lnTo>
                      <a:pt x="2283" y="1633"/>
                    </a:lnTo>
                    <a:lnTo>
                      <a:pt x="2274" y="1634"/>
                    </a:lnTo>
                    <a:lnTo>
                      <a:pt x="2264" y="1635"/>
                    </a:lnTo>
                    <a:lnTo>
                      <a:pt x="2254" y="1639"/>
                    </a:lnTo>
                    <a:lnTo>
                      <a:pt x="2244" y="1642"/>
                    </a:lnTo>
                    <a:lnTo>
                      <a:pt x="2235" y="1646"/>
                    </a:lnTo>
                    <a:lnTo>
                      <a:pt x="2227" y="1653"/>
                    </a:lnTo>
                    <a:lnTo>
                      <a:pt x="2219" y="1658"/>
                    </a:lnTo>
                    <a:lnTo>
                      <a:pt x="2213" y="1666"/>
                    </a:lnTo>
                    <a:lnTo>
                      <a:pt x="2206" y="1674"/>
                    </a:lnTo>
                    <a:lnTo>
                      <a:pt x="2201" y="1683"/>
                    </a:lnTo>
                    <a:lnTo>
                      <a:pt x="2196" y="1693"/>
                    </a:lnTo>
                    <a:lnTo>
                      <a:pt x="2192" y="1703"/>
                    </a:lnTo>
                    <a:lnTo>
                      <a:pt x="2189" y="1714"/>
                    </a:lnTo>
                    <a:lnTo>
                      <a:pt x="2186" y="1726"/>
                    </a:lnTo>
                    <a:lnTo>
                      <a:pt x="2185" y="1737"/>
                    </a:lnTo>
                    <a:lnTo>
                      <a:pt x="2184" y="1750"/>
                    </a:lnTo>
                    <a:lnTo>
                      <a:pt x="2184" y="1750"/>
                    </a:lnTo>
                    <a:lnTo>
                      <a:pt x="2185" y="1762"/>
                    </a:lnTo>
                    <a:lnTo>
                      <a:pt x="2186" y="1774"/>
                    </a:lnTo>
                    <a:lnTo>
                      <a:pt x="2189" y="1786"/>
                    </a:lnTo>
                    <a:lnTo>
                      <a:pt x="2192" y="1797"/>
                    </a:lnTo>
                    <a:lnTo>
                      <a:pt x="2196" y="1807"/>
                    </a:lnTo>
                    <a:lnTo>
                      <a:pt x="2201" y="1817"/>
                    </a:lnTo>
                    <a:lnTo>
                      <a:pt x="2206" y="1826"/>
                    </a:lnTo>
                    <a:lnTo>
                      <a:pt x="2213" y="1834"/>
                    </a:lnTo>
                    <a:lnTo>
                      <a:pt x="2221" y="1840"/>
                    </a:lnTo>
                    <a:lnTo>
                      <a:pt x="2228" y="1847"/>
                    </a:lnTo>
                    <a:lnTo>
                      <a:pt x="2237" y="1853"/>
                    </a:lnTo>
                    <a:lnTo>
                      <a:pt x="2246" y="1857"/>
                    </a:lnTo>
                    <a:lnTo>
                      <a:pt x="2256" y="1860"/>
                    </a:lnTo>
                    <a:lnTo>
                      <a:pt x="2267" y="1864"/>
                    </a:lnTo>
                    <a:lnTo>
                      <a:pt x="2278" y="1865"/>
                    </a:lnTo>
                    <a:lnTo>
                      <a:pt x="2290" y="1866"/>
                    </a:lnTo>
                    <a:lnTo>
                      <a:pt x="2290" y="1866"/>
                    </a:lnTo>
                    <a:lnTo>
                      <a:pt x="2301" y="1865"/>
                    </a:lnTo>
                    <a:lnTo>
                      <a:pt x="2311" y="1864"/>
                    </a:lnTo>
                    <a:lnTo>
                      <a:pt x="2322" y="1860"/>
                    </a:lnTo>
                    <a:lnTo>
                      <a:pt x="2332" y="1857"/>
                    </a:lnTo>
                    <a:lnTo>
                      <a:pt x="2342" y="1851"/>
                    </a:lnTo>
                    <a:lnTo>
                      <a:pt x="2351" y="1846"/>
                    </a:lnTo>
                    <a:lnTo>
                      <a:pt x="2360" y="1838"/>
                    </a:lnTo>
                    <a:lnTo>
                      <a:pt x="2368" y="1830"/>
                    </a:lnTo>
                    <a:lnTo>
                      <a:pt x="2333" y="1796"/>
                    </a:lnTo>
                    <a:close/>
                    <a:moveTo>
                      <a:pt x="2242" y="1726"/>
                    </a:moveTo>
                    <a:lnTo>
                      <a:pt x="2242" y="1726"/>
                    </a:lnTo>
                    <a:lnTo>
                      <a:pt x="2243" y="1716"/>
                    </a:lnTo>
                    <a:lnTo>
                      <a:pt x="2245" y="1707"/>
                    </a:lnTo>
                    <a:lnTo>
                      <a:pt x="2248" y="1699"/>
                    </a:lnTo>
                    <a:lnTo>
                      <a:pt x="2254" y="1693"/>
                    </a:lnTo>
                    <a:lnTo>
                      <a:pt x="2259" y="1687"/>
                    </a:lnTo>
                    <a:lnTo>
                      <a:pt x="2266" y="1684"/>
                    </a:lnTo>
                    <a:lnTo>
                      <a:pt x="2274" y="1680"/>
                    </a:lnTo>
                    <a:lnTo>
                      <a:pt x="2282" y="1680"/>
                    </a:lnTo>
                    <a:lnTo>
                      <a:pt x="2282" y="1680"/>
                    </a:lnTo>
                    <a:lnTo>
                      <a:pt x="2292" y="1682"/>
                    </a:lnTo>
                    <a:lnTo>
                      <a:pt x="2301" y="1684"/>
                    </a:lnTo>
                    <a:lnTo>
                      <a:pt x="2308" y="1688"/>
                    </a:lnTo>
                    <a:lnTo>
                      <a:pt x="2313" y="1695"/>
                    </a:lnTo>
                    <a:lnTo>
                      <a:pt x="2318" y="1701"/>
                    </a:lnTo>
                    <a:lnTo>
                      <a:pt x="2321" y="1709"/>
                    </a:lnTo>
                    <a:lnTo>
                      <a:pt x="2323" y="1718"/>
                    </a:lnTo>
                    <a:lnTo>
                      <a:pt x="2324" y="1726"/>
                    </a:lnTo>
                    <a:lnTo>
                      <a:pt x="2242" y="1726"/>
                    </a:lnTo>
                    <a:close/>
                    <a:moveTo>
                      <a:pt x="2864" y="1796"/>
                    </a:moveTo>
                    <a:lnTo>
                      <a:pt x="2864" y="1796"/>
                    </a:lnTo>
                    <a:lnTo>
                      <a:pt x="2855" y="1803"/>
                    </a:lnTo>
                    <a:lnTo>
                      <a:pt x="2846" y="1808"/>
                    </a:lnTo>
                    <a:lnTo>
                      <a:pt x="2840" y="1811"/>
                    </a:lnTo>
                    <a:lnTo>
                      <a:pt x="2834" y="1813"/>
                    </a:lnTo>
                    <a:lnTo>
                      <a:pt x="2828" y="1814"/>
                    </a:lnTo>
                    <a:lnTo>
                      <a:pt x="2820" y="1815"/>
                    </a:lnTo>
                    <a:lnTo>
                      <a:pt x="2820" y="1815"/>
                    </a:lnTo>
                    <a:lnTo>
                      <a:pt x="2814" y="1814"/>
                    </a:lnTo>
                    <a:lnTo>
                      <a:pt x="2808" y="1814"/>
                    </a:lnTo>
                    <a:lnTo>
                      <a:pt x="2800" y="1812"/>
                    </a:lnTo>
                    <a:lnTo>
                      <a:pt x="2792" y="1807"/>
                    </a:lnTo>
                    <a:lnTo>
                      <a:pt x="2784" y="1802"/>
                    </a:lnTo>
                    <a:lnTo>
                      <a:pt x="2781" y="1797"/>
                    </a:lnTo>
                    <a:lnTo>
                      <a:pt x="2778" y="1793"/>
                    </a:lnTo>
                    <a:lnTo>
                      <a:pt x="2776" y="1787"/>
                    </a:lnTo>
                    <a:lnTo>
                      <a:pt x="2773" y="1781"/>
                    </a:lnTo>
                    <a:lnTo>
                      <a:pt x="2771" y="1774"/>
                    </a:lnTo>
                    <a:lnTo>
                      <a:pt x="2770" y="1766"/>
                    </a:lnTo>
                    <a:lnTo>
                      <a:pt x="2907" y="1766"/>
                    </a:lnTo>
                    <a:lnTo>
                      <a:pt x="2907" y="1766"/>
                    </a:lnTo>
                    <a:lnTo>
                      <a:pt x="2908" y="1750"/>
                    </a:lnTo>
                    <a:lnTo>
                      <a:pt x="2908" y="1750"/>
                    </a:lnTo>
                    <a:lnTo>
                      <a:pt x="2907" y="1737"/>
                    </a:lnTo>
                    <a:lnTo>
                      <a:pt x="2906" y="1725"/>
                    </a:lnTo>
                    <a:lnTo>
                      <a:pt x="2904" y="1712"/>
                    </a:lnTo>
                    <a:lnTo>
                      <a:pt x="2901" y="1701"/>
                    </a:lnTo>
                    <a:lnTo>
                      <a:pt x="2897" y="1691"/>
                    </a:lnTo>
                    <a:lnTo>
                      <a:pt x="2893" y="1682"/>
                    </a:lnTo>
                    <a:lnTo>
                      <a:pt x="2888" y="1673"/>
                    </a:lnTo>
                    <a:lnTo>
                      <a:pt x="2883" y="1665"/>
                    </a:lnTo>
                    <a:lnTo>
                      <a:pt x="2876" y="1657"/>
                    </a:lnTo>
                    <a:lnTo>
                      <a:pt x="2868" y="1652"/>
                    </a:lnTo>
                    <a:lnTo>
                      <a:pt x="2861" y="1646"/>
                    </a:lnTo>
                    <a:lnTo>
                      <a:pt x="2853" y="1642"/>
                    </a:lnTo>
                    <a:lnTo>
                      <a:pt x="2844" y="1639"/>
                    </a:lnTo>
                    <a:lnTo>
                      <a:pt x="2834" y="1635"/>
                    </a:lnTo>
                    <a:lnTo>
                      <a:pt x="2824" y="1634"/>
                    </a:lnTo>
                    <a:lnTo>
                      <a:pt x="2814" y="1633"/>
                    </a:lnTo>
                    <a:lnTo>
                      <a:pt x="2814" y="1633"/>
                    </a:lnTo>
                    <a:lnTo>
                      <a:pt x="2803" y="1634"/>
                    </a:lnTo>
                    <a:lnTo>
                      <a:pt x="2793" y="1635"/>
                    </a:lnTo>
                    <a:lnTo>
                      <a:pt x="2783" y="1639"/>
                    </a:lnTo>
                    <a:lnTo>
                      <a:pt x="2775" y="1642"/>
                    </a:lnTo>
                    <a:lnTo>
                      <a:pt x="2766" y="1646"/>
                    </a:lnTo>
                    <a:lnTo>
                      <a:pt x="2757" y="1653"/>
                    </a:lnTo>
                    <a:lnTo>
                      <a:pt x="2750" y="1658"/>
                    </a:lnTo>
                    <a:lnTo>
                      <a:pt x="2743" y="1666"/>
                    </a:lnTo>
                    <a:lnTo>
                      <a:pt x="2736" y="1674"/>
                    </a:lnTo>
                    <a:lnTo>
                      <a:pt x="2730" y="1683"/>
                    </a:lnTo>
                    <a:lnTo>
                      <a:pt x="2726" y="1693"/>
                    </a:lnTo>
                    <a:lnTo>
                      <a:pt x="2722" y="1703"/>
                    </a:lnTo>
                    <a:lnTo>
                      <a:pt x="2719" y="1714"/>
                    </a:lnTo>
                    <a:lnTo>
                      <a:pt x="2716" y="1726"/>
                    </a:lnTo>
                    <a:lnTo>
                      <a:pt x="2715" y="1737"/>
                    </a:lnTo>
                    <a:lnTo>
                      <a:pt x="2715" y="1750"/>
                    </a:lnTo>
                    <a:lnTo>
                      <a:pt x="2715" y="1750"/>
                    </a:lnTo>
                    <a:lnTo>
                      <a:pt x="2715" y="1762"/>
                    </a:lnTo>
                    <a:lnTo>
                      <a:pt x="2716" y="1774"/>
                    </a:lnTo>
                    <a:lnTo>
                      <a:pt x="2718" y="1786"/>
                    </a:lnTo>
                    <a:lnTo>
                      <a:pt x="2722" y="1797"/>
                    </a:lnTo>
                    <a:lnTo>
                      <a:pt x="2726" y="1807"/>
                    </a:lnTo>
                    <a:lnTo>
                      <a:pt x="2732" y="1817"/>
                    </a:lnTo>
                    <a:lnTo>
                      <a:pt x="2737" y="1826"/>
                    </a:lnTo>
                    <a:lnTo>
                      <a:pt x="2744" y="1834"/>
                    </a:lnTo>
                    <a:lnTo>
                      <a:pt x="2750" y="1840"/>
                    </a:lnTo>
                    <a:lnTo>
                      <a:pt x="2758" y="1847"/>
                    </a:lnTo>
                    <a:lnTo>
                      <a:pt x="2767" y="1853"/>
                    </a:lnTo>
                    <a:lnTo>
                      <a:pt x="2777" y="1857"/>
                    </a:lnTo>
                    <a:lnTo>
                      <a:pt x="2787" y="1860"/>
                    </a:lnTo>
                    <a:lnTo>
                      <a:pt x="2797" y="1864"/>
                    </a:lnTo>
                    <a:lnTo>
                      <a:pt x="2809" y="1865"/>
                    </a:lnTo>
                    <a:lnTo>
                      <a:pt x="2820" y="1866"/>
                    </a:lnTo>
                    <a:lnTo>
                      <a:pt x="2820" y="1866"/>
                    </a:lnTo>
                    <a:lnTo>
                      <a:pt x="2831" y="1865"/>
                    </a:lnTo>
                    <a:lnTo>
                      <a:pt x="2842" y="1864"/>
                    </a:lnTo>
                    <a:lnTo>
                      <a:pt x="2852" y="1860"/>
                    </a:lnTo>
                    <a:lnTo>
                      <a:pt x="2862" y="1857"/>
                    </a:lnTo>
                    <a:lnTo>
                      <a:pt x="2872" y="1851"/>
                    </a:lnTo>
                    <a:lnTo>
                      <a:pt x="2882" y="1846"/>
                    </a:lnTo>
                    <a:lnTo>
                      <a:pt x="2890" y="1838"/>
                    </a:lnTo>
                    <a:lnTo>
                      <a:pt x="2898" y="1830"/>
                    </a:lnTo>
                    <a:lnTo>
                      <a:pt x="2864" y="1796"/>
                    </a:lnTo>
                    <a:close/>
                    <a:moveTo>
                      <a:pt x="2771" y="1726"/>
                    </a:moveTo>
                    <a:lnTo>
                      <a:pt x="2771" y="1726"/>
                    </a:lnTo>
                    <a:lnTo>
                      <a:pt x="2772" y="1716"/>
                    </a:lnTo>
                    <a:lnTo>
                      <a:pt x="2776" y="1707"/>
                    </a:lnTo>
                    <a:lnTo>
                      <a:pt x="2779" y="1699"/>
                    </a:lnTo>
                    <a:lnTo>
                      <a:pt x="2783" y="1693"/>
                    </a:lnTo>
                    <a:lnTo>
                      <a:pt x="2790" y="1687"/>
                    </a:lnTo>
                    <a:lnTo>
                      <a:pt x="2797" y="1684"/>
                    </a:lnTo>
                    <a:lnTo>
                      <a:pt x="2804" y="1680"/>
                    </a:lnTo>
                    <a:lnTo>
                      <a:pt x="2813" y="1680"/>
                    </a:lnTo>
                    <a:lnTo>
                      <a:pt x="2813" y="1680"/>
                    </a:lnTo>
                    <a:lnTo>
                      <a:pt x="2823" y="1682"/>
                    </a:lnTo>
                    <a:lnTo>
                      <a:pt x="2831" y="1684"/>
                    </a:lnTo>
                    <a:lnTo>
                      <a:pt x="2839" y="1688"/>
                    </a:lnTo>
                    <a:lnTo>
                      <a:pt x="2844" y="1695"/>
                    </a:lnTo>
                    <a:lnTo>
                      <a:pt x="2849" y="1701"/>
                    </a:lnTo>
                    <a:lnTo>
                      <a:pt x="2852" y="1709"/>
                    </a:lnTo>
                    <a:lnTo>
                      <a:pt x="2854" y="1718"/>
                    </a:lnTo>
                    <a:lnTo>
                      <a:pt x="2855" y="1726"/>
                    </a:lnTo>
                    <a:lnTo>
                      <a:pt x="2771" y="1726"/>
                    </a:lnTo>
                    <a:close/>
                    <a:moveTo>
                      <a:pt x="2639" y="1783"/>
                    </a:moveTo>
                    <a:lnTo>
                      <a:pt x="2639" y="1783"/>
                    </a:lnTo>
                    <a:lnTo>
                      <a:pt x="2639" y="1791"/>
                    </a:lnTo>
                    <a:lnTo>
                      <a:pt x="2640" y="1796"/>
                    </a:lnTo>
                    <a:lnTo>
                      <a:pt x="2642" y="1802"/>
                    </a:lnTo>
                    <a:lnTo>
                      <a:pt x="2644" y="1806"/>
                    </a:lnTo>
                    <a:lnTo>
                      <a:pt x="2648" y="1810"/>
                    </a:lnTo>
                    <a:lnTo>
                      <a:pt x="2652" y="1812"/>
                    </a:lnTo>
                    <a:lnTo>
                      <a:pt x="2656" y="1813"/>
                    </a:lnTo>
                    <a:lnTo>
                      <a:pt x="2663" y="1813"/>
                    </a:lnTo>
                    <a:lnTo>
                      <a:pt x="2663" y="1813"/>
                    </a:lnTo>
                    <a:lnTo>
                      <a:pt x="2671" y="1813"/>
                    </a:lnTo>
                    <a:lnTo>
                      <a:pt x="2680" y="1811"/>
                    </a:lnTo>
                    <a:lnTo>
                      <a:pt x="2688" y="1807"/>
                    </a:lnTo>
                    <a:lnTo>
                      <a:pt x="2696" y="1803"/>
                    </a:lnTo>
                    <a:lnTo>
                      <a:pt x="2690" y="1855"/>
                    </a:lnTo>
                    <a:lnTo>
                      <a:pt x="2690" y="1855"/>
                    </a:lnTo>
                    <a:lnTo>
                      <a:pt x="2680" y="1859"/>
                    </a:lnTo>
                    <a:lnTo>
                      <a:pt x="2668" y="1862"/>
                    </a:lnTo>
                    <a:lnTo>
                      <a:pt x="2655" y="1865"/>
                    </a:lnTo>
                    <a:lnTo>
                      <a:pt x="2643" y="1866"/>
                    </a:lnTo>
                    <a:lnTo>
                      <a:pt x="2643" y="1866"/>
                    </a:lnTo>
                    <a:lnTo>
                      <a:pt x="2636" y="1865"/>
                    </a:lnTo>
                    <a:lnTo>
                      <a:pt x="2628" y="1864"/>
                    </a:lnTo>
                    <a:lnTo>
                      <a:pt x="2621" y="1861"/>
                    </a:lnTo>
                    <a:lnTo>
                      <a:pt x="2616" y="1859"/>
                    </a:lnTo>
                    <a:lnTo>
                      <a:pt x="2610" y="1856"/>
                    </a:lnTo>
                    <a:lnTo>
                      <a:pt x="2605" y="1853"/>
                    </a:lnTo>
                    <a:lnTo>
                      <a:pt x="2601" y="1848"/>
                    </a:lnTo>
                    <a:lnTo>
                      <a:pt x="2597" y="1843"/>
                    </a:lnTo>
                    <a:lnTo>
                      <a:pt x="2591" y="1833"/>
                    </a:lnTo>
                    <a:lnTo>
                      <a:pt x="2587" y="1821"/>
                    </a:lnTo>
                    <a:lnTo>
                      <a:pt x="2585" y="1810"/>
                    </a:lnTo>
                    <a:lnTo>
                      <a:pt x="2584" y="1797"/>
                    </a:lnTo>
                    <a:lnTo>
                      <a:pt x="2584" y="1689"/>
                    </a:lnTo>
                    <a:lnTo>
                      <a:pt x="2549" y="1689"/>
                    </a:lnTo>
                    <a:lnTo>
                      <a:pt x="2549" y="1639"/>
                    </a:lnTo>
                    <a:lnTo>
                      <a:pt x="2584" y="1639"/>
                    </a:lnTo>
                    <a:lnTo>
                      <a:pt x="2584" y="1581"/>
                    </a:lnTo>
                    <a:lnTo>
                      <a:pt x="2639" y="1554"/>
                    </a:lnTo>
                    <a:lnTo>
                      <a:pt x="2639" y="1639"/>
                    </a:lnTo>
                    <a:lnTo>
                      <a:pt x="2688" y="1639"/>
                    </a:lnTo>
                    <a:lnTo>
                      <a:pt x="2688" y="1689"/>
                    </a:lnTo>
                    <a:lnTo>
                      <a:pt x="2639" y="1689"/>
                    </a:lnTo>
                    <a:lnTo>
                      <a:pt x="2639" y="1783"/>
                    </a:lnTo>
                    <a:close/>
                    <a:moveTo>
                      <a:pt x="2532" y="1855"/>
                    </a:moveTo>
                    <a:lnTo>
                      <a:pt x="2532" y="1855"/>
                    </a:lnTo>
                    <a:lnTo>
                      <a:pt x="2522" y="1859"/>
                    </a:lnTo>
                    <a:lnTo>
                      <a:pt x="2511" y="1862"/>
                    </a:lnTo>
                    <a:lnTo>
                      <a:pt x="2499" y="1865"/>
                    </a:lnTo>
                    <a:lnTo>
                      <a:pt x="2487" y="1866"/>
                    </a:lnTo>
                    <a:lnTo>
                      <a:pt x="2487" y="1866"/>
                    </a:lnTo>
                    <a:lnTo>
                      <a:pt x="2478" y="1865"/>
                    </a:lnTo>
                    <a:lnTo>
                      <a:pt x="2471" y="1864"/>
                    </a:lnTo>
                    <a:lnTo>
                      <a:pt x="2464" y="1861"/>
                    </a:lnTo>
                    <a:lnTo>
                      <a:pt x="2458" y="1859"/>
                    </a:lnTo>
                    <a:lnTo>
                      <a:pt x="2453" y="1856"/>
                    </a:lnTo>
                    <a:lnTo>
                      <a:pt x="2448" y="1853"/>
                    </a:lnTo>
                    <a:lnTo>
                      <a:pt x="2443" y="1848"/>
                    </a:lnTo>
                    <a:lnTo>
                      <a:pt x="2440" y="1843"/>
                    </a:lnTo>
                    <a:lnTo>
                      <a:pt x="2434" y="1833"/>
                    </a:lnTo>
                    <a:lnTo>
                      <a:pt x="2430" y="1821"/>
                    </a:lnTo>
                    <a:lnTo>
                      <a:pt x="2427" y="1810"/>
                    </a:lnTo>
                    <a:lnTo>
                      <a:pt x="2427" y="1797"/>
                    </a:lnTo>
                    <a:lnTo>
                      <a:pt x="2427" y="1689"/>
                    </a:lnTo>
                    <a:lnTo>
                      <a:pt x="2393" y="1689"/>
                    </a:lnTo>
                    <a:lnTo>
                      <a:pt x="2393" y="1639"/>
                    </a:lnTo>
                    <a:lnTo>
                      <a:pt x="2427" y="1639"/>
                    </a:lnTo>
                    <a:lnTo>
                      <a:pt x="2427" y="1581"/>
                    </a:lnTo>
                    <a:lnTo>
                      <a:pt x="2482" y="1554"/>
                    </a:lnTo>
                    <a:lnTo>
                      <a:pt x="2482" y="1639"/>
                    </a:lnTo>
                    <a:lnTo>
                      <a:pt x="2528" y="1639"/>
                    </a:lnTo>
                    <a:lnTo>
                      <a:pt x="2528" y="1689"/>
                    </a:lnTo>
                    <a:lnTo>
                      <a:pt x="2482" y="1689"/>
                    </a:lnTo>
                    <a:lnTo>
                      <a:pt x="2482" y="1783"/>
                    </a:lnTo>
                    <a:lnTo>
                      <a:pt x="2482" y="1783"/>
                    </a:lnTo>
                    <a:lnTo>
                      <a:pt x="2482" y="1791"/>
                    </a:lnTo>
                    <a:lnTo>
                      <a:pt x="2483" y="1796"/>
                    </a:lnTo>
                    <a:lnTo>
                      <a:pt x="2485" y="1802"/>
                    </a:lnTo>
                    <a:lnTo>
                      <a:pt x="2488" y="1806"/>
                    </a:lnTo>
                    <a:lnTo>
                      <a:pt x="2491" y="1810"/>
                    </a:lnTo>
                    <a:lnTo>
                      <a:pt x="2495" y="1812"/>
                    </a:lnTo>
                    <a:lnTo>
                      <a:pt x="2500" y="1813"/>
                    </a:lnTo>
                    <a:lnTo>
                      <a:pt x="2505" y="1813"/>
                    </a:lnTo>
                    <a:lnTo>
                      <a:pt x="2505" y="1813"/>
                    </a:lnTo>
                    <a:lnTo>
                      <a:pt x="2514" y="1813"/>
                    </a:lnTo>
                    <a:lnTo>
                      <a:pt x="2523" y="1811"/>
                    </a:lnTo>
                    <a:lnTo>
                      <a:pt x="2531" y="1807"/>
                    </a:lnTo>
                    <a:lnTo>
                      <a:pt x="2538" y="1803"/>
                    </a:lnTo>
                    <a:lnTo>
                      <a:pt x="2532" y="1855"/>
                    </a:lnTo>
                    <a:close/>
                    <a:moveTo>
                      <a:pt x="3074" y="1700"/>
                    </a:moveTo>
                    <a:lnTo>
                      <a:pt x="3074" y="1700"/>
                    </a:lnTo>
                    <a:lnTo>
                      <a:pt x="3066" y="1695"/>
                    </a:lnTo>
                    <a:lnTo>
                      <a:pt x="3057" y="1691"/>
                    </a:lnTo>
                    <a:lnTo>
                      <a:pt x="3047" y="1689"/>
                    </a:lnTo>
                    <a:lnTo>
                      <a:pt x="3037" y="1688"/>
                    </a:lnTo>
                    <a:lnTo>
                      <a:pt x="3037" y="1688"/>
                    </a:lnTo>
                    <a:lnTo>
                      <a:pt x="3028" y="1689"/>
                    </a:lnTo>
                    <a:lnTo>
                      <a:pt x="3020" y="1691"/>
                    </a:lnTo>
                    <a:lnTo>
                      <a:pt x="3013" y="1696"/>
                    </a:lnTo>
                    <a:lnTo>
                      <a:pt x="3007" y="1701"/>
                    </a:lnTo>
                    <a:lnTo>
                      <a:pt x="3003" y="1708"/>
                    </a:lnTo>
                    <a:lnTo>
                      <a:pt x="3001" y="1717"/>
                    </a:lnTo>
                    <a:lnTo>
                      <a:pt x="2999" y="1728"/>
                    </a:lnTo>
                    <a:lnTo>
                      <a:pt x="2998" y="1740"/>
                    </a:lnTo>
                    <a:lnTo>
                      <a:pt x="2998" y="1860"/>
                    </a:lnTo>
                    <a:lnTo>
                      <a:pt x="2943" y="1860"/>
                    </a:lnTo>
                    <a:lnTo>
                      <a:pt x="2943" y="1639"/>
                    </a:lnTo>
                    <a:lnTo>
                      <a:pt x="2998" y="1639"/>
                    </a:lnTo>
                    <a:lnTo>
                      <a:pt x="2998" y="1657"/>
                    </a:lnTo>
                    <a:lnTo>
                      <a:pt x="2998" y="1657"/>
                    </a:lnTo>
                    <a:lnTo>
                      <a:pt x="3003" y="1652"/>
                    </a:lnTo>
                    <a:lnTo>
                      <a:pt x="3009" y="1646"/>
                    </a:lnTo>
                    <a:lnTo>
                      <a:pt x="3014" y="1643"/>
                    </a:lnTo>
                    <a:lnTo>
                      <a:pt x="3021" y="1640"/>
                    </a:lnTo>
                    <a:lnTo>
                      <a:pt x="3026" y="1636"/>
                    </a:lnTo>
                    <a:lnTo>
                      <a:pt x="3033" y="1635"/>
                    </a:lnTo>
                    <a:lnTo>
                      <a:pt x="3039" y="1634"/>
                    </a:lnTo>
                    <a:lnTo>
                      <a:pt x="3047" y="1633"/>
                    </a:lnTo>
                    <a:lnTo>
                      <a:pt x="3047" y="1633"/>
                    </a:lnTo>
                    <a:lnTo>
                      <a:pt x="3058" y="1634"/>
                    </a:lnTo>
                    <a:lnTo>
                      <a:pt x="3069" y="1637"/>
                    </a:lnTo>
                    <a:lnTo>
                      <a:pt x="3079" y="1641"/>
                    </a:lnTo>
                    <a:lnTo>
                      <a:pt x="3088" y="1646"/>
                    </a:lnTo>
                    <a:lnTo>
                      <a:pt x="3074" y="1700"/>
                    </a:lnTo>
                    <a:close/>
                    <a:moveTo>
                      <a:pt x="593" y="1579"/>
                    </a:moveTo>
                    <a:lnTo>
                      <a:pt x="593" y="1607"/>
                    </a:lnTo>
                    <a:lnTo>
                      <a:pt x="537" y="1607"/>
                    </a:lnTo>
                    <a:lnTo>
                      <a:pt x="537" y="1551"/>
                    </a:lnTo>
                    <a:lnTo>
                      <a:pt x="593" y="1551"/>
                    </a:lnTo>
                    <a:lnTo>
                      <a:pt x="593" y="1579"/>
                    </a:lnTo>
                    <a:close/>
                    <a:moveTo>
                      <a:pt x="975" y="1639"/>
                    </a:moveTo>
                    <a:lnTo>
                      <a:pt x="1030" y="1639"/>
                    </a:lnTo>
                    <a:lnTo>
                      <a:pt x="1030" y="1738"/>
                    </a:lnTo>
                    <a:lnTo>
                      <a:pt x="1030" y="1860"/>
                    </a:lnTo>
                    <a:lnTo>
                      <a:pt x="975" y="1860"/>
                    </a:lnTo>
                    <a:lnTo>
                      <a:pt x="975" y="1639"/>
                    </a:lnTo>
                    <a:close/>
                    <a:moveTo>
                      <a:pt x="1030" y="1579"/>
                    </a:moveTo>
                    <a:lnTo>
                      <a:pt x="1030" y="1607"/>
                    </a:lnTo>
                    <a:lnTo>
                      <a:pt x="975" y="1607"/>
                    </a:lnTo>
                    <a:lnTo>
                      <a:pt x="975" y="1551"/>
                    </a:lnTo>
                    <a:lnTo>
                      <a:pt x="1030" y="1551"/>
                    </a:lnTo>
                    <a:lnTo>
                      <a:pt x="1030" y="1579"/>
                    </a:lnTo>
                    <a:close/>
                    <a:moveTo>
                      <a:pt x="2539" y="2042"/>
                    </a:moveTo>
                    <a:lnTo>
                      <a:pt x="2539" y="2042"/>
                    </a:lnTo>
                    <a:lnTo>
                      <a:pt x="2534" y="2038"/>
                    </a:lnTo>
                    <a:lnTo>
                      <a:pt x="2528" y="2033"/>
                    </a:lnTo>
                    <a:lnTo>
                      <a:pt x="2523" y="2030"/>
                    </a:lnTo>
                    <a:lnTo>
                      <a:pt x="2516" y="2027"/>
                    </a:lnTo>
                    <a:lnTo>
                      <a:pt x="2511" y="2025"/>
                    </a:lnTo>
                    <a:lnTo>
                      <a:pt x="2504" y="2024"/>
                    </a:lnTo>
                    <a:lnTo>
                      <a:pt x="2490" y="2021"/>
                    </a:lnTo>
                    <a:lnTo>
                      <a:pt x="2490" y="2021"/>
                    </a:lnTo>
                    <a:lnTo>
                      <a:pt x="2480" y="2022"/>
                    </a:lnTo>
                    <a:lnTo>
                      <a:pt x="2471" y="2024"/>
                    </a:lnTo>
                    <a:lnTo>
                      <a:pt x="2462" y="2027"/>
                    </a:lnTo>
                    <a:lnTo>
                      <a:pt x="2453" y="2030"/>
                    </a:lnTo>
                    <a:lnTo>
                      <a:pt x="2446" y="2035"/>
                    </a:lnTo>
                    <a:lnTo>
                      <a:pt x="2439" y="2039"/>
                    </a:lnTo>
                    <a:lnTo>
                      <a:pt x="2432" y="2046"/>
                    </a:lnTo>
                    <a:lnTo>
                      <a:pt x="2426" y="2052"/>
                    </a:lnTo>
                    <a:lnTo>
                      <a:pt x="2421" y="2060"/>
                    </a:lnTo>
                    <a:lnTo>
                      <a:pt x="2416" y="2069"/>
                    </a:lnTo>
                    <a:lnTo>
                      <a:pt x="2413" y="2078"/>
                    </a:lnTo>
                    <a:lnTo>
                      <a:pt x="2409" y="2089"/>
                    </a:lnTo>
                    <a:lnTo>
                      <a:pt x="2406" y="2099"/>
                    </a:lnTo>
                    <a:lnTo>
                      <a:pt x="2405" y="2111"/>
                    </a:lnTo>
                    <a:lnTo>
                      <a:pt x="2404" y="2123"/>
                    </a:lnTo>
                    <a:lnTo>
                      <a:pt x="2403" y="2136"/>
                    </a:lnTo>
                    <a:lnTo>
                      <a:pt x="2403" y="2136"/>
                    </a:lnTo>
                    <a:lnTo>
                      <a:pt x="2404" y="2149"/>
                    </a:lnTo>
                    <a:lnTo>
                      <a:pt x="2405" y="2161"/>
                    </a:lnTo>
                    <a:lnTo>
                      <a:pt x="2406" y="2174"/>
                    </a:lnTo>
                    <a:lnTo>
                      <a:pt x="2409" y="2186"/>
                    </a:lnTo>
                    <a:lnTo>
                      <a:pt x="2411" y="2196"/>
                    </a:lnTo>
                    <a:lnTo>
                      <a:pt x="2416" y="2206"/>
                    </a:lnTo>
                    <a:lnTo>
                      <a:pt x="2420" y="2214"/>
                    </a:lnTo>
                    <a:lnTo>
                      <a:pt x="2426" y="2222"/>
                    </a:lnTo>
                    <a:lnTo>
                      <a:pt x="2431" y="2230"/>
                    </a:lnTo>
                    <a:lnTo>
                      <a:pt x="2438" y="2235"/>
                    </a:lnTo>
                    <a:lnTo>
                      <a:pt x="2445" y="2241"/>
                    </a:lnTo>
                    <a:lnTo>
                      <a:pt x="2452" y="2245"/>
                    </a:lnTo>
                    <a:lnTo>
                      <a:pt x="2461" y="2250"/>
                    </a:lnTo>
                    <a:lnTo>
                      <a:pt x="2470" y="2252"/>
                    </a:lnTo>
                    <a:lnTo>
                      <a:pt x="2479" y="2253"/>
                    </a:lnTo>
                    <a:lnTo>
                      <a:pt x="2489" y="2254"/>
                    </a:lnTo>
                    <a:lnTo>
                      <a:pt x="2489" y="2254"/>
                    </a:lnTo>
                    <a:lnTo>
                      <a:pt x="2495" y="2253"/>
                    </a:lnTo>
                    <a:lnTo>
                      <a:pt x="2503" y="2252"/>
                    </a:lnTo>
                    <a:lnTo>
                      <a:pt x="2510" y="2251"/>
                    </a:lnTo>
                    <a:lnTo>
                      <a:pt x="2515" y="2249"/>
                    </a:lnTo>
                    <a:lnTo>
                      <a:pt x="2522" y="2245"/>
                    </a:lnTo>
                    <a:lnTo>
                      <a:pt x="2528" y="2242"/>
                    </a:lnTo>
                    <a:lnTo>
                      <a:pt x="2534" y="2238"/>
                    </a:lnTo>
                    <a:lnTo>
                      <a:pt x="2539" y="2232"/>
                    </a:lnTo>
                    <a:lnTo>
                      <a:pt x="2539" y="2249"/>
                    </a:lnTo>
                    <a:lnTo>
                      <a:pt x="2595" y="2249"/>
                    </a:lnTo>
                    <a:lnTo>
                      <a:pt x="2595" y="1934"/>
                    </a:lnTo>
                    <a:lnTo>
                      <a:pt x="2539" y="1962"/>
                    </a:lnTo>
                    <a:lnTo>
                      <a:pt x="2539" y="2042"/>
                    </a:lnTo>
                    <a:close/>
                    <a:moveTo>
                      <a:pt x="2501" y="2203"/>
                    </a:moveTo>
                    <a:lnTo>
                      <a:pt x="2501" y="2203"/>
                    </a:lnTo>
                    <a:lnTo>
                      <a:pt x="2493" y="2202"/>
                    </a:lnTo>
                    <a:lnTo>
                      <a:pt x="2487" y="2200"/>
                    </a:lnTo>
                    <a:lnTo>
                      <a:pt x="2479" y="2197"/>
                    </a:lnTo>
                    <a:lnTo>
                      <a:pt x="2472" y="2190"/>
                    </a:lnTo>
                    <a:lnTo>
                      <a:pt x="2467" y="2181"/>
                    </a:lnTo>
                    <a:lnTo>
                      <a:pt x="2462" y="2169"/>
                    </a:lnTo>
                    <a:lnTo>
                      <a:pt x="2460" y="2154"/>
                    </a:lnTo>
                    <a:lnTo>
                      <a:pt x="2459" y="2134"/>
                    </a:lnTo>
                    <a:lnTo>
                      <a:pt x="2459" y="2134"/>
                    </a:lnTo>
                    <a:lnTo>
                      <a:pt x="2460" y="2117"/>
                    </a:lnTo>
                    <a:lnTo>
                      <a:pt x="2462" y="2103"/>
                    </a:lnTo>
                    <a:lnTo>
                      <a:pt x="2467" y="2092"/>
                    </a:lnTo>
                    <a:lnTo>
                      <a:pt x="2472" y="2084"/>
                    </a:lnTo>
                    <a:lnTo>
                      <a:pt x="2479" y="2079"/>
                    </a:lnTo>
                    <a:lnTo>
                      <a:pt x="2485" y="2074"/>
                    </a:lnTo>
                    <a:lnTo>
                      <a:pt x="2493" y="2073"/>
                    </a:lnTo>
                    <a:lnTo>
                      <a:pt x="2500" y="2072"/>
                    </a:lnTo>
                    <a:lnTo>
                      <a:pt x="2500" y="2072"/>
                    </a:lnTo>
                    <a:lnTo>
                      <a:pt x="2507" y="2073"/>
                    </a:lnTo>
                    <a:lnTo>
                      <a:pt x="2514" y="2074"/>
                    </a:lnTo>
                    <a:lnTo>
                      <a:pt x="2520" y="2076"/>
                    </a:lnTo>
                    <a:lnTo>
                      <a:pt x="2525" y="2080"/>
                    </a:lnTo>
                    <a:lnTo>
                      <a:pt x="2530" y="2083"/>
                    </a:lnTo>
                    <a:lnTo>
                      <a:pt x="2534" y="2086"/>
                    </a:lnTo>
                    <a:lnTo>
                      <a:pt x="2539" y="2094"/>
                    </a:lnTo>
                    <a:lnTo>
                      <a:pt x="2539" y="2181"/>
                    </a:lnTo>
                    <a:lnTo>
                      <a:pt x="2539" y="2181"/>
                    </a:lnTo>
                    <a:lnTo>
                      <a:pt x="2533" y="2189"/>
                    </a:lnTo>
                    <a:lnTo>
                      <a:pt x="2525" y="2196"/>
                    </a:lnTo>
                    <a:lnTo>
                      <a:pt x="2520" y="2199"/>
                    </a:lnTo>
                    <a:lnTo>
                      <a:pt x="2514" y="2201"/>
                    </a:lnTo>
                    <a:lnTo>
                      <a:pt x="2507" y="2202"/>
                    </a:lnTo>
                    <a:lnTo>
                      <a:pt x="2501" y="2203"/>
                    </a:lnTo>
                    <a:lnTo>
                      <a:pt x="2501" y="2203"/>
                    </a:lnTo>
                    <a:close/>
                    <a:moveTo>
                      <a:pt x="672" y="2089"/>
                    </a:moveTo>
                    <a:lnTo>
                      <a:pt x="672" y="2089"/>
                    </a:lnTo>
                    <a:lnTo>
                      <a:pt x="664" y="2084"/>
                    </a:lnTo>
                    <a:lnTo>
                      <a:pt x="656" y="2080"/>
                    </a:lnTo>
                    <a:lnTo>
                      <a:pt x="646" y="2078"/>
                    </a:lnTo>
                    <a:lnTo>
                      <a:pt x="636" y="2076"/>
                    </a:lnTo>
                    <a:lnTo>
                      <a:pt x="636" y="2076"/>
                    </a:lnTo>
                    <a:lnTo>
                      <a:pt x="627" y="2078"/>
                    </a:lnTo>
                    <a:lnTo>
                      <a:pt x="618" y="2080"/>
                    </a:lnTo>
                    <a:lnTo>
                      <a:pt x="611" y="2084"/>
                    </a:lnTo>
                    <a:lnTo>
                      <a:pt x="606" y="2090"/>
                    </a:lnTo>
                    <a:lnTo>
                      <a:pt x="601" y="2096"/>
                    </a:lnTo>
                    <a:lnTo>
                      <a:pt x="599" y="2105"/>
                    </a:lnTo>
                    <a:lnTo>
                      <a:pt x="597" y="2116"/>
                    </a:lnTo>
                    <a:lnTo>
                      <a:pt x="596" y="2128"/>
                    </a:lnTo>
                    <a:lnTo>
                      <a:pt x="596" y="2249"/>
                    </a:lnTo>
                    <a:lnTo>
                      <a:pt x="542" y="2249"/>
                    </a:lnTo>
                    <a:lnTo>
                      <a:pt x="542" y="2027"/>
                    </a:lnTo>
                    <a:lnTo>
                      <a:pt x="596" y="2027"/>
                    </a:lnTo>
                    <a:lnTo>
                      <a:pt x="596" y="2046"/>
                    </a:lnTo>
                    <a:lnTo>
                      <a:pt x="596" y="2046"/>
                    </a:lnTo>
                    <a:lnTo>
                      <a:pt x="601" y="2040"/>
                    </a:lnTo>
                    <a:lnTo>
                      <a:pt x="607" y="2035"/>
                    </a:lnTo>
                    <a:lnTo>
                      <a:pt x="613" y="2031"/>
                    </a:lnTo>
                    <a:lnTo>
                      <a:pt x="619" y="2028"/>
                    </a:lnTo>
                    <a:lnTo>
                      <a:pt x="625" y="2025"/>
                    </a:lnTo>
                    <a:lnTo>
                      <a:pt x="631" y="2024"/>
                    </a:lnTo>
                    <a:lnTo>
                      <a:pt x="639" y="2022"/>
                    </a:lnTo>
                    <a:lnTo>
                      <a:pt x="646" y="2021"/>
                    </a:lnTo>
                    <a:lnTo>
                      <a:pt x="646" y="2021"/>
                    </a:lnTo>
                    <a:lnTo>
                      <a:pt x="657" y="2022"/>
                    </a:lnTo>
                    <a:lnTo>
                      <a:pt x="668" y="2026"/>
                    </a:lnTo>
                    <a:lnTo>
                      <a:pt x="679" y="2030"/>
                    </a:lnTo>
                    <a:lnTo>
                      <a:pt x="688" y="2036"/>
                    </a:lnTo>
                    <a:lnTo>
                      <a:pt x="672" y="2089"/>
                    </a:lnTo>
                    <a:close/>
                    <a:moveTo>
                      <a:pt x="241" y="2027"/>
                    </a:moveTo>
                    <a:lnTo>
                      <a:pt x="295" y="2027"/>
                    </a:lnTo>
                    <a:lnTo>
                      <a:pt x="232" y="2249"/>
                    </a:lnTo>
                    <a:lnTo>
                      <a:pt x="184" y="2249"/>
                    </a:lnTo>
                    <a:lnTo>
                      <a:pt x="160" y="2157"/>
                    </a:lnTo>
                    <a:lnTo>
                      <a:pt x="160" y="2157"/>
                    </a:lnTo>
                    <a:lnTo>
                      <a:pt x="148" y="2108"/>
                    </a:lnTo>
                    <a:lnTo>
                      <a:pt x="148" y="2108"/>
                    </a:lnTo>
                    <a:lnTo>
                      <a:pt x="142" y="2132"/>
                    </a:lnTo>
                    <a:lnTo>
                      <a:pt x="136" y="2158"/>
                    </a:lnTo>
                    <a:lnTo>
                      <a:pt x="110" y="2249"/>
                    </a:lnTo>
                    <a:lnTo>
                      <a:pt x="63" y="2249"/>
                    </a:lnTo>
                    <a:lnTo>
                      <a:pt x="63" y="2247"/>
                    </a:lnTo>
                    <a:lnTo>
                      <a:pt x="0" y="2027"/>
                    </a:lnTo>
                    <a:lnTo>
                      <a:pt x="57" y="2027"/>
                    </a:lnTo>
                    <a:lnTo>
                      <a:pt x="77" y="2110"/>
                    </a:lnTo>
                    <a:lnTo>
                      <a:pt x="77" y="2110"/>
                    </a:lnTo>
                    <a:lnTo>
                      <a:pt x="83" y="2136"/>
                    </a:lnTo>
                    <a:lnTo>
                      <a:pt x="88" y="2164"/>
                    </a:lnTo>
                    <a:lnTo>
                      <a:pt x="88" y="2164"/>
                    </a:lnTo>
                    <a:lnTo>
                      <a:pt x="95" y="2136"/>
                    </a:lnTo>
                    <a:lnTo>
                      <a:pt x="102" y="2108"/>
                    </a:lnTo>
                    <a:lnTo>
                      <a:pt x="125" y="2027"/>
                    </a:lnTo>
                    <a:lnTo>
                      <a:pt x="172" y="2027"/>
                    </a:lnTo>
                    <a:lnTo>
                      <a:pt x="195" y="2108"/>
                    </a:lnTo>
                    <a:lnTo>
                      <a:pt x="195" y="2108"/>
                    </a:lnTo>
                    <a:lnTo>
                      <a:pt x="202" y="2135"/>
                    </a:lnTo>
                    <a:lnTo>
                      <a:pt x="209" y="2165"/>
                    </a:lnTo>
                    <a:lnTo>
                      <a:pt x="209" y="2165"/>
                    </a:lnTo>
                    <a:lnTo>
                      <a:pt x="213" y="2139"/>
                    </a:lnTo>
                    <a:lnTo>
                      <a:pt x="220" y="2108"/>
                    </a:lnTo>
                    <a:lnTo>
                      <a:pt x="241" y="2027"/>
                    </a:lnTo>
                    <a:close/>
                    <a:moveTo>
                      <a:pt x="406" y="2021"/>
                    </a:moveTo>
                    <a:lnTo>
                      <a:pt x="406" y="2021"/>
                    </a:lnTo>
                    <a:lnTo>
                      <a:pt x="396" y="2022"/>
                    </a:lnTo>
                    <a:lnTo>
                      <a:pt x="385" y="2024"/>
                    </a:lnTo>
                    <a:lnTo>
                      <a:pt x="375" y="2027"/>
                    </a:lnTo>
                    <a:lnTo>
                      <a:pt x="366" y="2030"/>
                    </a:lnTo>
                    <a:lnTo>
                      <a:pt x="358" y="2035"/>
                    </a:lnTo>
                    <a:lnTo>
                      <a:pt x="349" y="2040"/>
                    </a:lnTo>
                    <a:lnTo>
                      <a:pt x="341" y="2047"/>
                    </a:lnTo>
                    <a:lnTo>
                      <a:pt x="334" y="2054"/>
                    </a:lnTo>
                    <a:lnTo>
                      <a:pt x="328" y="2062"/>
                    </a:lnTo>
                    <a:lnTo>
                      <a:pt x="322" y="2071"/>
                    </a:lnTo>
                    <a:lnTo>
                      <a:pt x="317" y="2081"/>
                    </a:lnTo>
                    <a:lnTo>
                      <a:pt x="313" y="2091"/>
                    </a:lnTo>
                    <a:lnTo>
                      <a:pt x="310" y="2102"/>
                    </a:lnTo>
                    <a:lnTo>
                      <a:pt x="308" y="2113"/>
                    </a:lnTo>
                    <a:lnTo>
                      <a:pt x="306" y="2125"/>
                    </a:lnTo>
                    <a:lnTo>
                      <a:pt x="306" y="2138"/>
                    </a:lnTo>
                    <a:lnTo>
                      <a:pt x="306" y="2138"/>
                    </a:lnTo>
                    <a:lnTo>
                      <a:pt x="306" y="2150"/>
                    </a:lnTo>
                    <a:lnTo>
                      <a:pt x="308" y="2163"/>
                    </a:lnTo>
                    <a:lnTo>
                      <a:pt x="310" y="2174"/>
                    </a:lnTo>
                    <a:lnTo>
                      <a:pt x="313" y="2185"/>
                    </a:lnTo>
                    <a:lnTo>
                      <a:pt x="317" y="2194"/>
                    </a:lnTo>
                    <a:lnTo>
                      <a:pt x="322" y="2204"/>
                    </a:lnTo>
                    <a:lnTo>
                      <a:pt x="328" y="2213"/>
                    </a:lnTo>
                    <a:lnTo>
                      <a:pt x="334" y="2221"/>
                    </a:lnTo>
                    <a:lnTo>
                      <a:pt x="341" y="2229"/>
                    </a:lnTo>
                    <a:lnTo>
                      <a:pt x="349" y="2235"/>
                    </a:lnTo>
                    <a:lnTo>
                      <a:pt x="358" y="2241"/>
                    </a:lnTo>
                    <a:lnTo>
                      <a:pt x="366" y="2245"/>
                    </a:lnTo>
                    <a:lnTo>
                      <a:pt x="375" y="2249"/>
                    </a:lnTo>
                    <a:lnTo>
                      <a:pt x="385" y="2252"/>
                    </a:lnTo>
                    <a:lnTo>
                      <a:pt x="396" y="2253"/>
                    </a:lnTo>
                    <a:lnTo>
                      <a:pt x="406" y="2254"/>
                    </a:lnTo>
                    <a:lnTo>
                      <a:pt x="406" y="2254"/>
                    </a:lnTo>
                    <a:lnTo>
                      <a:pt x="417" y="2253"/>
                    </a:lnTo>
                    <a:lnTo>
                      <a:pt x="428" y="2252"/>
                    </a:lnTo>
                    <a:lnTo>
                      <a:pt x="438" y="2249"/>
                    </a:lnTo>
                    <a:lnTo>
                      <a:pt x="447" y="2245"/>
                    </a:lnTo>
                    <a:lnTo>
                      <a:pt x="456" y="2241"/>
                    </a:lnTo>
                    <a:lnTo>
                      <a:pt x="465" y="2235"/>
                    </a:lnTo>
                    <a:lnTo>
                      <a:pt x="472" y="2229"/>
                    </a:lnTo>
                    <a:lnTo>
                      <a:pt x="479" y="2221"/>
                    </a:lnTo>
                    <a:lnTo>
                      <a:pt x="486" y="2213"/>
                    </a:lnTo>
                    <a:lnTo>
                      <a:pt x="491" y="2204"/>
                    </a:lnTo>
                    <a:lnTo>
                      <a:pt x="496" y="2194"/>
                    </a:lnTo>
                    <a:lnTo>
                      <a:pt x="500" y="2185"/>
                    </a:lnTo>
                    <a:lnTo>
                      <a:pt x="503" y="2174"/>
                    </a:lnTo>
                    <a:lnTo>
                      <a:pt x="505" y="2163"/>
                    </a:lnTo>
                    <a:lnTo>
                      <a:pt x="508" y="2150"/>
                    </a:lnTo>
                    <a:lnTo>
                      <a:pt x="508" y="2138"/>
                    </a:lnTo>
                    <a:lnTo>
                      <a:pt x="508" y="2138"/>
                    </a:lnTo>
                    <a:lnTo>
                      <a:pt x="508" y="2125"/>
                    </a:lnTo>
                    <a:lnTo>
                      <a:pt x="505" y="2113"/>
                    </a:lnTo>
                    <a:lnTo>
                      <a:pt x="503" y="2102"/>
                    </a:lnTo>
                    <a:lnTo>
                      <a:pt x="500" y="2091"/>
                    </a:lnTo>
                    <a:lnTo>
                      <a:pt x="496" y="2081"/>
                    </a:lnTo>
                    <a:lnTo>
                      <a:pt x="491" y="2071"/>
                    </a:lnTo>
                    <a:lnTo>
                      <a:pt x="486" y="2062"/>
                    </a:lnTo>
                    <a:lnTo>
                      <a:pt x="479" y="2054"/>
                    </a:lnTo>
                    <a:lnTo>
                      <a:pt x="472" y="2047"/>
                    </a:lnTo>
                    <a:lnTo>
                      <a:pt x="465" y="2040"/>
                    </a:lnTo>
                    <a:lnTo>
                      <a:pt x="456" y="2035"/>
                    </a:lnTo>
                    <a:lnTo>
                      <a:pt x="447" y="2030"/>
                    </a:lnTo>
                    <a:lnTo>
                      <a:pt x="438" y="2027"/>
                    </a:lnTo>
                    <a:lnTo>
                      <a:pt x="428" y="2024"/>
                    </a:lnTo>
                    <a:lnTo>
                      <a:pt x="417" y="2022"/>
                    </a:lnTo>
                    <a:lnTo>
                      <a:pt x="406" y="2021"/>
                    </a:lnTo>
                    <a:lnTo>
                      <a:pt x="406" y="2021"/>
                    </a:lnTo>
                    <a:close/>
                    <a:moveTo>
                      <a:pt x="406" y="2202"/>
                    </a:moveTo>
                    <a:lnTo>
                      <a:pt x="406" y="2202"/>
                    </a:lnTo>
                    <a:lnTo>
                      <a:pt x="396" y="2201"/>
                    </a:lnTo>
                    <a:lnTo>
                      <a:pt x="387" y="2198"/>
                    </a:lnTo>
                    <a:lnTo>
                      <a:pt x="381" y="2192"/>
                    </a:lnTo>
                    <a:lnTo>
                      <a:pt x="374" y="2185"/>
                    </a:lnTo>
                    <a:lnTo>
                      <a:pt x="369" y="2176"/>
                    </a:lnTo>
                    <a:lnTo>
                      <a:pt x="364" y="2165"/>
                    </a:lnTo>
                    <a:lnTo>
                      <a:pt x="362" y="2151"/>
                    </a:lnTo>
                    <a:lnTo>
                      <a:pt x="362" y="2138"/>
                    </a:lnTo>
                    <a:lnTo>
                      <a:pt x="362" y="2138"/>
                    </a:lnTo>
                    <a:lnTo>
                      <a:pt x="362" y="2124"/>
                    </a:lnTo>
                    <a:lnTo>
                      <a:pt x="364" y="2111"/>
                    </a:lnTo>
                    <a:lnTo>
                      <a:pt x="369" y="2101"/>
                    </a:lnTo>
                    <a:lnTo>
                      <a:pt x="374" y="2091"/>
                    </a:lnTo>
                    <a:lnTo>
                      <a:pt x="381" y="2083"/>
                    </a:lnTo>
                    <a:lnTo>
                      <a:pt x="387" y="2078"/>
                    </a:lnTo>
                    <a:lnTo>
                      <a:pt x="396" y="2074"/>
                    </a:lnTo>
                    <a:lnTo>
                      <a:pt x="406" y="2073"/>
                    </a:lnTo>
                    <a:lnTo>
                      <a:pt x="406" y="2073"/>
                    </a:lnTo>
                    <a:lnTo>
                      <a:pt x="416" y="2074"/>
                    </a:lnTo>
                    <a:lnTo>
                      <a:pt x="425" y="2078"/>
                    </a:lnTo>
                    <a:lnTo>
                      <a:pt x="433" y="2083"/>
                    </a:lnTo>
                    <a:lnTo>
                      <a:pt x="439" y="2091"/>
                    </a:lnTo>
                    <a:lnTo>
                      <a:pt x="445" y="2101"/>
                    </a:lnTo>
                    <a:lnTo>
                      <a:pt x="448" y="2111"/>
                    </a:lnTo>
                    <a:lnTo>
                      <a:pt x="450" y="2124"/>
                    </a:lnTo>
                    <a:lnTo>
                      <a:pt x="451" y="2138"/>
                    </a:lnTo>
                    <a:lnTo>
                      <a:pt x="451" y="2138"/>
                    </a:lnTo>
                    <a:lnTo>
                      <a:pt x="450" y="2151"/>
                    </a:lnTo>
                    <a:lnTo>
                      <a:pt x="448" y="2165"/>
                    </a:lnTo>
                    <a:lnTo>
                      <a:pt x="445" y="2176"/>
                    </a:lnTo>
                    <a:lnTo>
                      <a:pt x="439" y="2185"/>
                    </a:lnTo>
                    <a:lnTo>
                      <a:pt x="433" y="2192"/>
                    </a:lnTo>
                    <a:lnTo>
                      <a:pt x="425" y="2198"/>
                    </a:lnTo>
                    <a:lnTo>
                      <a:pt x="416" y="2201"/>
                    </a:lnTo>
                    <a:lnTo>
                      <a:pt x="406" y="2202"/>
                    </a:lnTo>
                    <a:lnTo>
                      <a:pt x="406" y="2202"/>
                    </a:lnTo>
                    <a:close/>
                    <a:moveTo>
                      <a:pt x="2269" y="2089"/>
                    </a:moveTo>
                    <a:lnTo>
                      <a:pt x="2269" y="2089"/>
                    </a:lnTo>
                    <a:lnTo>
                      <a:pt x="2260" y="2084"/>
                    </a:lnTo>
                    <a:lnTo>
                      <a:pt x="2251" y="2080"/>
                    </a:lnTo>
                    <a:lnTo>
                      <a:pt x="2242" y="2078"/>
                    </a:lnTo>
                    <a:lnTo>
                      <a:pt x="2233" y="2076"/>
                    </a:lnTo>
                    <a:lnTo>
                      <a:pt x="2233" y="2076"/>
                    </a:lnTo>
                    <a:lnTo>
                      <a:pt x="2223" y="2078"/>
                    </a:lnTo>
                    <a:lnTo>
                      <a:pt x="2215" y="2080"/>
                    </a:lnTo>
                    <a:lnTo>
                      <a:pt x="2208" y="2084"/>
                    </a:lnTo>
                    <a:lnTo>
                      <a:pt x="2203" y="2090"/>
                    </a:lnTo>
                    <a:lnTo>
                      <a:pt x="2198" y="2096"/>
                    </a:lnTo>
                    <a:lnTo>
                      <a:pt x="2195" y="2105"/>
                    </a:lnTo>
                    <a:lnTo>
                      <a:pt x="2193" y="2116"/>
                    </a:lnTo>
                    <a:lnTo>
                      <a:pt x="2193" y="2128"/>
                    </a:lnTo>
                    <a:lnTo>
                      <a:pt x="2193" y="2249"/>
                    </a:lnTo>
                    <a:lnTo>
                      <a:pt x="2138" y="2249"/>
                    </a:lnTo>
                    <a:lnTo>
                      <a:pt x="2138" y="2027"/>
                    </a:lnTo>
                    <a:lnTo>
                      <a:pt x="2193" y="2027"/>
                    </a:lnTo>
                    <a:lnTo>
                      <a:pt x="2193" y="2046"/>
                    </a:lnTo>
                    <a:lnTo>
                      <a:pt x="2193" y="2046"/>
                    </a:lnTo>
                    <a:lnTo>
                      <a:pt x="2197" y="2040"/>
                    </a:lnTo>
                    <a:lnTo>
                      <a:pt x="2203" y="2035"/>
                    </a:lnTo>
                    <a:lnTo>
                      <a:pt x="2208" y="2031"/>
                    </a:lnTo>
                    <a:lnTo>
                      <a:pt x="2215" y="2028"/>
                    </a:lnTo>
                    <a:lnTo>
                      <a:pt x="2222" y="2025"/>
                    </a:lnTo>
                    <a:lnTo>
                      <a:pt x="2228" y="2024"/>
                    </a:lnTo>
                    <a:lnTo>
                      <a:pt x="2235" y="2022"/>
                    </a:lnTo>
                    <a:lnTo>
                      <a:pt x="2242" y="2021"/>
                    </a:lnTo>
                    <a:lnTo>
                      <a:pt x="2242" y="2021"/>
                    </a:lnTo>
                    <a:lnTo>
                      <a:pt x="2253" y="2022"/>
                    </a:lnTo>
                    <a:lnTo>
                      <a:pt x="2264" y="2026"/>
                    </a:lnTo>
                    <a:lnTo>
                      <a:pt x="2275" y="2030"/>
                    </a:lnTo>
                    <a:lnTo>
                      <a:pt x="2283" y="2036"/>
                    </a:lnTo>
                    <a:lnTo>
                      <a:pt x="2269" y="2089"/>
                    </a:lnTo>
                    <a:close/>
                    <a:moveTo>
                      <a:pt x="1836" y="2027"/>
                    </a:moveTo>
                    <a:lnTo>
                      <a:pt x="1891" y="2027"/>
                    </a:lnTo>
                    <a:lnTo>
                      <a:pt x="1828" y="2249"/>
                    </a:lnTo>
                    <a:lnTo>
                      <a:pt x="1780" y="2249"/>
                    </a:lnTo>
                    <a:lnTo>
                      <a:pt x="1756" y="2157"/>
                    </a:lnTo>
                    <a:lnTo>
                      <a:pt x="1756" y="2157"/>
                    </a:lnTo>
                    <a:lnTo>
                      <a:pt x="1744" y="2108"/>
                    </a:lnTo>
                    <a:lnTo>
                      <a:pt x="1744" y="2108"/>
                    </a:lnTo>
                    <a:lnTo>
                      <a:pt x="1738" y="2132"/>
                    </a:lnTo>
                    <a:lnTo>
                      <a:pt x="1732" y="2158"/>
                    </a:lnTo>
                    <a:lnTo>
                      <a:pt x="1707" y="2249"/>
                    </a:lnTo>
                    <a:lnTo>
                      <a:pt x="1660" y="2249"/>
                    </a:lnTo>
                    <a:lnTo>
                      <a:pt x="1659" y="2247"/>
                    </a:lnTo>
                    <a:lnTo>
                      <a:pt x="1597" y="2027"/>
                    </a:lnTo>
                    <a:lnTo>
                      <a:pt x="1653" y="2027"/>
                    </a:lnTo>
                    <a:lnTo>
                      <a:pt x="1674" y="2110"/>
                    </a:lnTo>
                    <a:lnTo>
                      <a:pt x="1674" y="2110"/>
                    </a:lnTo>
                    <a:lnTo>
                      <a:pt x="1680" y="2136"/>
                    </a:lnTo>
                    <a:lnTo>
                      <a:pt x="1685" y="2164"/>
                    </a:lnTo>
                    <a:lnTo>
                      <a:pt x="1685" y="2164"/>
                    </a:lnTo>
                    <a:lnTo>
                      <a:pt x="1691" y="2136"/>
                    </a:lnTo>
                    <a:lnTo>
                      <a:pt x="1699" y="2108"/>
                    </a:lnTo>
                    <a:lnTo>
                      <a:pt x="1722" y="2027"/>
                    </a:lnTo>
                    <a:lnTo>
                      <a:pt x="1768" y="2027"/>
                    </a:lnTo>
                    <a:lnTo>
                      <a:pt x="1791" y="2108"/>
                    </a:lnTo>
                    <a:lnTo>
                      <a:pt x="1791" y="2108"/>
                    </a:lnTo>
                    <a:lnTo>
                      <a:pt x="1798" y="2135"/>
                    </a:lnTo>
                    <a:lnTo>
                      <a:pt x="1804" y="2165"/>
                    </a:lnTo>
                    <a:lnTo>
                      <a:pt x="1804" y="2165"/>
                    </a:lnTo>
                    <a:lnTo>
                      <a:pt x="1810" y="2139"/>
                    </a:lnTo>
                    <a:lnTo>
                      <a:pt x="1817" y="2108"/>
                    </a:lnTo>
                    <a:lnTo>
                      <a:pt x="1836" y="2027"/>
                    </a:lnTo>
                    <a:close/>
                    <a:moveTo>
                      <a:pt x="2002" y="2021"/>
                    </a:moveTo>
                    <a:lnTo>
                      <a:pt x="2002" y="2021"/>
                    </a:lnTo>
                    <a:lnTo>
                      <a:pt x="1992" y="2022"/>
                    </a:lnTo>
                    <a:lnTo>
                      <a:pt x="1981" y="2024"/>
                    </a:lnTo>
                    <a:lnTo>
                      <a:pt x="1971" y="2027"/>
                    </a:lnTo>
                    <a:lnTo>
                      <a:pt x="1962" y="2030"/>
                    </a:lnTo>
                    <a:lnTo>
                      <a:pt x="1953" y="2035"/>
                    </a:lnTo>
                    <a:lnTo>
                      <a:pt x="1945" y="2041"/>
                    </a:lnTo>
                    <a:lnTo>
                      <a:pt x="1937" y="2047"/>
                    </a:lnTo>
                    <a:lnTo>
                      <a:pt x="1930" y="2054"/>
                    </a:lnTo>
                    <a:lnTo>
                      <a:pt x="1924" y="2062"/>
                    </a:lnTo>
                    <a:lnTo>
                      <a:pt x="1918" y="2071"/>
                    </a:lnTo>
                    <a:lnTo>
                      <a:pt x="1913" y="2081"/>
                    </a:lnTo>
                    <a:lnTo>
                      <a:pt x="1909" y="2091"/>
                    </a:lnTo>
                    <a:lnTo>
                      <a:pt x="1906" y="2102"/>
                    </a:lnTo>
                    <a:lnTo>
                      <a:pt x="1903" y="2114"/>
                    </a:lnTo>
                    <a:lnTo>
                      <a:pt x="1902" y="2125"/>
                    </a:lnTo>
                    <a:lnTo>
                      <a:pt x="1902" y="2138"/>
                    </a:lnTo>
                    <a:lnTo>
                      <a:pt x="1902" y="2138"/>
                    </a:lnTo>
                    <a:lnTo>
                      <a:pt x="1902" y="2150"/>
                    </a:lnTo>
                    <a:lnTo>
                      <a:pt x="1903" y="2163"/>
                    </a:lnTo>
                    <a:lnTo>
                      <a:pt x="1906" y="2174"/>
                    </a:lnTo>
                    <a:lnTo>
                      <a:pt x="1909" y="2185"/>
                    </a:lnTo>
                    <a:lnTo>
                      <a:pt x="1913" y="2194"/>
                    </a:lnTo>
                    <a:lnTo>
                      <a:pt x="1918" y="2204"/>
                    </a:lnTo>
                    <a:lnTo>
                      <a:pt x="1924" y="2213"/>
                    </a:lnTo>
                    <a:lnTo>
                      <a:pt x="1930" y="2221"/>
                    </a:lnTo>
                    <a:lnTo>
                      <a:pt x="1937" y="2229"/>
                    </a:lnTo>
                    <a:lnTo>
                      <a:pt x="1945" y="2235"/>
                    </a:lnTo>
                    <a:lnTo>
                      <a:pt x="1953" y="2241"/>
                    </a:lnTo>
                    <a:lnTo>
                      <a:pt x="1962" y="2245"/>
                    </a:lnTo>
                    <a:lnTo>
                      <a:pt x="1971" y="2249"/>
                    </a:lnTo>
                    <a:lnTo>
                      <a:pt x="1981" y="2252"/>
                    </a:lnTo>
                    <a:lnTo>
                      <a:pt x="1992" y="2253"/>
                    </a:lnTo>
                    <a:lnTo>
                      <a:pt x="2002" y="2254"/>
                    </a:lnTo>
                    <a:lnTo>
                      <a:pt x="2002" y="2254"/>
                    </a:lnTo>
                    <a:lnTo>
                      <a:pt x="2013" y="2253"/>
                    </a:lnTo>
                    <a:lnTo>
                      <a:pt x="2024" y="2252"/>
                    </a:lnTo>
                    <a:lnTo>
                      <a:pt x="2034" y="2249"/>
                    </a:lnTo>
                    <a:lnTo>
                      <a:pt x="2043" y="2245"/>
                    </a:lnTo>
                    <a:lnTo>
                      <a:pt x="2052" y="2241"/>
                    </a:lnTo>
                    <a:lnTo>
                      <a:pt x="2061" y="2235"/>
                    </a:lnTo>
                    <a:lnTo>
                      <a:pt x="2068" y="2229"/>
                    </a:lnTo>
                    <a:lnTo>
                      <a:pt x="2075" y="2221"/>
                    </a:lnTo>
                    <a:lnTo>
                      <a:pt x="2081" y="2213"/>
                    </a:lnTo>
                    <a:lnTo>
                      <a:pt x="2087" y="2204"/>
                    </a:lnTo>
                    <a:lnTo>
                      <a:pt x="2091" y="2194"/>
                    </a:lnTo>
                    <a:lnTo>
                      <a:pt x="2096" y="2185"/>
                    </a:lnTo>
                    <a:lnTo>
                      <a:pt x="2099" y="2174"/>
                    </a:lnTo>
                    <a:lnTo>
                      <a:pt x="2101" y="2163"/>
                    </a:lnTo>
                    <a:lnTo>
                      <a:pt x="2104" y="2150"/>
                    </a:lnTo>
                    <a:lnTo>
                      <a:pt x="2104" y="2138"/>
                    </a:lnTo>
                    <a:lnTo>
                      <a:pt x="2104" y="2138"/>
                    </a:lnTo>
                    <a:lnTo>
                      <a:pt x="2104" y="2125"/>
                    </a:lnTo>
                    <a:lnTo>
                      <a:pt x="2101" y="2114"/>
                    </a:lnTo>
                    <a:lnTo>
                      <a:pt x="2099" y="2102"/>
                    </a:lnTo>
                    <a:lnTo>
                      <a:pt x="2096" y="2091"/>
                    </a:lnTo>
                    <a:lnTo>
                      <a:pt x="2091" y="2081"/>
                    </a:lnTo>
                    <a:lnTo>
                      <a:pt x="2087" y="2071"/>
                    </a:lnTo>
                    <a:lnTo>
                      <a:pt x="2081" y="2062"/>
                    </a:lnTo>
                    <a:lnTo>
                      <a:pt x="2075" y="2054"/>
                    </a:lnTo>
                    <a:lnTo>
                      <a:pt x="2068" y="2047"/>
                    </a:lnTo>
                    <a:lnTo>
                      <a:pt x="2061" y="2041"/>
                    </a:lnTo>
                    <a:lnTo>
                      <a:pt x="2052" y="2035"/>
                    </a:lnTo>
                    <a:lnTo>
                      <a:pt x="2043" y="2030"/>
                    </a:lnTo>
                    <a:lnTo>
                      <a:pt x="2034" y="2027"/>
                    </a:lnTo>
                    <a:lnTo>
                      <a:pt x="2024" y="2024"/>
                    </a:lnTo>
                    <a:lnTo>
                      <a:pt x="2013" y="2022"/>
                    </a:lnTo>
                    <a:lnTo>
                      <a:pt x="2002" y="2021"/>
                    </a:lnTo>
                    <a:lnTo>
                      <a:pt x="2002" y="2021"/>
                    </a:lnTo>
                    <a:close/>
                    <a:moveTo>
                      <a:pt x="2002" y="2202"/>
                    </a:moveTo>
                    <a:lnTo>
                      <a:pt x="2002" y="2202"/>
                    </a:lnTo>
                    <a:lnTo>
                      <a:pt x="1992" y="2201"/>
                    </a:lnTo>
                    <a:lnTo>
                      <a:pt x="1984" y="2198"/>
                    </a:lnTo>
                    <a:lnTo>
                      <a:pt x="1977" y="2192"/>
                    </a:lnTo>
                    <a:lnTo>
                      <a:pt x="1970" y="2185"/>
                    </a:lnTo>
                    <a:lnTo>
                      <a:pt x="1964" y="2176"/>
                    </a:lnTo>
                    <a:lnTo>
                      <a:pt x="1960" y="2165"/>
                    </a:lnTo>
                    <a:lnTo>
                      <a:pt x="1958" y="2151"/>
                    </a:lnTo>
                    <a:lnTo>
                      <a:pt x="1958" y="2138"/>
                    </a:lnTo>
                    <a:lnTo>
                      <a:pt x="1958" y="2138"/>
                    </a:lnTo>
                    <a:lnTo>
                      <a:pt x="1958" y="2124"/>
                    </a:lnTo>
                    <a:lnTo>
                      <a:pt x="1960" y="2112"/>
                    </a:lnTo>
                    <a:lnTo>
                      <a:pt x="1964" y="2101"/>
                    </a:lnTo>
                    <a:lnTo>
                      <a:pt x="1970" y="2091"/>
                    </a:lnTo>
                    <a:lnTo>
                      <a:pt x="1977" y="2083"/>
                    </a:lnTo>
                    <a:lnTo>
                      <a:pt x="1984" y="2078"/>
                    </a:lnTo>
                    <a:lnTo>
                      <a:pt x="1992" y="2074"/>
                    </a:lnTo>
                    <a:lnTo>
                      <a:pt x="2002" y="2073"/>
                    </a:lnTo>
                    <a:lnTo>
                      <a:pt x="2002" y="2073"/>
                    </a:lnTo>
                    <a:lnTo>
                      <a:pt x="2012" y="2074"/>
                    </a:lnTo>
                    <a:lnTo>
                      <a:pt x="2021" y="2078"/>
                    </a:lnTo>
                    <a:lnTo>
                      <a:pt x="2029" y="2083"/>
                    </a:lnTo>
                    <a:lnTo>
                      <a:pt x="2035" y="2091"/>
                    </a:lnTo>
                    <a:lnTo>
                      <a:pt x="2041" y="2101"/>
                    </a:lnTo>
                    <a:lnTo>
                      <a:pt x="2044" y="2112"/>
                    </a:lnTo>
                    <a:lnTo>
                      <a:pt x="2046" y="2124"/>
                    </a:lnTo>
                    <a:lnTo>
                      <a:pt x="2047" y="2138"/>
                    </a:lnTo>
                    <a:lnTo>
                      <a:pt x="2047" y="2138"/>
                    </a:lnTo>
                    <a:lnTo>
                      <a:pt x="2046" y="2151"/>
                    </a:lnTo>
                    <a:lnTo>
                      <a:pt x="2044" y="2165"/>
                    </a:lnTo>
                    <a:lnTo>
                      <a:pt x="2041" y="2176"/>
                    </a:lnTo>
                    <a:lnTo>
                      <a:pt x="2035" y="2185"/>
                    </a:lnTo>
                    <a:lnTo>
                      <a:pt x="2029" y="2192"/>
                    </a:lnTo>
                    <a:lnTo>
                      <a:pt x="2021" y="2198"/>
                    </a:lnTo>
                    <a:lnTo>
                      <a:pt x="2012" y="2201"/>
                    </a:lnTo>
                    <a:lnTo>
                      <a:pt x="2002" y="2202"/>
                    </a:lnTo>
                    <a:lnTo>
                      <a:pt x="2002" y="2202"/>
                    </a:lnTo>
                    <a:close/>
                    <a:moveTo>
                      <a:pt x="837" y="2100"/>
                    </a:moveTo>
                    <a:lnTo>
                      <a:pt x="904" y="2249"/>
                    </a:lnTo>
                    <a:lnTo>
                      <a:pt x="843" y="2249"/>
                    </a:lnTo>
                    <a:lnTo>
                      <a:pt x="797" y="2146"/>
                    </a:lnTo>
                    <a:lnTo>
                      <a:pt x="767" y="2182"/>
                    </a:lnTo>
                    <a:lnTo>
                      <a:pt x="767" y="2249"/>
                    </a:lnTo>
                    <a:lnTo>
                      <a:pt x="713" y="2249"/>
                    </a:lnTo>
                    <a:lnTo>
                      <a:pt x="713" y="1962"/>
                    </a:lnTo>
                    <a:lnTo>
                      <a:pt x="767" y="1934"/>
                    </a:lnTo>
                    <a:lnTo>
                      <a:pt x="767" y="2112"/>
                    </a:lnTo>
                    <a:lnTo>
                      <a:pt x="767" y="2112"/>
                    </a:lnTo>
                    <a:lnTo>
                      <a:pt x="788" y="2083"/>
                    </a:lnTo>
                    <a:lnTo>
                      <a:pt x="832" y="2027"/>
                    </a:lnTo>
                    <a:lnTo>
                      <a:pt x="896" y="2027"/>
                    </a:lnTo>
                    <a:lnTo>
                      <a:pt x="837" y="2100"/>
                    </a:lnTo>
                    <a:close/>
                    <a:moveTo>
                      <a:pt x="1097" y="2249"/>
                    </a:moveTo>
                    <a:lnTo>
                      <a:pt x="1042" y="2249"/>
                    </a:lnTo>
                    <a:lnTo>
                      <a:pt x="1042" y="2027"/>
                    </a:lnTo>
                    <a:lnTo>
                      <a:pt x="1097" y="2027"/>
                    </a:lnTo>
                    <a:lnTo>
                      <a:pt x="1097" y="2046"/>
                    </a:lnTo>
                    <a:lnTo>
                      <a:pt x="1097" y="2046"/>
                    </a:lnTo>
                    <a:lnTo>
                      <a:pt x="1103" y="2040"/>
                    </a:lnTo>
                    <a:lnTo>
                      <a:pt x="1108" y="2036"/>
                    </a:lnTo>
                    <a:lnTo>
                      <a:pt x="1115" y="2031"/>
                    </a:lnTo>
                    <a:lnTo>
                      <a:pt x="1121" y="2028"/>
                    </a:lnTo>
                    <a:lnTo>
                      <a:pt x="1129" y="2026"/>
                    </a:lnTo>
                    <a:lnTo>
                      <a:pt x="1137" y="2024"/>
                    </a:lnTo>
                    <a:lnTo>
                      <a:pt x="1144" y="2022"/>
                    </a:lnTo>
                    <a:lnTo>
                      <a:pt x="1153" y="2021"/>
                    </a:lnTo>
                    <a:lnTo>
                      <a:pt x="1153" y="2021"/>
                    </a:lnTo>
                    <a:lnTo>
                      <a:pt x="1163" y="2022"/>
                    </a:lnTo>
                    <a:lnTo>
                      <a:pt x="1172" y="2024"/>
                    </a:lnTo>
                    <a:lnTo>
                      <a:pt x="1180" y="2026"/>
                    </a:lnTo>
                    <a:lnTo>
                      <a:pt x="1189" y="2028"/>
                    </a:lnTo>
                    <a:lnTo>
                      <a:pt x="1195" y="2032"/>
                    </a:lnTo>
                    <a:lnTo>
                      <a:pt x="1202" y="2037"/>
                    </a:lnTo>
                    <a:lnTo>
                      <a:pt x="1208" y="2041"/>
                    </a:lnTo>
                    <a:lnTo>
                      <a:pt x="1214" y="2048"/>
                    </a:lnTo>
                    <a:lnTo>
                      <a:pt x="1218" y="2054"/>
                    </a:lnTo>
                    <a:lnTo>
                      <a:pt x="1223" y="2062"/>
                    </a:lnTo>
                    <a:lnTo>
                      <a:pt x="1226" y="2070"/>
                    </a:lnTo>
                    <a:lnTo>
                      <a:pt x="1229" y="2080"/>
                    </a:lnTo>
                    <a:lnTo>
                      <a:pt x="1232" y="2090"/>
                    </a:lnTo>
                    <a:lnTo>
                      <a:pt x="1233" y="2100"/>
                    </a:lnTo>
                    <a:lnTo>
                      <a:pt x="1234" y="2111"/>
                    </a:lnTo>
                    <a:lnTo>
                      <a:pt x="1235" y="2123"/>
                    </a:lnTo>
                    <a:lnTo>
                      <a:pt x="1235" y="2249"/>
                    </a:lnTo>
                    <a:lnTo>
                      <a:pt x="1180" y="2249"/>
                    </a:lnTo>
                    <a:lnTo>
                      <a:pt x="1180" y="2126"/>
                    </a:lnTo>
                    <a:lnTo>
                      <a:pt x="1180" y="2126"/>
                    </a:lnTo>
                    <a:lnTo>
                      <a:pt x="1179" y="2114"/>
                    </a:lnTo>
                    <a:lnTo>
                      <a:pt x="1178" y="2102"/>
                    </a:lnTo>
                    <a:lnTo>
                      <a:pt x="1174" y="2093"/>
                    </a:lnTo>
                    <a:lnTo>
                      <a:pt x="1170" y="2085"/>
                    </a:lnTo>
                    <a:lnTo>
                      <a:pt x="1164" y="2080"/>
                    </a:lnTo>
                    <a:lnTo>
                      <a:pt x="1158" y="2075"/>
                    </a:lnTo>
                    <a:lnTo>
                      <a:pt x="1149" y="2073"/>
                    </a:lnTo>
                    <a:lnTo>
                      <a:pt x="1139" y="2072"/>
                    </a:lnTo>
                    <a:lnTo>
                      <a:pt x="1139" y="2072"/>
                    </a:lnTo>
                    <a:lnTo>
                      <a:pt x="1130" y="2073"/>
                    </a:lnTo>
                    <a:lnTo>
                      <a:pt x="1121" y="2075"/>
                    </a:lnTo>
                    <a:lnTo>
                      <a:pt x="1114" y="2080"/>
                    </a:lnTo>
                    <a:lnTo>
                      <a:pt x="1108" y="2086"/>
                    </a:lnTo>
                    <a:lnTo>
                      <a:pt x="1104" y="2093"/>
                    </a:lnTo>
                    <a:lnTo>
                      <a:pt x="1100" y="2103"/>
                    </a:lnTo>
                    <a:lnTo>
                      <a:pt x="1098" y="2114"/>
                    </a:lnTo>
                    <a:lnTo>
                      <a:pt x="1097" y="2126"/>
                    </a:lnTo>
                    <a:lnTo>
                      <a:pt x="1097" y="2249"/>
                    </a:lnTo>
                    <a:close/>
                    <a:moveTo>
                      <a:pt x="1408" y="2042"/>
                    </a:moveTo>
                    <a:lnTo>
                      <a:pt x="1408" y="2042"/>
                    </a:lnTo>
                    <a:lnTo>
                      <a:pt x="1403" y="2038"/>
                    </a:lnTo>
                    <a:lnTo>
                      <a:pt x="1397" y="2033"/>
                    </a:lnTo>
                    <a:lnTo>
                      <a:pt x="1392" y="2030"/>
                    </a:lnTo>
                    <a:lnTo>
                      <a:pt x="1385" y="2027"/>
                    </a:lnTo>
                    <a:lnTo>
                      <a:pt x="1378" y="2025"/>
                    </a:lnTo>
                    <a:lnTo>
                      <a:pt x="1372" y="2024"/>
                    </a:lnTo>
                    <a:lnTo>
                      <a:pt x="1365" y="2022"/>
                    </a:lnTo>
                    <a:lnTo>
                      <a:pt x="1359" y="2021"/>
                    </a:lnTo>
                    <a:lnTo>
                      <a:pt x="1359" y="2021"/>
                    </a:lnTo>
                    <a:lnTo>
                      <a:pt x="1349" y="2022"/>
                    </a:lnTo>
                    <a:lnTo>
                      <a:pt x="1340" y="2024"/>
                    </a:lnTo>
                    <a:lnTo>
                      <a:pt x="1331" y="2026"/>
                    </a:lnTo>
                    <a:lnTo>
                      <a:pt x="1322" y="2030"/>
                    </a:lnTo>
                    <a:lnTo>
                      <a:pt x="1314" y="2033"/>
                    </a:lnTo>
                    <a:lnTo>
                      <a:pt x="1308" y="2039"/>
                    </a:lnTo>
                    <a:lnTo>
                      <a:pt x="1301" y="2046"/>
                    </a:lnTo>
                    <a:lnTo>
                      <a:pt x="1295" y="2052"/>
                    </a:lnTo>
                    <a:lnTo>
                      <a:pt x="1289" y="2060"/>
                    </a:lnTo>
                    <a:lnTo>
                      <a:pt x="1285" y="2069"/>
                    </a:lnTo>
                    <a:lnTo>
                      <a:pt x="1280" y="2078"/>
                    </a:lnTo>
                    <a:lnTo>
                      <a:pt x="1277" y="2089"/>
                    </a:lnTo>
                    <a:lnTo>
                      <a:pt x="1275" y="2099"/>
                    </a:lnTo>
                    <a:lnTo>
                      <a:pt x="1273" y="2111"/>
                    </a:lnTo>
                    <a:lnTo>
                      <a:pt x="1271" y="2123"/>
                    </a:lnTo>
                    <a:lnTo>
                      <a:pt x="1271" y="2135"/>
                    </a:lnTo>
                    <a:lnTo>
                      <a:pt x="1271" y="2135"/>
                    </a:lnTo>
                    <a:lnTo>
                      <a:pt x="1271" y="2149"/>
                    </a:lnTo>
                    <a:lnTo>
                      <a:pt x="1273" y="2161"/>
                    </a:lnTo>
                    <a:lnTo>
                      <a:pt x="1275" y="2174"/>
                    </a:lnTo>
                    <a:lnTo>
                      <a:pt x="1277" y="2186"/>
                    </a:lnTo>
                    <a:lnTo>
                      <a:pt x="1280" y="2196"/>
                    </a:lnTo>
                    <a:lnTo>
                      <a:pt x="1285" y="2206"/>
                    </a:lnTo>
                    <a:lnTo>
                      <a:pt x="1289" y="2214"/>
                    </a:lnTo>
                    <a:lnTo>
                      <a:pt x="1295" y="2222"/>
                    </a:lnTo>
                    <a:lnTo>
                      <a:pt x="1300" y="2230"/>
                    </a:lnTo>
                    <a:lnTo>
                      <a:pt x="1307" y="2235"/>
                    </a:lnTo>
                    <a:lnTo>
                      <a:pt x="1313" y="2241"/>
                    </a:lnTo>
                    <a:lnTo>
                      <a:pt x="1321" y="2245"/>
                    </a:lnTo>
                    <a:lnTo>
                      <a:pt x="1330" y="2249"/>
                    </a:lnTo>
                    <a:lnTo>
                      <a:pt x="1339" y="2252"/>
                    </a:lnTo>
                    <a:lnTo>
                      <a:pt x="1348" y="2253"/>
                    </a:lnTo>
                    <a:lnTo>
                      <a:pt x="1357" y="2254"/>
                    </a:lnTo>
                    <a:lnTo>
                      <a:pt x="1357" y="2254"/>
                    </a:lnTo>
                    <a:lnTo>
                      <a:pt x="1364" y="2253"/>
                    </a:lnTo>
                    <a:lnTo>
                      <a:pt x="1372" y="2252"/>
                    </a:lnTo>
                    <a:lnTo>
                      <a:pt x="1378" y="2251"/>
                    </a:lnTo>
                    <a:lnTo>
                      <a:pt x="1385" y="2249"/>
                    </a:lnTo>
                    <a:lnTo>
                      <a:pt x="1391" y="2245"/>
                    </a:lnTo>
                    <a:lnTo>
                      <a:pt x="1397" y="2242"/>
                    </a:lnTo>
                    <a:lnTo>
                      <a:pt x="1403" y="2238"/>
                    </a:lnTo>
                    <a:lnTo>
                      <a:pt x="1408" y="2232"/>
                    </a:lnTo>
                    <a:lnTo>
                      <a:pt x="1408" y="2238"/>
                    </a:lnTo>
                    <a:lnTo>
                      <a:pt x="1408" y="2238"/>
                    </a:lnTo>
                    <a:lnTo>
                      <a:pt x="1408" y="2246"/>
                    </a:lnTo>
                    <a:lnTo>
                      <a:pt x="1407" y="2256"/>
                    </a:lnTo>
                    <a:lnTo>
                      <a:pt x="1404" y="2266"/>
                    </a:lnTo>
                    <a:lnTo>
                      <a:pt x="1402" y="2271"/>
                    </a:lnTo>
                    <a:lnTo>
                      <a:pt x="1399" y="2275"/>
                    </a:lnTo>
                    <a:lnTo>
                      <a:pt x="1395" y="2279"/>
                    </a:lnTo>
                    <a:lnTo>
                      <a:pt x="1391" y="2284"/>
                    </a:lnTo>
                    <a:lnTo>
                      <a:pt x="1385" y="2287"/>
                    </a:lnTo>
                    <a:lnTo>
                      <a:pt x="1378" y="2290"/>
                    </a:lnTo>
                    <a:lnTo>
                      <a:pt x="1370" y="2293"/>
                    </a:lnTo>
                    <a:lnTo>
                      <a:pt x="1361" y="2295"/>
                    </a:lnTo>
                    <a:lnTo>
                      <a:pt x="1350" y="2296"/>
                    </a:lnTo>
                    <a:lnTo>
                      <a:pt x="1337" y="2296"/>
                    </a:lnTo>
                    <a:lnTo>
                      <a:pt x="1334" y="2296"/>
                    </a:lnTo>
                    <a:lnTo>
                      <a:pt x="1354" y="2339"/>
                    </a:lnTo>
                    <a:lnTo>
                      <a:pt x="1355" y="2339"/>
                    </a:lnTo>
                    <a:lnTo>
                      <a:pt x="1355" y="2339"/>
                    </a:lnTo>
                    <a:lnTo>
                      <a:pt x="1369" y="2339"/>
                    </a:lnTo>
                    <a:lnTo>
                      <a:pt x="1381" y="2338"/>
                    </a:lnTo>
                    <a:lnTo>
                      <a:pt x="1392" y="2335"/>
                    </a:lnTo>
                    <a:lnTo>
                      <a:pt x="1403" y="2332"/>
                    </a:lnTo>
                    <a:lnTo>
                      <a:pt x="1413" y="2328"/>
                    </a:lnTo>
                    <a:lnTo>
                      <a:pt x="1421" y="2324"/>
                    </a:lnTo>
                    <a:lnTo>
                      <a:pt x="1429" y="2318"/>
                    </a:lnTo>
                    <a:lnTo>
                      <a:pt x="1436" y="2311"/>
                    </a:lnTo>
                    <a:lnTo>
                      <a:pt x="1442" y="2304"/>
                    </a:lnTo>
                    <a:lnTo>
                      <a:pt x="1448" y="2296"/>
                    </a:lnTo>
                    <a:lnTo>
                      <a:pt x="1452" y="2286"/>
                    </a:lnTo>
                    <a:lnTo>
                      <a:pt x="1456" y="2276"/>
                    </a:lnTo>
                    <a:lnTo>
                      <a:pt x="1459" y="2266"/>
                    </a:lnTo>
                    <a:lnTo>
                      <a:pt x="1461" y="2254"/>
                    </a:lnTo>
                    <a:lnTo>
                      <a:pt x="1462" y="2242"/>
                    </a:lnTo>
                    <a:lnTo>
                      <a:pt x="1462" y="2229"/>
                    </a:lnTo>
                    <a:lnTo>
                      <a:pt x="1462" y="2027"/>
                    </a:lnTo>
                    <a:lnTo>
                      <a:pt x="1408" y="2027"/>
                    </a:lnTo>
                    <a:lnTo>
                      <a:pt x="1408" y="2042"/>
                    </a:lnTo>
                    <a:close/>
                    <a:moveTo>
                      <a:pt x="1408" y="2094"/>
                    </a:moveTo>
                    <a:lnTo>
                      <a:pt x="1408" y="2181"/>
                    </a:lnTo>
                    <a:lnTo>
                      <a:pt x="1408" y="2181"/>
                    </a:lnTo>
                    <a:lnTo>
                      <a:pt x="1401" y="2189"/>
                    </a:lnTo>
                    <a:lnTo>
                      <a:pt x="1393" y="2197"/>
                    </a:lnTo>
                    <a:lnTo>
                      <a:pt x="1387" y="2199"/>
                    </a:lnTo>
                    <a:lnTo>
                      <a:pt x="1382" y="2201"/>
                    </a:lnTo>
                    <a:lnTo>
                      <a:pt x="1376" y="2202"/>
                    </a:lnTo>
                    <a:lnTo>
                      <a:pt x="1369" y="2203"/>
                    </a:lnTo>
                    <a:lnTo>
                      <a:pt x="1369" y="2203"/>
                    </a:lnTo>
                    <a:lnTo>
                      <a:pt x="1362" y="2202"/>
                    </a:lnTo>
                    <a:lnTo>
                      <a:pt x="1354" y="2200"/>
                    </a:lnTo>
                    <a:lnTo>
                      <a:pt x="1348" y="2197"/>
                    </a:lnTo>
                    <a:lnTo>
                      <a:pt x="1341" y="2190"/>
                    </a:lnTo>
                    <a:lnTo>
                      <a:pt x="1335" y="2181"/>
                    </a:lnTo>
                    <a:lnTo>
                      <a:pt x="1331" y="2169"/>
                    </a:lnTo>
                    <a:lnTo>
                      <a:pt x="1329" y="2154"/>
                    </a:lnTo>
                    <a:lnTo>
                      <a:pt x="1328" y="2134"/>
                    </a:lnTo>
                    <a:lnTo>
                      <a:pt x="1328" y="2134"/>
                    </a:lnTo>
                    <a:lnTo>
                      <a:pt x="1329" y="2117"/>
                    </a:lnTo>
                    <a:lnTo>
                      <a:pt x="1331" y="2103"/>
                    </a:lnTo>
                    <a:lnTo>
                      <a:pt x="1335" y="2092"/>
                    </a:lnTo>
                    <a:lnTo>
                      <a:pt x="1341" y="2084"/>
                    </a:lnTo>
                    <a:lnTo>
                      <a:pt x="1348" y="2079"/>
                    </a:lnTo>
                    <a:lnTo>
                      <a:pt x="1354" y="2074"/>
                    </a:lnTo>
                    <a:lnTo>
                      <a:pt x="1362" y="2073"/>
                    </a:lnTo>
                    <a:lnTo>
                      <a:pt x="1369" y="2072"/>
                    </a:lnTo>
                    <a:lnTo>
                      <a:pt x="1369" y="2072"/>
                    </a:lnTo>
                    <a:lnTo>
                      <a:pt x="1376" y="2073"/>
                    </a:lnTo>
                    <a:lnTo>
                      <a:pt x="1383" y="2074"/>
                    </a:lnTo>
                    <a:lnTo>
                      <a:pt x="1388" y="2076"/>
                    </a:lnTo>
                    <a:lnTo>
                      <a:pt x="1394" y="2080"/>
                    </a:lnTo>
                    <a:lnTo>
                      <a:pt x="1398" y="2083"/>
                    </a:lnTo>
                    <a:lnTo>
                      <a:pt x="1402" y="2086"/>
                    </a:lnTo>
                    <a:lnTo>
                      <a:pt x="1408" y="2094"/>
                    </a:lnTo>
                    <a:lnTo>
                      <a:pt x="1408" y="2094"/>
                    </a:lnTo>
                    <a:close/>
                    <a:moveTo>
                      <a:pt x="938" y="2027"/>
                    </a:moveTo>
                    <a:lnTo>
                      <a:pt x="993" y="2027"/>
                    </a:lnTo>
                    <a:lnTo>
                      <a:pt x="993" y="2123"/>
                    </a:lnTo>
                    <a:lnTo>
                      <a:pt x="993" y="2249"/>
                    </a:lnTo>
                    <a:lnTo>
                      <a:pt x="938" y="2249"/>
                    </a:lnTo>
                    <a:lnTo>
                      <a:pt x="938" y="2027"/>
                    </a:lnTo>
                    <a:close/>
                    <a:moveTo>
                      <a:pt x="993" y="1967"/>
                    </a:moveTo>
                    <a:lnTo>
                      <a:pt x="993" y="1995"/>
                    </a:lnTo>
                    <a:lnTo>
                      <a:pt x="938" y="1995"/>
                    </a:lnTo>
                    <a:lnTo>
                      <a:pt x="938" y="1940"/>
                    </a:lnTo>
                    <a:lnTo>
                      <a:pt x="993" y="1940"/>
                    </a:lnTo>
                    <a:lnTo>
                      <a:pt x="993" y="1967"/>
                    </a:lnTo>
                    <a:close/>
                    <a:moveTo>
                      <a:pt x="2309" y="1962"/>
                    </a:moveTo>
                    <a:lnTo>
                      <a:pt x="2364" y="1934"/>
                    </a:lnTo>
                    <a:lnTo>
                      <a:pt x="2364" y="2127"/>
                    </a:lnTo>
                    <a:lnTo>
                      <a:pt x="2364" y="2249"/>
                    </a:lnTo>
                    <a:lnTo>
                      <a:pt x="2309" y="2249"/>
                    </a:lnTo>
                    <a:lnTo>
                      <a:pt x="2309" y="1962"/>
                    </a:lnTo>
                    <a:close/>
                    <a:moveTo>
                      <a:pt x="397" y="757"/>
                    </a:moveTo>
                    <a:lnTo>
                      <a:pt x="850" y="757"/>
                    </a:lnTo>
                    <a:lnTo>
                      <a:pt x="850" y="495"/>
                    </a:lnTo>
                    <a:lnTo>
                      <a:pt x="397" y="495"/>
                    </a:lnTo>
                    <a:lnTo>
                      <a:pt x="397" y="288"/>
                    </a:lnTo>
                    <a:lnTo>
                      <a:pt x="898" y="288"/>
                    </a:lnTo>
                    <a:lnTo>
                      <a:pt x="732" y="0"/>
                    </a:lnTo>
                    <a:lnTo>
                      <a:pt x="22" y="0"/>
                    </a:lnTo>
                    <a:lnTo>
                      <a:pt x="22" y="1251"/>
                    </a:lnTo>
                    <a:lnTo>
                      <a:pt x="1023" y="1251"/>
                    </a:lnTo>
                    <a:lnTo>
                      <a:pt x="1023" y="963"/>
                    </a:lnTo>
                    <a:lnTo>
                      <a:pt x="397" y="963"/>
                    </a:lnTo>
                    <a:lnTo>
                      <a:pt x="397" y="757"/>
                    </a:lnTo>
                    <a:close/>
                    <a:moveTo>
                      <a:pt x="1690" y="0"/>
                    </a:moveTo>
                    <a:lnTo>
                      <a:pt x="1477" y="409"/>
                    </a:lnTo>
                    <a:lnTo>
                      <a:pt x="1265" y="0"/>
                    </a:lnTo>
                    <a:lnTo>
                      <a:pt x="850" y="0"/>
                    </a:lnTo>
                    <a:lnTo>
                      <a:pt x="1287" y="757"/>
                    </a:lnTo>
                    <a:lnTo>
                      <a:pt x="1287" y="1251"/>
                    </a:lnTo>
                    <a:lnTo>
                      <a:pt x="1661" y="1251"/>
                    </a:lnTo>
                    <a:lnTo>
                      <a:pt x="1661" y="757"/>
                    </a:lnTo>
                    <a:lnTo>
                      <a:pt x="2099" y="0"/>
                    </a:lnTo>
                    <a:lnTo>
                      <a:pt x="169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44" tIns="45672" rIns="91344" bIns="4567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25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96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endParaRPr>
              </a:p>
            </p:txBody>
          </p:sp>
        </p:grp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A2B2DB6C-D035-4F35-8C46-5C3834F65CC6}"/>
                </a:ext>
              </a:extLst>
            </p:cNvPr>
            <p:cNvSpPr txBox="1"/>
            <p:nvPr/>
          </p:nvSpPr>
          <p:spPr>
            <a:xfrm>
              <a:off x="9643110" y="172968"/>
              <a:ext cx="1446552" cy="623248"/>
            </a:xfrm>
            <a:prstGeom prst="rect">
              <a:avLst/>
            </a:prstGeom>
            <a:noFill/>
          </p:spPr>
          <p:txBody>
            <a:bodyPr wrap="square" lIns="0" tIns="36538" rIns="0" bIns="0" rtlCol="0" anchor="ctr">
              <a:spAutoFit/>
            </a:bodyPr>
            <a:lstStyle/>
            <a:p>
              <a:pPr marL="0" marR="0" lvl="0" indent="0" algn="r" defTabSz="912572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27ACAA"/>
                </a:buClr>
                <a:buSzPct val="70000"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Consulting</a:t>
              </a:r>
            </a:p>
            <a:p>
              <a:pPr marL="0" marR="0" lvl="0" indent="0" algn="r" defTabSz="912572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27ACAA"/>
                </a:buClr>
                <a:buSzPct val="70000"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Strategy &amp; Transactions</a:t>
              </a:r>
            </a:p>
            <a:p>
              <a:pPr marL="0" marR="0" lvl="0" indent="0" algn="r" defTabSz="912572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27ACAA"/>
                </a:buClr>
                <a:buSzPct val="70000"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Tax &amp; Law</a:t>
              </a:r>
            </a:p>
            <a:p>
              <a:pPr marL="0" marR="0" lvl="0" indent="0" algn="r" defTabSz="912572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27ACAA"/>
                </a:buClr>
                <a:buSzPct val="70000"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Assuran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59485822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apittelski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F89392A-FD86-4BCD-BA5B-1B0D029E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8803384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0" imgH="371" progId="TCLayout.ActiveDocument.1">
                  <p:embed/>
                </p:oleObj>
              </mc:Choice>
              <mc:Fallback>
                <p:oleObj name="think-cell Slide" r:id="rId3" imgW="370" imgH="37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F89392A-FD86-4BCD-BA5B-1B0D029E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arallelogram 1">
            <a:extLst>
              <a:ext uri="{FF2B5EF4-FFF2-40B4-BE49-F238E27FC236}">
                <a16:creationId xmlns:a16="http://schemas.microsoft.com/office/drawing/2014/main" id="{F79A7B8C-E8D1-42A6-A31A-7D2F74F516EA}"/>
              </a:ext>
            </a:extLst>
          </p:cNvPr>
          <p:cNvSpPr/>
          <p:nvPr userDrawn="1"/>
        </p:nvSpPr>
        <p:spPr>
          <a:xfrm>
            <a:off x="1608757" y="0"/>
            <a:ext cx="3906087" cy="6858000"/>
          </a:xfrm>
          <a:prstGeom prst="parallelogram">
            <a:avLst/>
          </a:prstGeom>
          <a:solidFill>
            <a:schemeClr val="bg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8">
              <a:solidFill>
                <a:schemeClr val="tx1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A979DB-087A-4533-95E9-C3EBDC9244E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21545" y="2461335"/>
            <a:ext cx="5039275" cy="1935337"/>
          </a:xfrm>
        </p:spPr>
        <p:txBody>
          <a:bodyPr anchor="ctr"/>
          <a:lstStyle>
            <a:lvl1pPr marL="0" indent="0">
              <a:buNone/>
              <a:defRPr sz="2798"/>
            </a:lvl1pPr>
          </a:lstStyle>
          <a:p>
            <a:pPr lvl="0"/>
            <a:r>
              <a:rPr lang="nb-NO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89170957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ki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F89392A-FD86-4BCD-BA5B-1B0D029E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3264745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0" imgH="371" progId="TCLayout.ActiveDocument.1">
                  <p:embed/>
                </p:oleObj>
              </mc:Choice>
              <mc:Fallback>
                <p:oleObj name="think-cell Slide" r:id="rId3" imgW="370" imgH="37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F89392A-FD86-4BCD-BA5B-1B0D029E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arallelogram 1">
            <a:extLst>
              <a:ext uri="{FF2B5EF4-FFF2-40B4-BE49-F238E27FC236}">
                <a16:creationId xmlns:a16="http://schemas.microsoft.com/office/drawing/2014/main" id="{F79A7B8C-E8D1-42A6-A31A-7D2F74F516EA}"/>
              </a:ext>
            </a:extLst>
          </p:cNvPr>
          <p:cNvSpPr/>
          <p:nvPr userDrawn="1"/>
        </p:nvSpPr>
        <p:spPr>
          <a:xfrm>
            <a:off x="1608757" y="0"/>
            <a:ext cx="3906087" cy="6858000"/>
          </a:xfrm>
          <a:prstGeom prst="parallelogram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8">
              <a:solidFill>
                <a:schemeClr val="tx1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A979DB-087A-4533-95E9-C3EBDC9244E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21545" y="2461335"/>
            <a:ext cx="5039275" cy="1935337"/>
          </a:xfrm>
        </p:spPr>
        <p:txBody>
          <a:bodyPr anchor="ctr"/>
          <a:lstStyle>
            <a:lvl1pPr marL="0" indent="0">
              <a:buNone/>
              <a:defRPr sz="2798"/>
            </a:lvl1pPr>
          </a:lstStyle>
          <a:p>
            <a:pPr lvl="0"/>
            <a:r>
              <a:rPr lang="nb-NO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40670324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616" y="2851522"/>
            <a:ext cx="4445485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6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260" marR="0" lvl="0" indent="-356260" defTabSz="1006879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CE5F90-7113-4FA1-AFCF-3BC8EF01000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Sid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87314111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2" y="294200"/>
            <a:ext cx="10972800" cy="590400"/>
          </a:xfrm>
        </p:spPr>
        <p:txBody>
          <a:bodyPr/>
          <a:lstStyle>
            <a:lvl1pPr>
              <a:defRPr sz="2398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8" noProof="0">
              <a:solidFill>
                <a:schemeClr val="bg1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192330-2E70-49F4-A5DA-F82320E70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Sid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3983049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1DD14D-407C-D242-9763-67B11C4B4C46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576918-C8B9-C946-A073-74F3E53AEF0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87944596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5E6538D-7309-48C5-8F2D-C3D189B29C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1401991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5E6538D-7309-48C5-8F2D-C3D189B29C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3F1CBA5-61D5-47D7-A71C-36A1FDE99F5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nb-NO" sz="2998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7857" y="795662"/>
            <a:ext cx="4927845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798" noProof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100" y="1954221"/>
            <a:ext cx="4326679" cy="979702"/>
          </a:xfrm>
        </p:spPr>
        <p:txBody>
          <a:bodyPr/>
          <a:lstStyle>
            <a:lvl1pPr>
              <a:defRPr sz="2998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nb-NO"/>
              <a:t>Click to edit Master title sty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100" y="3046161"/>
            <a:ext cx="4326679" cy="1046323"/>
          </a:xfrm>
        </p:spPr>
        <p:txBody>
          <a:bodyPr/>
          <a:lstStyle>
            <a:lvl1pPr marL="0" indent="0" algn="l">
              <a:spcAft>
                <a:spcPts val="1198"/>
              </a:spcAft>
              <a:buNone/>
              <a:defRPr sz="1998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8" b="1">
                <a:solidFill>
                  <a:srgbClr val="404040"/>
                </a:solidFill>
              </a:defRPr>
            </a:lvl2pPr>
            <a:lvl3pPr marL="9134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Click to edit Master subtitle sty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2491" y="5709060"/>
            <a:ext cx="8117873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745" y="5605203"/>
            <a:ext cx="1044529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nb-NO" sz="1198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2491" y="6019189"/>
            <a:ext cx="3087667" cy="180000"/>
          </a:xfrm>
        </p:spPr>
        <p:txBody>
          <a:bodyPr/>
          <a:lstStyle>
            <a:lvl1pPr marL="0" indent="0">
              <a:buNone/>
              <a:defRPr sz="1198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Name Surname</a:t>
            </a:r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2491" y="6216807"/>
            <a:ext cx="3087667" cy="180000"/>
          </a:xfrm>
        </p:spPr>
        <p:txBody>
          <a:bodyPr/>
          <a:lstStyle>
            <a:lvl1pPr marL="0" indent="0">
              <a:buNone/>
              <a:defRPr sz="1198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Job Title</a:t>
            </a:r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743" y="5914642"/>
            <a:ext cx="5757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/>
            </a:p>
          </p:txBody>
        </p:sp>
      </p:grpSp>
    </p:spTree>
    <p:extLst>
      <p:ext uri="{BB962C8B-B14F-4D97-AF65-F5344CB8AC3E}">
        <p14:creationId xmlns:p14="http://schemas.microsoft.com/office/powerpoint/2010/main" val="1466956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29720C4-F356-424B-91D2-E0BB5F2928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6895865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29720C4-F356-424B-91D2-E0BB5F2928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FF46D89-72E3-4149-8798-7C34E7DBF7E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nb-NO" sz="2998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7856" y="5826615"/>
            <a:ext cx="3876004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388" y="2158329"/>
            <a:ext cx="3998354" cy="860400"/>
          </a:xfrm>
          <a:prstGeom prst="rect">
            <a:avLst/>
          </a:prstGeom>
        </p:spPr>
        <p:txBody>
          <a:bodyPr/>
          <a:lstStyle>
            <a:lvl1pPr>
              <a:defRPr sz="2998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nb-NO" noProof="0"/>
              <a:t>Click to edit Master title style</a:t>
            </a:r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4580" y="3200329"/>
            <a:ext cx="4018535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8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8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4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Click to edit Master subtitle style</a:t>
            </a:r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 userDrawn="1"/>
        </p:nvGrpSpPr>
        <p:grpSpPr>
          <a:xfrm>
            <a:off x="489113" y="876061"/>
            <a:ext cx="4852768" cy="3374475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1798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1798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1798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1798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/>
            </a:p>
          </p:txBody>
        </p:sp>
      </p:grpSp>
    </p:spTree>
    <p:extLst>
      <p:ext uri="{BB962C8B-B14F-4D97-AF65-F5344CB8AC3E}">
        <p14:creationId xmlns:p14="http://schemas.microsoft.com/office/powerpoint/2010/main" val="13397814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273DB69-7D99-4643-ACD3-8717AC1B2B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4817295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273DB69-7D99-4643-ACD3-8717AC1B2B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C41F949-68D6-47FE-8316-E72C5BF917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nb-NO" sz="2398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94200"/>
            <a:ext cx="10972800" cy="590400"/>
          </a:xfrm>
        </p:spPr>
        <p:txBody>
          <a:bodyPr vert="horz"/>
          <a:lstStyle>
            <a:lvl1pPr>
              <a:defRPr sz="2398">
                <a:solidFill>
                  <a:schemeClr val="bg1"/>
                </a:solidFill>
              </a:defRPr>
            </a:lvl1pPr>
          </a:lstStyle>
          <a:p>
            <a:r>
              <a:rPr lang="nb-NO" noProof="0"/>
              <a:t>Click to edit Master title style</a:t>
            </a:r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sz="1798" noProof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2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Side </a:t>
            </a:r>
            <a:fld id="{F1BC30E3-FFE5-4B91-AA19-87A149EBB9EE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35542706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_MULIGHE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273DB69-7D99-4643-ACD3-8717AC1B2B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4114811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273DB69-7D99-4643-ACD3-8717AC1B2B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C41F949-68D6-47FE-8316-E72C5BF917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nb-NO" sz="2398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Side </a:t>
            </a:r>
            <a:fld id="{F1BC30E3-FFE5-4B91-AA19-87A149EBB9EE}" type="slidenum">
              <a:rPr lang="nb-NO" smtClean="0"/>
              <a:pPr/>
              <a:t>‹#›</a:t>
            </a:fld>
            <a:endParaRPr lang="nb-NO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77F2777-CE03-42C0-84BA-7886F79AEAD9}"/>
              </a:ext>
            </a:extLst>
          </p:cNvPr>
          <p:cNvGrpSpPr/>
          <p:nvPr userDrawn="1"/>
        </p:nvGrpSpPr>
        <p:grpSpPr>
          <a:xfrm>
            <a:off x="609600" y="1060164"/>
            <a:ext cx="6684295" cy="5295733"/>
            <a:chOff x="3032422" y="1476765"/>
            <a:chExt cx="5729370" cy="4539180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60EB66AE-56EA-4277-A96C-7A76D686C38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032422" y="1476765"/>
              <a:ext cx="5729370" cy="4539180"/>
            </a:xfrm>
            <a:prstGeom prst="rect">
              <a:avLst/>
            </a:prstGeom>
          </p:spPr>
        </p:pic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46C663B-31F2-4214-8C7F-9F876C64FE68}"/>
                </a:ext>
              </a:extLst>
            </p:cNvPr>
            <p:cNvSpPr/>
            <p:nvPr userDrawn="1"/>
          </p:nvSpPr>
          <p:spPr>
            <a:xfrm>
              <a:off x="3032422" y="1476765"/>
              <a:ext cx="5729370" cy="4539180"/>
            </a:xfrm>
            <a:prstGeom prst="rect">
              <a:avLst/>
            </a:prstGeom>
            <a:gradFill flip="none" rotWithShape="1">
              <a:gsLst>
                <a:gs pos="95000">
                  <a:srgbClr val="FFFFFF"/>
                </a:gs>
                <a:gs pos="75000">
                  <a:schemeClr val="tx1">
                    <a:alpha val="0"/>
                  </a:schemeClr>
                </a:gs>
                <a:gs pos="100000">
                  <a:schemeClr val="tx1"/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  <a:miter lim="800000"/>
            </a:ln>
            <a:effectLst/>
          </p:spPr>
          <p:txBody>
            <a:bodyPr rtlCol="0" anchor="t" anchorCtr="0"/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9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3" name="Title 1">
            <a:extLst>
              <a:ext uri="{FF2B5EF4-FFF2-40B4-BE49-F238E27FC236}">
                <a16:creationId xmlns:a16="http://schemas.microsoft.com/office/drawing/2014/main" id="{9DEB2913-5F6E-420F-9111-B97D1F4D6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2" y="294200"/>
            <a:ext cx="10972800" cy="590400"/>
          </a:xfrm>
        </p:spPr>
        <p:txBody>
          <a:bodyPr vert="horz"/>
          <a:lstStyle>
            <a:lvl1pPr>
              <a:defRPr sz="2398">
                <a:solidFill>
                  <a:schemeClr val="bg1"/>
                </a:solidFill>
              </a:defRPr>
            </a:lvl1pPr>
          </a:lstStyle>
          <a:p>
            <a:r>
              <a:rPr lang="nb-NO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32935406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F3A31A3-7E63-42AE-9531-68DDB1157DA5}"/>
              </a:ext>
            </a:extLst>
          </p:cNvPr>
          <p:cNvSpPr/>
          <p:nvPr userDrawn="1"/>
        </p:nvSpPr>
        <p:spPr>
          <a:xfrm>
            <a:off x="0" y="0"/>
            <a:ext cx="5874040" cy="6858000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8">
              <a:solidFill>
                <a:schemeClr val="tx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273DB69-7D99-4643-ACD3-8717AC1B2B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4932058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273DB69-7D99-4643-ACD3-8717AC1B2B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C41F949-68D6-47FE-8316-E72C5BF917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nb-NO" sz="2398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85887"/>
            <a:ext cx="4475139" cy="590400"/>
          </a:xfrm>
        </p:spPr>
        <p:txBody>
          <a:bodyPr/>
          <a:lstStyle>
            <a:lvl1pPr>
              <a:defRPr sz="2398">
                <a:solidFill>
                  <a:schemeClr val="bg1"/>
                </a:solidFill>
              </a:defRPr>
            </a:lvl1pPr>
          </a:lstStyle>
          <a:p>
            <a:r>
              <a:rPr lang="nb-NO" noProof="0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98665" y="1137920"/>
            <a:ext cx="5583736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Side </a:t>
            </a:r>
            <a:fld id="{F1BC30E3-FFE5-4B91-AA19-87A149EBB9EE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62789226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F3A31A3-7E63-42AE-9531-68DDB1157DA5}"/>
              </a:ext>
            </a:extLst>
          </p:cNvPr>
          <p:cNvSpPr/>
          <p:nvPr userDrawn="1"/>
        </p:nvSpPr>
        <p:spPr>
          <a:xfrm>
            <a:off x="0" y="0"/>
            <a:ext cx="5874040" cy="6858000"/>
          </a:xfrm>
          <a:prstGeom prst="rect">
            <a:avLst/>
          </a:prstGeom>
          <a:solidFill>
            <a:schemeClr val="tx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8">
              <a:solidFill>
                <a:schemeClr val="tx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273DB69-7D99-4643-ACD3-8717AC1B2B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7639572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273DB69-7D99-4643-ACD3-8717AC1B2B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C41F949-68D6-47FE-8316-E72C5BF917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nb-NO" sz="2398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85887"/>
            <a:ext cx="4475139" cy="590400"/>
          </a:xfrm>
        </p:spPr>
        <p:txBody>
          <a:bodyPr/>
          <a:lstStyle>
            <a:lvl1pPr>
              <a:defRPr sz="2398">
                <a:solidFill>
                  <a:schemeClr val="bg1"/>
                </a:solidFill>
              </a:defRPr>
            </a:lvl1pPr>
          </a:lstStyle>
          <a:p>
            <a:r>
              <a:rPr lang="nb-NO" noProof="0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98665" y="1137920"/>
            <a:ext cx="5583736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Side </a:t>
            </a:r>
            <a:fld id="{F1BC30E3-FFE5-4B91-AA19-87A149EBB9EE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54288645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">
            <a:extLst>
              <a:ext uri="{FF2B5EF4-FFF2-40B4-BE49-F238E27FC236}">
                <a16:creationId xmlns:a16="http://schemas.microsoft.com/office/drawing/2014/main" id="{51AFF3F0-514F-400C-B695-68C81D0E88C7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1251" y="6356350"/>
            <a:ext cx="303055" cy="311150"/>
            <a:chOff x="7110" y="4004"/>
            <a:chExt cx="191" cy="196"/>
          </a:xfrm>
        </p:grpSpPr>
        <p:sp>
          <p:nvSpPr>
            <p:cNvPr id="3" name="Freeform 5">
              <a:extLst>
                <a:ext uri="{FF2B5EF4-FFF2-40B4-BE49-F238E27FC236}">
                  <a16:creationId xmlns:a16="http://schemas.microsoft.com/office/drawing/2014/main" id="{B2B7FA92-7EC8-4E21-8B48-8C7541C778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/>
            </a:p>
          </p:txBody>
        </p:sp>
        <p:sp>
          <p:nvSpPr>
            <p:cNvPr id="4" name="Freeform 6">
              <a:extLst>
                <a:ext uri="{FF2B5EF4-FFF2-40B4-BE49-F238E27FC236}">
                  <a16:creationId xmlns:a16="http://schemas.microsoft.com/office/drawing/2014/main" id="{8BA192BC-39A1-4583-BA7A-1EDE63C532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/>
            </a:p>
          </p:txBody>
        </p:sp>
        <p:sp>
          <p:nvSpPr>
            <p:cNvPr id="5" name="Freeform 7">
              <a:extLst>
                <a:ext uri="{FF2B5EF4-FFF2-40B4-BE49-F238E27FC236}">
                  <a16:creationId xmlns:a16="http://schemas.microsoft.com/office/drawing/2014/main" id="{E308B275-5390-4ED4-8B05-F2E00E4550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/>
            </a:p>
          </p:txBody>
        </p:sp>
      </p:grp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D092C4-55BD-46AD-AA68-909E23B858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6901" y="6471244"/>
            <a:ext cx="662721" cy="180000"/>
          </a:xfrm>
          <a:prstGeom prst="rect">
            <a:avLst/>
          </a:prstGeom>
        </p:spPr>
        <p:txBody>
          <a:bodyPr/>
          <a:lstStyle>
            <a:lvl1pPr marL="0" algn="l" defTabSz="913486" rtl="0" eaLnBrk="1" latinLnBrk="0" hangingPunct="1">
              <a:defRPr lang="en-GB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nb-NO"/>
              <a:t>Side </a:t>
            </a:r>
            <a:fld id="{F1BC30E3-FFE5-4B91-AA19-87A149EBB9EE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65686760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DF912F4-A8CC-47BC-9514-290EFCA5B768}"/>
              </a:ext>
            </a:extLst>
          </p:cNvPr>
          <p:cNvSpPr/>
          <p:nvPr userDrawn="1"/>
        </p:nvSpPr>
        <p:spPr>
          <a:xfrm>
            <a:off x="0" y="352668"/>
            <a:ext cx="9524086" cy="74431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25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96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0D637BE-1CBC-4F35-9805-E10DE7899621}"/>
              </a:ext>
            </a:extLst>
          </p:cNvPr>
          <p:cNvSpPr txBox="1"/>
          <p:nvPr userDrawn="1"/>
        </p:nvSpPr>
        <p:spPr>
          <a:xfrm>
            <a:off x="351693" y="467938"/>
            <a:ext cx="2657381" cy="62721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2572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27ACAA"/>
              </a:buClr>
              <a:buSzPct val="70000"/>
              <a:buFontTx/>
              <a:buNone/>
              <a:tabLst/>
              <a:defRPr/>
            </a:pPr>
            <a:r>
              <a:rPr kumimoji="0" lang="nb-NO" sz="4792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Innhold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D6D8592-A4DD-4B75-9686-6AEDCF5CEF81}"/>
              </a:ext>
            </a:extLst>
          </p:cNvPr>
          <p:cNvGrpSpPr/>
          <p:nvPr userDrawn="1"/>
        </p:nvGrpSpPr>
        <p:grpSpPr>
          <a:xfrm>
            <a:off x="9524089" y="352668"/>
            <a:ext cx="2661569" cy="744312"/>
            <a:chOff x="9532620" y="112048"/>
            <a:chExt cx="2665730" cy="745088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D2ADA928-AA3C-427A-A9FC-EE44853B5882}"/>
                </a:ext>
              </a:extLst>
            </p:cNvPr>
            <p:cNvSpPr/>
            <p:nvPr/>
          </p:nvSpPr>
          <p:spPr>
            <a:xfrm>
              <a:off x="9532620" y="112048"/>
              <a:ext cx="2665730" cy="745088"/>
            </a:xfrm>
            <a:prstGeom prst="rect">
              <a:avLst/>
            </a:prstGeom>
            <a:solidFill>
              <a:srgbClr val="F2F2F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ctr" defTabSz="9125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6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grpSp>
          <p:nvGrpSpPr>
            <p:cNvPr id="6" name="Group 4">
              <a:extLst>
                <a:ext uri="{FF2B5EF4-FFF2-40B4-BE49-F238E27FC236}">
                  <a16:creationId xmlns:a16="http://schemas.microsoft.com/office/drawing/2014/main" id="{6C3CD795-40FC-4D50-AFE8-23252E933072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1302119" y="141719"/>
              <a:ext cx="585615" cy="685745"/>
              <a:chOff x="6529" y="3125"/>
              <a:chExt cx="772" cy="904"/>
            </a:xfrm>
          </p:grpSpPr>
          <p:sp>
            <p:nvSpPr>
              <p:cNvPr id="8" name="Freeform 5">
                <a:extLst>
                  <a:ext uri="{FF2B5EF4-FFF2-40B4-BE49-F238E27FC236}">
                    <a16:creationId xmlns:a16="http://schemas.microsoft.com/office/drawing/2014/main" id="{92D5A6CB-3EB5-4EF7-829F-41C908D22DC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29" y="3125"/>
                <a:ext cx="619" cy="226"/>
              </a:xfrm>
              <a:custGeom>
                <a:avLst/>
                <a:gdLst>
                  <a:gd name="T0" fmla="*/ 2473 w 2473"/>
                  <a:gd name="T1" fmla="*/ 0 h 902"/>
                  <a:gd name="T2" fmla="*/ 0 w 2473"/>
                  <a:gd name="T3" fmla="*/ 902 h 902"/>
                  <a:gd name="T4" fmla="*/ 2473 w 2473"/>
                  <a:gd name="T5" fmla="*/ 466 h 902"/>
                  <a:gd name="T6" fmla="*/ 2473 w 2473"/>
                  <a:gd name="T7" fmla="*/ 0 h 9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73" h="902">
                    <a:moveTo>
                      <a:pt x="2473" y="0"/>
                    </a:moveTo>
                    <a:lnTo>
                      <a:pt x="0" y="902"/>
                    </a:lnTo>
                    <a:lnTo>
                      <a:pt x="2473" y="466"/>
                    </a:lnTo>
                    <a:lnTo>
                      <a:pt x="2473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44" tIns="45672" rIns="91344" bIns="4567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25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96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endParaRPr>
              </a:p>
            </p:txBody>
          </p:sp>
          <p:sp>
            <p:nvSpPr>
              <p:cNvPr id="9" name="Freeform 6">
                <a:extLst>
                  <a:ext uri="{FF2B5EF4-FFF2-40B4-BE49-F238E27FC236}">
                    <a16:creationId xmlns:a16="http://schemas.microsoft.com/office/drawing/2014/main" id="{700B2B41-C3FF-43C3-8CE8-B09C5180C76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529" y="3444"/>
                <a:ext cx="772" cy="585"/>
              </a:xfrm>
              <a:custGeom>
                <a:avLst/>
                <a:gdLst>
                  <a:gd name="T0" fmla="*/ 233 w 3088"/>
                  <a:gd name="T1" fmla="*/ 1588 h 2339"/>
                  <a:gd name="T2" fmla="*/ 253 w 3088"/>
                  <a:gd name="T3" fmla="*/ 1795 h 2339"/>
                  <a:gd name="T4" fmla="*/ 151 w 3088"/>
                  <a:gd name="T5" fmla="*/ 1810 h 2339"/>
                  <a:gd name="T6" fmla="*/ 351 w 3088"/>
                  <a:gd name="T7" fmla="*/ 1761 h 2339"/>
                  <a:gd name="T8" fmla="*/ 416 w 3088"/>
                  <a:gd name="T9" fmla="*/ 1857 h 2339"/>
                  <a:gd name="T10" fmla="*/ 1140 w 3088"/>
                  <a:gd name="T11" fmla="*/ 1652 h 2339"/>
                  <a:gd name="T12" fmla="*/ 1216 w 3088"/>
                  <a:gd name="T13" fmla="*/ 1738 h 2339"/>
                  <a:gd name="T14" fmla="*/ 696 w 3088"/>
                  <a:gd name="T15" fmla="*/ 1546 h 2339"/>
                  <a:gd name="T16" fmla="*/ 738 w 3088"/>
                  <a:gd name="T17" fmla="*/ 1710 h 2339"/>
                  <a:gd name="T18" fmla="*/ 860 w 3088"/>
                  <a:gd name="T19" fmla="*/ 1854 h 2339"/>
                  <a:gd name="T20" fmla="*/ 832 w 3088"/>
                  <a:gd name="T21" fmla="*/ 1684 h 2339"/>
                  <a:gd name="T22" fmla="*/ 2021 w 3088"/>
                  <a:gd name="T23" fmla="*/ 1860 h 2339"/>
                  <a:gd name="T24" fmla="*/ 2158 w 3088"/>
                  <a:gd name="T25" fmla="*/ 1747 h 2339"/>
                  <a:gd name="T26" fmla="*/ 2100 w 3088"/>
                  <a:gd name="T27" fmla="*/ 1730 h 2339"/>
                  <a:gd name="T28" fmla="*/ 2059 w 3088"/>
                  <a:gd name="T29" fmla="*/ 1684 h 2339"/>
                  <a:gd name="T30" fmla="*/ 1309 w 3088"/>
                  <a:gd name="T31" fmla="*/ 1734 h 2339"/>
                  <a:gd name="T32" fmla="*/ 1445 w 3088"/>
                  <a:gd name="T33" fmla="*/ 1844 h 2339"/>
                  <a:gd name="T34" fmla="*/ 1473 w 3088"/>
                  <a:gd name="T35" fmla="*/ 1923 h 2339"/>
                  <a:gd name="T36" fmla="*/ 1369 w 3088"/>
                  <a:gd name="T37" fmla="*/ 1781 h 2339"/>
                  <a:gd name="T38" fmla="*/ 1727 w 3088"/>
                  <a:gd name="T39" fmla="*/ 1677 h 2339"/>
                  <a:gd name="T40" fmla="*/ 1632 w 3088"/>
                  <a:gd name="T41" fmla="*/ 1778 h 2339"/>
                  <a:gd name="T42" fmla="*/ 1822 w 3088"/>
                  <a:gd name="T43" fmla="*/ 1710 h 2339"/>
                  <a:gd name="T44" fmla="*/ 1686 w 3088"/>
                  <a:gd name="T45" fmla="*/ 1786 h 2339"/>
                  <a:gd name="T46" fmla="*/ 1708 w 3088"/>
                  <a:gd name="T47" fmla="*/ 1817 h 2339"/>
                  <a:gd name="T48" fmla="*/ 2240 w 3088"/>
                  <a:gd name="T49" fmla="*/ 1766 h 2339"/>
                  <a:gd name="T50" fmla="*/ 2227 w 3088"/>
                  <a:gd name="T51" fmla="*/ 1653 h 2339"/>
                  <a:gd name="T52" fmla="*/ 2290 w 3088"/>
                  <a:gd name="T53" fmla="*/ 1866 h 2339"/>
                  <a:gd name="T54" fmla="*/ 2321 w 3088"/>
                  <a:gd name="T55" fmla="*/ 1709 h 2339"/>
                  <a:gd name="T56" fmla="*/ 2908 w 3088"/>
                  <a:gd name="T57" fmla="*/ 1750 h 2339"/>
                  <a:gd name="T58" fmla="*/ 2730 w 3088"/>
                  <a:gd name="T59" fmla="*/ 1683 h 2339"/>
                  <a:gd name="T60" fmla="*/ 2852 w 3088"/>
                  <a:gd name="T61" fmla="*/ 1860 h 2339"/>
                  <a:gd name="T62" fmla="*/ 2639 w 3088"/>
                  <a:gd name="T63" fmla="*/ 1783 h 2339"/>
                  <a:gd name="T64" fmla="*/ 2605 w 3088"/>
                  <a:gd name="T65" fmla="*/ 1853 h 2339"/>
                  <a:gd name="T66" fmla="*/ 2464 w 3088"/>
                  <a:gd name="T67" fmla="*/ 1861 h 2339"/>
                  <a:gd name="T68" fmla="*/ 2495 w 3088"/>
                  <a:gd name="T69" fmla="*/ 1812 h 2339"/>
                  <a:gd name="T70" fmla="*/ 2998 w 3088"/>
                  <a:gd name="T71" fmla="*/ 1639 h 2339"/>
                  <a:gd name="T72" fmla="*/ 975 w 3088"/>
                  <a:gd name="T73" fmla="*/ 1860 h 2339"/>
                  <a:gd name="T74" fmla="*/ 2416 w 3088"/>
                  <a:gd name="T75" fmla="*/ 2069 h 2339"/>
                  <a:gd name="T76" fmla="*/ 2510 w 3088"/>
                  <a:gd name="T77" fmla="*/ 2251 h 2339"/>
                  <a:gd name="T78" fmla="*/ 2485 w 3088"/>
                  <a:gd name="T79" fmla="*/ 2074 h 2339"/>
                  <a:gd name="T80" fmla="*/ 627 w 3088"/>
                  <a:gd name="T81" fmla="*/ 2078 h 2339"/>
                  <a:gd name="T82" fmla="*/ 672 w 3088"/>
                  <a:gd name="T83" fmla="*/ 2089 h 2339"/>
                  <a:gd name="T84" fmla="*/ 202 w 3088"/>
                  <a:gd name="T85" fmla="*/ 2135 h 2339"/>
                  <a:gd name="T86" fmla="*/ 310 w 3088"/>
                  <a:gd name="T87" fmla="*/ 2174 h 2339"/>
                  <a:gd name="T88" fmla="*/ 503 w 3088"/>
                  <a:gd name="T89" fmla="*/ 2174 h 2339"/>
                  <a:gd name="T90" fmla="*/ 374 w 3088"/>
                  <a:gd name="T91" fmla="*/ 2185 h 2339"/>
                  <a:gd name="T92" fmla="*/ 439 w 3088"/>
                  <a:gd name="T93" fmla="*/ 2185 h 2339"/>
                  <a:gd name="T94" fmla="*/ 2197 w 3088"/>
                  <a:gd name="T95" fmla="*/ 2040 h 2339"/>
                  <a:gd name="T96" fmla="*/ 1597 w 3088"/>
                  <a:gd name="T97" fmla="*/ 2027 h 2339"/>
                  <a:gd name="T98" fmla="*/ 1937 w 3088"/>
                  <a:gd name="T99" fmla="*/ 2047 h 2339"/>
                  <a:gd name="T100" fmla="*/ 2002 w 3088"/>
                  <a:gd name="T101" fmla="*/ 2254 h 2339"/>
                  <a:gd name="T102" fmla="*/ 2061 w 3088"/>
                  <a:gd name="T103" fmla="*/ 2041 h 2339"/>
                  <a:gd name="T104" fmla="*/ 2002 w 3088"/>
                  <a:gd name="T105" fmla="*/ 2073 h 2339"/>
                  <a:gd name="T106" fmla="*/ 767 w 3088"/>
                  <a:gd name="T107" fmla="*/ 1934 h 2339"/>
                  <a:gd name="T108" fmla="*/ 1202 w 3088"/>
                  <a:gd name="T109" fmla="*/ 2037 h 2339"/>
                  <a:gd name="T110" fmla="*/ 1108 w 3088"/>
                  <a:gd name="T111" fmla="*/ 2086 h 2339"/>
                  <a:gd name="T112" fmla="*/ 1280 w 3088"/>
                  <a:gd name="T113" fmla="*/ 2078 h 2339"/>
                  <a:gd name="T114" fmla="*/ 1385 w 3088"/>
                  <a:gd name="T115" fmla="*/ 2249 h 2339"/>
                  <a:gd name="T116" fmla="*/ 1403 w 3088"/>
                  <a:gd name="T117" fmla="*/ 2332 h 2339"/>
                  <a:gd name="T118" fmla="*/ 1354 w 3088"/>
                  <a:gd name="T119" fmla="*/ 2200 h 2339"/>
                  <a:gd name="T120" fmla="*/ 993 w 3088"/>
                  <a:gd name="T121" fmla="*/ 2123 h 2339"/>
                  <a:gd name="T122" fmla="*/ 397 w 3088"/>
                  <a:gd name="T123" fmla="*/ 963 h 23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088" h="2339">
                    <a:moveTo>
                      <a:pt x="257" y="1763"/>
                    </a:moveTo>
                    <a:lnTo>
                      <a:pt x="257" y="1763"/>
                    </a:lnTo>
                    <a:lnTo>
                      <a:pt x="257" y="1755"/>
                    </a:lnTo>
                    <a:lnTo>
                      <a:pt x="256" y="1749"/>
                    </a:lnTo>
                    <a:lnTo>
                      <a:pt x="253" y="1736"/>
                    </a:lnTo>
                    <a:lnTo>
                      <a:pt x="247" y="1725"/>
                    </a:lnTo>
                    <a:lnTo>
                      <a:pt x="241" y="1716"/>
                    </a:lnTo>
                    <a:lnTo>
                      <a:pt x="233" y="1709"/>
                    </a:lnTo>
                    <a:lnTo>
                      <a:pt x="225" y="1704"/>
                    </a:lnTo>
                    <a:lnTo>
                      <a:pt x="219" y="1699"/>
                    </a:lnTo>
                    <a:lnTo>
                      <a:pt x="212" y="1696"/>
                    </a:lnTo>
                    <a:lnTo>
                      <a:pt x="212" y="1696"/>
                    </a:lnTo>
                    <a:lnTo>
                      <a:pt x="220" y="1690"/>
                    </a:lnTo>
                    <a:lnTo>
                      <a:pt x="226" y="1685"/>
                    </a:lnTo>
                    <a:lnTo>
                      <a:pt x="232" y="1678"/>
                    </a:lnTo>
                    <a:lnTo>
                      <a:pt x="237" y="1671"/>
                    </a:lnTo>
                    <a:lnTo>
                      <a:pt x="242" y="1663"/>
                    </a:lnTo>
                    <a:lnTo>
                      <a:pt x="244" y="1654"/>
                    </a:lnTo>
                    <a:lnTo>
                      <a:pt x="246" y="1645"/>
                    </a:lnTo>
                    <a:lnTo>
                      <a:pt x="246" y="1635"/>
                    </a:lnTo>
                    <a:lnTo>
                      <a:pt x="246" y="1635"/>
                    </a:lnTo>
                    <a:lnTo>
                      <a:pt x="246" y="1626"/>
                    </a:lnTo>
                    <a:lnTo>
                      <a:pt x="245" y="1618"/>
                    </a:lnTo>
                    <a:lnTo>
                      <a:pt x="243" y="1610"/>
                    </a:lnTo>
                    <a:lnTo>
                      <a:pt x="241" y="1602"/>
                    </a:lnTo>
                    <a:lnTo>
                      <a:pt x="237" y="1594"/>
                    </a:lnTo>
                    <a:lnTo>
                      <a:pt x="233" y="1588"/>
                    </a:lnTo>
                    <a:lnTo>
                      <a:pt x="227" y="1582"/>
                    </a:lnTo>
                    <a:lnTo>
                      <a:pt x="222" y="1577"/>
                    </a:lnTo>
                    <a:lnTo>
                      <a:pt x="215" y="1572"/>
                    </a:lnTo>
                    <a:lnTo>
                      <a:pt x="209" y="1568"/>
                    </a:lnTo>
                    <a:lnTo>
                      <a:pt x="201" y="1565"/>
                    </a:lnTo>
                    <a:lnTo>
                      <a:pt x="192" y="1561"/>
                    </a:lnTo>
                    <a:lnTo>
                      <a:pt x="183" y="1559"/>
                    </a:lnTo>
                    <a:lnTo>
                      <a:pt x="173" y="1557"/>
                    </a:lnTo>
                    <a:lnTo>
                      <a:pt x="163" y="1557"/>
                    </a:lnTo>
                    <a:lnTo>
                      <a:pt x="152" y="1556"/>
                    </a:lnTo>
                    <a:lnTo>
                      <a:pt x="22" y="1556"/>
                    </a:lnTo>
                    <a:lnTo>
                      <a:pt x="22" y="1860"/>
                    </a:lnTo>
                    <a:lnTo>
                      <a:pt x="151" y="1860"/>
                    </a:lnTo>
                    <a:lnTo>
                      <a:pt x="151" y="1860"/>
                    </a:lnTo>
                    <a:lnTo>
                      <a:pt x="163" y="1860"/>
                    </a:lnTo>
                    <a:lnTo>
                      <a:pt x="174" y="1859"/>
                    </a:lnTo>
                    <a:lnTo>
                      <a:pt x="185" y="1857"/>
                    </a:lnTo>
                    <a:lnTo>
                      <a:pt x="195" y="1854"/>
                    </a:lnTo>
                    <a:lnTo>
                      <a:pt x="205" y="1850"/>
                    </a:lnTo>
                    <a:lnTo>
                      <a:pt x="214" y="1846"/>
                    </a:lnTo>
                    <a:lnTo>
                      <a:pt x="222" y="1840"/>
                    </a:lnTo>
                    <a:lnTo>
                      <a:pt x="228" y="1835"/>
                    </a:lnTo>
                    <a:lnTo>
                      <a:pt x="235" y="1828"/>
                    </a:lnTo>
                    <a:lnTo>
                      <a:pt x="241" y="1821"/>
                    </a:lnTo>
                    <a:lnTo>
                      <a:pt x="246" y="1813"/>
                    </a:lnTo>
                    <a:lnTo>
                      <a:pt x="249" y="1804"/>
                    </a:lnTo>
                    <a:lnTo>
                      <a:pt x="253" y="1795"/>
                    </a:lnTo>
                    <a:lnTo>
                      <a:pt x="255" y="1785"/>
                    </a:lnTo>
                    <a:lnTo>
                      <a:pt x="256" y="1774"/>
                    </a:lnTo>
                    <a:lnTo>
                      <a:pt x="257" y="1763"/>
                    </a:lnTo>
                    <a:lnTo>
                      <a:pt x="257" y="1763"/>
                    </a:lnTo>
                    <a:close/>
                    <a:moveTo>
                      <a:pt x="151" y="1810"/>
                    </a:moveTo>
                    <a:lnTo>
                      <a:pt x="78" y="1810"/>
                    </a:lnTo>
                    <a:lnTo>
                      <a:pt x="78" y="1722"/>
                    </a:lnTo>
                    <a:lnTo>
                      <a:pt x="151" y="1722"/>
                    </a:lnTo>
                    <a:lnTo>
                      <a:pt x="151" y="1722"/>
                    </a:lnTo>
                    <a:lnTo>
                      <a:pt x="162" y="1723"/>
                    </a:lnTo>
                    <a:lnTo>
                      <a:pt x="171" y="1725"/>
                    </a:lnTo>
                    <a:lnTo>
                      <a:pt x="179" y="1728"/>
                    </a:lnTo>
                    <a:lnTo>
                      <a:pt x="185" y="1733"/>
                    </a:lnTo>
                    <a:lnTo>
                      <a:pt x="191" y="1739"/>
                    </a:lnTo>
                    <a:lnTo>
                      <a:pt x="194" y="1747"/>
                    </a:lnTo>
                    <a:lnTo>
                      <a:pt x="196" y="1755"/>
                    </a:lnTo>
                    <a:lnTo>
                      <a:pt x="198" y="1765"/>
                    </a:lnTo>
                    <a:lnTo>
                      <a:pt x="198" y="1765"/>
                    </a:lnTo>
                    <a:lnTo>
                      <a:pt x="196" y="1775"/>
                    </a:lnTo>
                    <a:lnTo>
                      <a:pt x="194" y="1784"/>
                    </a:lnTo>
                    <a:lnTo>
                      <a:pt x="190" y="1792"/>
                    </a:lnTo>
                    <a:lnTo>
                      <a:pt x="185" y="1797"/>
                    </a:lnTo>
                    <a:lnTo>
                      <a:pt x="179" y="1803"/>
                    </a:lnTo>
                    <a:lnTo>
                      <a:pt x="171" y="1806"/>
                    </a:lnTo>
                    <a:lnTo>
                      <a:pt x="161" y="1808"/>
                    </a:lnTo>
                    <a:lnTo>
                      <a:pt x="151" y="1810"/>
                    </a:lnTo>
                    <a:lnTo>
                      <a:pt x="151" y="1810"/>
                    </a:lnTo>
                    <a:close/>
                    <a:moveTo>
                      <a:pt x="150" y="1673"/>
                    </a:moveTo>
                    <a:lnTo>
                      <a:pt x="78" y="1673"/>
                    </a:lnTo>
                    <a:lnTo>
                      <a:pt x="78" y="1608"/>
                    </a:lnTo>
                    <a:lnTo>
                      <a:pt x="148" y="1608"/>
                    </a:lnTo>
                    <a:lnTo>
                      <a:pt x="148" y="1608"/>
                    </a:lnTo>
                    <a:lnTo>
                      <a:pt x="157" y="1609"/>
                    </a:lnTo>
                    <a:lnTo>
                      <a:pt x="166" y="1610"/>
                    </a:lnTo>
                    <a:lnTo>
                      <a:pt x="172" y="1612"/>
                    </a:lnTo>
                    <a:lnTo>
                      <a:pt x="178" y="1615"/>
                    </a:lnTo>
                    <a:lnTo>
                      <a:pt x="182" y="1621"/>
                    </a:lnTo>
                    <a:lnTo>
                      <a:pt x="185" y="1626"/>
                    </a:lnTo>
                    <a:lnTo>
                      <a:pt x="187" y="1633"/>
                    </a:lnTo>
                    <a:lnTo>
                      <a:pt x="188" y="1641"/>
                    </a:lnTo>
                    <a:lnTo>
                      <a:pt x="188" y="1641"/>
                    </a:lnTo>
                    <a:lnTo>
                      <a:pt x="188" y="1646"/>
                    </a:lnTo>
                    <a:lnTo>
                      <a:pt x="187" y="1652"/>
                    </a:lnTo>
                    <a:lnTo>
                      <a:pt x="184" y="1657"/>
                    </a:lnTo>
                    <a:lnTo>
                      <a:pt x="181" y="1662"/>
                    </a:lnTo>
                    <a:lnTo>
                      <a:pt x="175" y="1666"/>
                    </a:lnTo>
                    <a:lnTo>
                      <a:pt x="169" y="1669"/>
                    </a:lnTo>
                    <a:lnTo>
                      <a:pt x="161" y="1672"/>
                    </a:lnTo>
                    <a:lnTo>
                      <a:pt x="150" y="1673"/>
                    </a:lnTo>
                    <a:lnTo>
                      <a:pt x="150" y="1673"/>
                    </a:lnTo>
                    <a:close/>
                    <a:moveTo>
                      <a:pt x="296" y="1764"/>
                    </a:moveTo>
                    <a:lnTo>
                      <a:pt x="296" y="1639"/>
                    </a:lnTo>
                    <a:lnTo>
                      <a:pt x="351" y="1639"/>
                    </a:lnTo>
                    <a:lnTo>
                      <a:pt x="351" y="1761"/>
                    </a:lnTo>
                    <a:lnTo>
                      <a:pt x="351" y="1761"/>
                    </a:lnTo>
                    <a:lnTo>
                      <a:pt x="351" y="1773"/>
                    </a:lnTo>
                    <a:lnTo>
                      <a:pt x="353" y="1785"/>
                    </a:lnTo>
                    <a:lnTo>
                      <a:pt x="356" y="1794"/>
                    </a:lnTo>
                    <a:lnTo>
                      <a:pt x="361" y="1802"/>
                    </a:lnTo>
                    <a:lnTo>
                      <a:pt x="366" y="1807"/>
                    </a:lnTo>
                    <a:lnTo>
                      <a:pt x="373" y="1812"/>
                    </a:lnTo>
                    <a:lnTo>
                      <a:pt x="382" y="1814"/>
                    </a:lnTo>
                    <a:lnTo>
                      <a:pt x="392" y="1815"/>
                    </a:lnTo>
                    <a:lnTo>
                      <a:pt x="392" y="1815"/>
                    </a:lnTo>
                    <a:lnTo>
                      <a:pt x="402" y="1814"/>
                    </a:lnTo>
                    <a:lnTo>
                      <a:pt x="409" y="1812"/>
                    </a:lnTo>
                    <a:lnTo>
                      <a:pt x="417" y="1807"/>
                    </a:lnTo>
                    <a:lnTo>
                      <a:pt x="423" y="1802"/>
                    </a:lnTo>
                    <a:lnTo>
                      <a:pt x="427" y="1794"/>
                    </a:lnTo>
                    <a:lnTo>
                      <a:pt x="430" y="1784"/>
                    </a:lnTo>
                    <a:lnTo>
                      <a:pt x="433" y="1773"/>
                    </a:lnTo>
                    <a:lnTo>
                      <a:pt x="433" y="1761"/>
                    </a:lnTo>
                    <a:lnTo>
                      <a:pt x="433" y="1639"/>
                    </a:lnTo>
                    <a:lnTo>
                      <a:pt x="488" y="1639"/>
                    </a:lnTo>
                    <a:lnTo>
                      <a:pt x="488" y="1860"/>
                    </a:lnTo>
                    <a:lnTo>
                      <a:pt x="433" y="1860"/>
                    </a:lnTo>
                    <a:lnTo>
                      <a:pt x="433" y="1843"/>
                    </a:lnTo>
                    <a:lnTo>
                      <a:pt x="433" y="1843"/>
                    </a:lnTo>
                    <a:lnTo>
                      <a:pt x="428" y="1848"/>
                    </a:lnTo>
                    <a:lnTo>
                      <a:pt x="422" y="1853"/>
                    </a:lnTo>
                    <a:lnTo>
                      <a:pt x="416" y="1857"/>
                    </a:lnTo>
                    <a:lnTo>
                      <a:pt x="409" y="1859"/>
                    </a:lnTo>
                    <a:lnTo>
                      <a:pt x="403" y="1862"/>
                    </a:lnTo>
                    <a:lnTo>
                      <a:pt x="395" y="1864"/>
                    </a:lnTo>
                    <a:lnTo>
                      <a:pt x="387" y="1865"/>
                    </a:lnTo>
                    <a:lnTo>
                      <a:pt x="380" y="1866"/>
                    </a:lnTo>
                    <a:lnTo>
                      <a:pt x="380" y="1866"/>
                    </a:lnTo>
                    <a:lnTo>
                      <a:pt x="366" y="1865"/>
                    </a:lnTo>
                    <a:lnTo>
                      <a:pt x="355" y="1862"/>
                    </a:lnTo>
                    <a:lnTo>
                      <a:pt x="345" y="1859"/>
                    </a:lnTo>
                    <a:lnTo>
                      <a:pt x="336" y="1855"/>
                    </a:lnTo>
                    <a:lnTo>
                      <a:pt x="328" y="1849"/>
                    </a:lnTo>
                    <a:lnTo>
                      <a:pt x="321" y="1844"/>
                    </a:lnTo>
                    <a:lnTo>
                      <a:pt x="316" y="1836"/>
                    </a:lnTo>
                    <a:lnTo>
                      <a:pt x="310" y="1828"/>
                    </a:lnTo>
                    <a:lnTo>
                      <a:pt x="307" y="1821"/>
                    </a:lnTo>
                    <a:lnTo>
                      <a:pt x="304" y="1813"/>
                    </a:lnTo>
                    <a:lnTo>
                      <a:pt x="299" y="1795"/>
                    </a:lnTo>
                    <a:lnTo>
                      <a:pt x="297" y="1779"/>
                    </a:lnTo>
                    <a:lnTo>
                      <a:pt x="296" y="1764"/>
                    </a:lnTo>
                    <a:lnTo>
                      <a:pt x="296" y="1764"/>
                    </a:lnTo>
                    <a:close/>
                    <a:moveTo>
                      <a:pt x="1135" y="1860"/>
                    </a:moveTo>
                    <a:lnTo>
                      <a:pt x="1079" y="1860"/>
                    </a:lnTo>
                    <a:lnTo>
                      <a:pt x="1079" y="1639"/>
                    </a:lnTo>
                    <a:lnTo>
                      <a:pt x="1135" y="1639"/>
                    </a:lnTo>
                    <a:lnTo>
                      <a:pt x="1135" y="1657"/>
                    </a:lnTo>
                    <a:lnTo>
                      <a:pt x="1135" y="1657"/>
                    </a:lnTo>
                    <a:lnTo>
                      <a:pt x="1140" y="1652"/>
                    </a:lnTo>
                    <a:lnTo>
                      <a:pt x="1146" y="1646"/>
                    </a:lnTo>
                    <a:lnTo>
                      <a:pt x="1152" y="1643"/>
                    </a:lnTo>
                    <a:lnTo>
                      <a:pt x="1159" y="1640"/>
                    </a:lnTo>
                    <a:lnTo>
                      <a:pt x="1167" y="1636"/>
                    </a:lnTo>
                    <a:lnTo>
                      <a:pt x="1173" y="1635"/>
                    </a:lnTo>
                    <a:lnTo>
                      <a:pt x="1182" y="1634"/>
                    </a:lnTo>
                    <a:lnTo>
                      <a:pt x="1190" y="1633"/>
                    </a:lnTo>
                    <a:lnTo>
                      <a:pt x="1190" y="1633"/>
                    </a:lnTo>
                    <a:lnTo>
                      <a:pt x="1200" y="1634"/>
                    </a:lnTo>
                    <a:lnTo>
                      <a:pt x="1208" y="1635"/>
                    </a:lnTo>
                    <a:lnTo>
                      <a:pt x="1217" y="1637"/>
                    </a:lnTo>
                    <a:lnTo>
                      <a:pt x="1225" y="1640"/>
                    </a:lnTo>
                    <a:lnTo>
                      <a:pt x="1233" y="1643"/>
                    </a:lnTo>
                    <a:lnTo>
                      <a:pt x="1239" y="1648"/>
                    </a:lnTo>
                    <a:lnTo>
                      <a:pt x="1245" y="1653"/>
                    </a:lnTo>
                    <a:lnTo>
                      <a:pt x="1250" y="1659"/>
                    </a:lnTo>
                    <a:lnTo>
                      <a:pt x="1256" y="1666"/>
                    </a:lnTo>
                    <a:lnTo>
                      <a:pt x="1259" y="1674"/>
                    </a:lnTo>
                    <a:lnTo>
                      <a:pt x="1264" y="1682"/>
                    </a:lnTo>
                    <a:lnTo>
                      <a:pt x="1266" y="1690"/>
                    </a:lnTo>
                    <a:lnTo>
                      <a:pt x="1268" y="1700"/>
                    </a:lnTo>
                    <a:lnTo>
                      <a:pt x="1270" y="1711"/>
                    </a:lnTo>
                    <a:lnTo>
                      <a:pt x="1271" y="1722"/>
                    </a:lnTo>
                    <a:lnTo>
                      <a:pt x="1271" y="1734"/>
                    </a:lnTo>
                    <a:lnTo>
                      <a:pt x="1271" y="1860"/>
                    </a:lnTo>
                    <a:lnTo>
                      <a:pt x="1216" y="1860"/>
                    </a:lnTo>
                    <a:lnTo>
                      <a:pt x="1216" y="1738"/>
                    </a:lnTo>
                    <a:lnTo>
                      <a:pt x="1216" y="1738"/>
                    </a:lnTo>
                    <a:lnTo>
                      <a:pt x="1216" y="1725"/>
                    </a:lnTo>
                    <a:lnTo>
                      <a:pt x="1214" y="1714"/>
                    </a:lnTo>
                    <a:lnTo>
                      <a:pt x="1211" y="1705"/>
                    </a:lnTo>
                    <a:lnTo>
                      <a:pt x="1206" y="1697"/>
                    </a:lnTo>
                    <a:lnTo>
                      <a:pt x="1201" y="1691"/>
                    </a:lnTo>
                    <a:lnTo>
                      <a:pt x="1194" y="1687"/>
                    </a:lnTo>
                    <a:lnTo>
                      <a:pt x="1186" y="1685"/>
                    </a:lnTo>
                    <a:lnTo>
                      <a:pt x="1176" y="1684"/>
                    </a:lnTo>
                    <a:lnTo>
                      <a:pt x="1176" y="1684"/>
                    </a:lnTo>
                    <a:lnTo>
                      <a:pt x="1167" y="1685"/>
                    </a:lnTo>
                    <a:lnTo>
                      <a:pt x="1158" y="1687"/>
                    </a:lnTo>
                    <a:lnTo>
                      <a:pt x="1151" y="1691"/>
                    </a:lnTo>
                    <a:lnTo>
                      <a:pt x="1146" y="1697"/>
                    </a:lnTo>
                    <a:lnTo>
                      <a:pt x="1140" y="1705"/>
                    </a:lnTo>
                    <a:lnTo>
                      <a:pt x="1137" y="1715"/>
                    </a:lnTo>
                    <a:lnTo>
                      <a:pt x="1135" y="1726"/>
                    </a:lnTo>
                    <a:lnTo>
                      <a:pt x="1135" y="1738"/>
                    </a:lnTo>
                    <a:lnTo>
                      <a:pt x="1135" y="1860"/>
                    </a:lnTo>
                    <a:close/>
                    <a:moveTo>
                      <a:pt x="593" y="1742"/>
                    </a:moveTo>
                    <a:lnTo>
                      <a:pt x="593" y="1860"/>
                    </a:lnTo>
                    <a:lnTo>
                      <a:pt x="537" y="1860"/>
                    </a:lnTo>
                    <a:lnTo>
                      <a:pt x="537" y="1639"/>
                    </a:lnTo>
                    <a:lnTo>
                      <a:pt x="593" y="1639"/>
                    </a:lnTo>
                    <a:lnTo>
                      <a:pt x="593" y="1742"/>
                    </a:lnTo>
                    <a:close/>
                    <a:moveTo>
                      <a:pt x="641" y="1573"/>
                    </a:moveTo>
                    <a:lnTo>
                      <a:pt x="696" y="1546"/>
                    </a:lnTo>
                    <a:lnTo>
                      <a:pt x="696" y="1747"/>
                    </a:lnTo>
                    <a:lnTo>
                      <a:pt x="696" y="1860"/>
                    </a:lnTo>
                    <a:lnTo>
                      <a:pt x="641" y="1860"/>
                    </a:lnTo>
                    <a:lnTo>
                      <a:pt x="641" y="1573"/>
                    </a:lnTo>
                    <a:close/>
                    <a:moveTo>
                      <a:pt x="871" y="1654"/>
                    </a:moveTo>
                    <a:lnTo>
                      <a:pt x="871" y="1654"/>
                    </a:lnTo>
                    <a:lnTo>
                      <a:pt x="866" y="1648"/>
                    </a:lnTo>
                    <a:lnTo>
                      <a:pt x="861" y="1645"/>
                    </a:lnTo>
                    <a:lnTo>
                      <a:pt x="854" y="1641"/>
                    </a:lnTo>
                    <a:lnTo>
                      <a:pt x="849" y="1639"/>
                    </a:lnTo>
                    <a:lnTo>
                      <a:pt x="842" y="1636"/>
                    </a:lnTo>
                    <a:lnTo>
                      <a:pt x="835" y="1634"/>
                    </a:lnTo>
                    <a:lnTo>
                      <a:pt x="822" y="1633"/>
                    </a:lnTo>
                    <a:lnTo>
                      <a:pt x="822" y="1633"/>
                    </a:lnTo>
                    <a:lnTo>
                      <a:pt x="812" y="1634"/>
                    </a:lnTo>
                    <a:lnTo>
                      <a:pt x="802" y="1635"/>
                    </a:lnTo>
                    <a:lnTo>
                      <a:pt x="794" y="1637"/>
                    </a:lnTo>
                    <a:lnTo>
                      <a:pt x="786" y="1641"/>
                    </a:lnTo>
                    <a:lnTo>
                      <a:pt x="778" y="1645"/>
                    </a:lnTo>
                    <a:lnTo>
                      <a:pt x="770" y="1651"/>
                    </a:lnTo>
                    <a:lnTo>
                      <a:pt x="764" y="1657"/>
                    </a:lnTo>
                    <a:lnTo>
                      <a:pt x="758" y="1664"/>
                    </a:lnTo>
                    <a:lnTo>
                      <a:pt x="753" y="1672"/>
                    </a:lnTo>
                    <a:lnTo>
                      <a:pt x="748" y="1680"/>
                    </a:lnTo>
                    <a:lnTo>
                      <a:pt x="744" y="1689"/>
                    </a:lnTo>
                    <a:lnTo>
                      <a:pt x="741" y="1699"/>
                    </a:lnTo>
                    <a:lnTo>
                      <a:pt x="738" y="1710"/>
                    </a:lnTo>
                    <a:lnTo>
                      <a:pt x="736" y="1722"/>
                    </a:lnTo>
                    <a:lnTo>
                      <a:pt x="735" y="1734"/>
                    </a:lnTo>
                    <a:lnTo>
                      <a:pt x="735" y="1747"/>
                    </a:lnTo>
                    <a:lnTo>
                      <a:pt x="735" y="1747"/>
                    </a:lnTo>
                    <a:lnTo>
                      <a:pt x="735" y="1761"/>
                    </a:lnTo>
                    <a:lnTo>
                      <a:pt x="736" y="1773"/>
                    </a:lnTo>
                    <a:lnTo>
                      <a:pt x="738" y="1785"/>
                    </a:lnTo>
                    <a:lnTo>
                      <a:pt x="741" y="1796"/>
                    </a:lnTo>
                    <a:lnTo>
                      <a:pt x="744" y="1807"/>
                    </a:lnTo>
                    <a:lnTo>
                      <a:pt x="747" y="1817"/>
                    </a:lnTo>
                    <a:lnTo>
                      <a:pt x="752" y="1826"/>
                    </a:lnTo>
                    <a:lnTo>
                      <a:pt x="757" y="1834"/>
                    </a:lnTo>
                    <a:lnTo>
                      <a:pt x="764" y="1841"/>
                    </a:lnTo>
                    <a:lnTo>
                      <a:pt x="769" y="1847"/>
                    </a:lnTo>
                    <a:lnTo>
                      <a:pt x="777" y="1853"/>
                    </a:lnTo>
                    <a:lnTo>
                      <a:pt x="785" y="1857"/>
                    </a:lnTo>
                    <a:lnTo>
                      <a:pt x="792" y="1860"/>
                    </a:lnTo>
                    <a:lnTo>
                      <a:pt x="801" y="1864"/>
                    </a:lnTo>
                    <a:lnTo>
                      <a:pt x="811" y="1865"/>
                    </a:lnTo>
                    <a:lnTo>
                      <a:pt x="821" y="1866"/>
                    </a:lnTo>
                    <a:lnTo>
                      <a:pt x="821" y="1866"/>
                    </a:lnTo>
                    <a:lnTo>
                      <a:pt x="828" y="1865"/>
                    </a:lnTo>
                    <a:lnTo>
                      <a:pt x="834" y="1864"/>
                    </a:lnTo>
                    <a:lnTo>
                      <a:pt x="841" y="1862"/>
                    </a:lnTo>
                    <a:lnTo>
                      <a:pt x="848" y="1860"/>
                    </a:lnTo>
                    <a:lnTo>
                      <a:pt x="853" y="1857"/>
                    </a:lnTo>
                    <a:lnTo>
                      <a:pt x="860" y="1854"/>
                    </a:lnTo>
                    <a:lnTo>
                      <a:pt x="865" y="1849"/>
                    </a:lnTo>
                    <a:lnTo>
                      <a:pt x="871" y="1844"/>
                    </a:lnTo>
                    <a:lnTo>
                      <a:pt x="871" y="1860"/>
                    </a:lnTo>
                    <a:lnTo>
                      <a:pt x="926" y="1860"/>
                    </a:lnTo>
                    <a:lnTo>
                      <a:pt x="926" y="1546"/>
                    </a:lnTo>
                    <a:lnTo>
                      <a:pt x="871" y="1573"/>
                    </a:lnTo>
                    <a:lnTo>
                      <a:pt x="871" y="1654"/>
                    </a:lnTo>
                    <a:close/>
                    <a:moveTo>
                      <a:pt x="832" y="1815"/>
                    </a:moveTo>
                    <a:lnTo>
                      <a:pt x="832" y="1815"/>
                    </a:lnTo>
                    <a:lnTo>
                      <a:pt x="826" y="1814"/>
                    </a:lnTo>
                    <a:lnTo>
                      <a:pt x="818" y="1812"/>
                    </a:lnTo>
                    <a:lnTo>
                      <a:pt x="811" y="1808"/>
                    </a:lnTo>
                    <a:lnTo>
                      <a:pt x="805" y="1802"/>
                    </a:lnTo>
                    <a:lnTo>
                      <a:pt x="799" y="1793"/>
                    </a:lnTo>
                    <a:lnTo>
                      <a:pt x="795" y="1781"/>
                    </a:lnTo>
                    <a:lnTo>
                      <a:pt x="791" y="1765"/>
                    </a:lnTo>
                    <a:lnTo>
                      <a:pt x="790" y="1746"/>
                    </a:lnTo>
                    <a:lnTo>
                      <a:pt x="790" y="1746"/>
                    </a:lnTo>
                    <a:lnTo>
                      <a:pt x="791" y="1728"/>
                    </a:lnTo>
                    <a:lnTo>
                      <a:pt x="795" y="1715"/>
                    </a:lnTo>
                    <a:lnTo>
                      <a:pt x="799" y="1704"/>
                    </a:lnTo>
                    <a:lnTo>
                      <a:pt x="805" y="1696"/>
                    </a:lnTo>
                    <a:lnTo>
                      <a:pt x="810" y="1689"/>
                    </a:lnTo>
                    <a:lnTo>
                      <a:pt x="818" y="1686"/>
                    </a:lnTo>
                    <a:lnTo>
                      <a:pt x="824" y="1684"/>
                    </a:lnTo>
                    <a:lnTo>
                      <a:pt x="832" y="1684"/>
                    </a:lnTo>
                    <a:lnTo>
                      <a:pt x="832" y="1684"/>
                    </a:lnTo>
                    <a:lnTo>
                      <a:pt x="839" y="1684"/>
                    </a:lnTo>
                    <a:lnTo>
                      <a:pt x="845" y="1686"/>
                    </a:lnTo>
                    <a:lnTo>
                      <a:pt x="852" y="1688"/>
                    </a:lnTo>
                    <a:lnTo>
                      <a:pt x="856" y="1691"/>
                    </a:lnTo>
                    <a:lnTo>
                      <a:pt x="861" y="1695"/>
                    </a:lnTo>
                    <a:lnTo>
                      <a:pt x="865" y="1698"/>
                    </a:lnTo>
                    <a:lnTo>
                      <a:pt x="871" y="1706"/>
                    </a:lnTo>
                    <a:lnTo>
                      <a:pt x="871" y="1793"/>
                    </a:lnTo>
                    <a:lnTo>
                      <a:pt x="871" y="1793"/>
                    </a:lnTo>
                    <a:lnTo>
                      <a:pt x="864" y="1801"/>
                    </a:lnTo>
                    <a:lnTo>
                      <a:pt x="856" y="1807"/>
                    </a:lnTo>
                    <a:lnTo>
                      <a:pt x="852" y="1811"/>
                    </a:lnTo>
                    <a:lnTo>
                      <a:pt x="845" y="1813"/>
                    </a:lnTo>
                    <a:lnTo>
                      <a:pt x="840" y="1814"/>
                    </a:lnTo>
                    <a:lnTo>
                      <a:pt x="832" y="1815"/>
                    </a:lnTo>
                    <a:lnTo>
                      <a:pt x="832" y="1815"/>
                    </a:lnTo>
                    <a:close/>
                    <a:moveTo>
                      <a:pt x="2069" y="1633"/>
                    </a:moveTo>
                    <a:lnTo>
                      <a:pt x="2069" y="1633"/>
                    </a:lnTo>
                    <a:lnTo>
                      <a:pt x="2064" y="1634"/>
                    </a:lnTo>
                    <a:lnTo>
                      <a:pt x="2057" y="1635"/>
                    </a:lnTo>
                    <a:lnTo>
                      <a:pt x="2044" y="1639"/>
                    </a:lnTo>
                    <a:lnTo>
                      <a:pt x="2032" y="1645"/>
                    </a:lnTo>
                    <a:lnTo>
                      <a:pt x="2021" y="1654"/>
                    </a:lnTo>
                    <a:lnTo>
                      <a:pt x="2021" y="1551"/>
                    </a:lnTo>
                    <a:lnTo>
                      <a:pt x="1966" y="1579"/>
                    </a:lnTo>
                    <a:lnTo>
                      <a:pt x="1966" y="1860"/>
                    </a:lnTo>
                    <a:lnTo>
                      <a:pt x="2021" y="1860"/>
                    </a:lnTo>
                    <a:lnTo>
                      <a:pt x="2021" y="1844"/>
                    </a:lnTo>
                    <a:lnTo>
                      <a:pt x="2021" y="1844"/>
                    </a:lnTo>
                    <a:lnTo>
                      <a:pt x="2025" y="1849"/>
                    </a:lnTo>
                    <a:lnTo>
                      <a:pt x="2032" y="1854"/>
                    </a:lnTo>
                    <a:lnTo>
                      <a:pt x="2037" y="1857"/>
                    </a:lnTo>
                    <a:lnTo>
                      <a:pt x="2044" y="1860"/>
                    </a:lnTo>
                    <a:lnTo>
                      <a:pt x="2049" y="1862"/>
                    </a:lnTo>
                    <a:lnTo>
                      <a:pt x="2057" y="1864"/>
                    </a:lnTo>
                    <a:lnTo>
                      <a:pt x="2064" y="1865"/>
                    </a:lnTo>
                    <a:lnTo>
                      <a:pt x="2070" y="1866"/>
                    </a:lnTo>
                    <a:lnTo>
                      <a:pt x="2070" y="1866"/>
                    </a:lnTo>
                    <a:lnTo>
                      <a:pt x="2080" y="1865"/>
                    </a:lnTo>
                    <a:lnTo>
                      <a:pt x="2090" y="1864"/>
                    </a:lnTo>
                    <a:lnTo>
                      <a:pt x="2099" y="1861"/>
                    </a:lnTo>
                    <a:lnTo>
                      <a:pt x="2108" y="1857"/>
                    </a:lnTo>
                    <a:lnTo>
                      <a:pt x="2116" y="1853"/>
                    </a:lnTo>
                    <a:lnTo>
                      <a:pt x="2122" y="1848"/>
                    </a:lnTo>
                    <a:lnTo>
                      <a:pt x="2129" y="1841"/>
                    </a:lnTo>
                    <a:lnTo>
                      <a:pt x="2134" y="1835"/>
                    </a:lnTo>
                    <a:lnTo>
                      <a:pt x="2140" y="1826"/>
                    </a:lnTo>
                    <a:lnTo>
                      <a:pt x="2144" y="1817"/>
                    </a:lnTo>
                    <a:lnTo>
                      <a:pt x="2148" y="1807"/>
                    </a:lnTo>
                    <a:lnTo>
                      <a:pt x="2151" y="1797"/>
                    </a:lnTo>
                    <a:lnTo>
                      <a:pt x="2154" y="1786"/>
                    </a:lnTo>
                    <a:lnTo>
                      <a:pt x="2155" y="1774"/>
                    </a:lnTo>
                    <a:lnTo>
                      <a:pt x="2157" y="1761"/>
                    </a:lnTo>
                    <a:lnTo>
                      <a:pt x="2158" y="1747"/>
                    </a:lnTo>
                    <a:lnTo>
                      <a:pt x="2158" y="1747"/>
                    </a:lnTo>
                    <a:lnTo>
                      <a:pt x="2157" y="1734"/>
                    </a:lnTo>
                    <a:lnTo>
                      <a:pt x="2155" y="1722"/>
                    </a:lnTo>
                    <a:lnTo>
                      <a:pt x="2153" y="1710"/>
                    </a:lnTo>
                    <a:lnTo>
                      <a:pt x="2151" y="1699"/>
                    </a:lnTo>
                    <a:lnTo>
                      <a:pt x="2148" y="1689"/>
                    </a:lnTo>
                    <a:lnTo>
                      <a:pt x="2143" y="1680"/>
                    </a:lnTo>
                    <a:lnTo>
                      <a:pt x="2139" y="1672"/>
                    </a:lnTo>
                    <a:lnTo>
                      <a:pt x="2133" y="1664"/>
                    </a:lnTo>
                    <a:lnTo>
                      <a:pt x="2128" y="1657"/>
                    </a:lnTo>
                    <a:lnTo>
                      <a:pt x="2121" y="1651"/>
                    </a:lnTo>
                    <a:lnTo>
                      <a:pt x="2113" y="1645"/>
                    </a:lnTo>
                    <a:lnTo>
                      <a:pt x="2106" y="1641"/>
                    </a:lnTo>
                    <a:lnTo>
                      <a:pt x="2098" y="1637"/>
                    </a:lnTo>
                    <a:lnTo>
                      <a:pt x="2089" y="1635"/>
                    </a:lnTo>
                    <a:lnTo>
                      <a:pt x="2079" y="1634"/>
                    </a:lnTo>
                    <a:lnTo>
                      <a:pt x="2069" y="1633"/>
                    </a:lnTo>
                    <a:lnTo>
                      <a:pt x="2069" y="1633"/>
                    </a:lnTo>
                    <a:close/>
                    <a:moveTo>
                      <a:pt x="2059" y="1684"/>
                    </a:moveTo>
                    <a:lnTo>
                      <a:pt x="2059" y="1684"/>
                    </a:lnTo>
                    <a:lnTo>
                      <a:pt x="2067" y="1685"/>
                    </a:lnTo>
                    <a:lnTo>
                      <a:pt x="2075" y="1687"/>
                    </a:lnTo>
                    <a:lnTo>
                      <a:pt x="2081" y="1691"/>
                    </a:lnTo>
                    <a:lnTo>
                      <a:pt x="2088" y="1698"/>
                    </a:lnTo>
                    <a:lnTo>
                      <a:pt x="2094" y="1706"/>
                    </a:lnTo>
                    <a:lnTo>
                      <a:pt x="2097" y="1717"/>
                    </a:lnTo>
                    <a:lnTo>
                      <a:pt x="2100" y="1730"/>
                    </a:lnTo>
                    <a:lnTo>
                      <a:pt x="2101" y="1746"/>
                    </a:lnTo>
                    <a:lnTo>
                      <a:pt x="2101" y="1746"/>
                    </a:lnTo>
                    <a:lnTo>
                      <a:pt x="2100" y="1762"/>
                    </a:lnTo>
                    <a:lnTo>
                      <a:pt x="2098" y="1776"/>
                    </a:lnTo>
                    <a:lnTo>
                      <a:pt x="2096" y="1787"/>
                    </a:lnTo>
                    <a:lnTo>
                      <a:pt x="2091" y="1797"/>
                    </a:lnTo>
                    <a:lnTo>
                      <a:pt x="2085" y="1805"/>
                    </a:lnTo>
                    <a:lnTo>
                      <a:pt x="2078" y="1811"/>
                    </a:lnTo>
                    <a:lnTo>
                      <a:pt x="2070" y="1814"/>
                    </a:lnTo>
                    <a:lnTo>
                      <a:pt x="2061" y="1815"/>
                    </a:lnTo>
                    <a:lnTo>
                      <a:pt x="2061" y="1815"/>
                    </a:lnTo>
                    <a:lnTo>
                      <a:pt x="2053" y="1814"/>
                    </a:lnTo>
                    <a:lnTo>
                      <a:pt x="2046" y="1813"/>
                    </a:lnTo>
                    <a:lnTo>
                      <a:pt x="2041" y="1810"/>
                    </a:lnTo>
                    <a:lnTo>
                      <a:pt x="2035" y="1807"/>
                    </a:lnTo>
                    <a:lnTo>
                      <a:pt x="2026" y="1800"/>
                    </a:lnTo>
                    <a:lnTo>
                      <a:pt x="2021" y="1794"/>
                    </a:lnTo>
                    <a:lnTo>
                      <a:pt x="2021" y="1706"/>
                    </a:lnTo>
                    <a:lnTo>
                      <a:pt x="2021" y="1706"/>
                    </a:lnTo>
                    <a:lnTo>
                      <a:pt x="2024" y="1701"/>
                    </a:lnTo>
                    <a:lnTo>
                      <a:pt x="2029" y="1697"/>
                    </a:lnTo>
                    <a:lnTo>
                      <a:pt x="2033" y="1693"/>
                    </a:lnTo>
                    <a:lnTo>
                      <a:pt x="2037" y="1689"/>
                    </a:lnTo>
                    <a:lnTo>
                      <a:pt x="2043" y="1687"/>
                    </a:lnTo>
                    <a:lnTo>
                      <a:pt x="2048" y="1685"/>
                    </a:lnTo>
                    <a:lnTo>
                      <a:pt x="2054" y="1684"/>
                    </a:lnTo>
                    <a:lnTo>
                      <a:pt x="2059" y="1684"/>
                    </a:lnTo>
                    <a:lnTo>
                      <a:pt x="2059" y="1684"/>
                    </a:lnTo>
                    <a:close/>
                    <a:moveTo>
                      <a:pt x="1445" y="1654"/>
                    </a:moveTo>
                    <a:lnTo>
                      <a:pt x="1445" y="1654"/>
                    </a:lnTo>
                    <a:lnTo>
                      <a:pt x="1440" y="1650"/>
                    </a:lnTo>
                    <a:lnTo>
                      <a:pt x="1435" y="1645"/>
                    </a:lnTo>
                    <a:lnTo>
                      <a:pt x="1428" y="1642"/>
                    </a:lnTo>
                    <a:lnTo>
                      <a:pt x="1423" y="1639"/>
                    </a:lnTo>
                    <a:lnTo>
                      <a:pt x="1416" y="1636"/>
                    </a:lnTo>
                    <a:lnTo>
                      <a:pt x="1409" y="1634"/>
                    </a:lnTo>
                    <a:lnTo>
                      <a:pt x="1403" y="1634"/>
                    </a:lnTo>
                    <a:lnTo>
                      <a:pt x="1396" y="1633"/>
                    </a:lnTo>
                    <a:lnTo>
                      <a:pt x="1396" y="1633"/>
                    </a:lnTo>
                    <a:lnTo>
                      <a:pt x="1386" y="1634"/>
                    </a:lnTo>
                    <a:lnTo>
                      <a:pt x="1376" y="1635"/>
                    </a:lnTo>
                    <a:lnTo>
                      <a:pt x="1367" y="1637"/>
                    </a:lnTo>
                    <a:lnTo>
                      <a:pt x="1360" y="1641"/>
                    </a:lnTo>
                    <a:lnTo>
                      <a:pt x="1352" y="1645"/>
                    </a:lnTo>
                    <a:lnTo>
                      <a:pt x="1344" y="1651"/>
                    </a:lnTo>
                    <a:lnTo>
                      <a:pt x="1338" y="1657"/>
                    </a:lnTo>
                    <a:lnTo>
                      <a:pt x="1332" y="1664"/>
                    </a:lnTo>
                    <a:lnTo>
                      <a:pt x="1327" y="1672"/>
                    </a:lnTo>
                    <a:lnTo>
                      <a:pt x="1322" y="1680"/>
                    </a:lnTo>
                    <a:lnTo>
                      <a:pt x="1318" y="1689"/>
                    </a:lnTo>
                    <a:lnTo>
                      <a:pt x="1314" y="1699"/>
                    </a:lnTo>
                    <a:lnTo>
                      <a:pt x="1312" y="1710"/>
                    </a:lnTo>
                    <a:lnTo>
                      <a:pt x="1310" y="1722"/>
                    </a:lnTo>
                    <a:lnTo>
                      <a:pt x="1309" y="1734"/>
                    </a:lnTo>
                    <a:lnTo>
                      <a:pt x="1309" y="1747"/>
                    </a:lnTo>
                    <a:lnTo>
                      <a:pt x="1309" y="1747"/>
                    </a:lnTo>
                    <a:lnTo>
                      <a:pt x="1309" y="1761"/>
                    </a:lnTo>
                    <a:lnTo>
                      <a:pt x="1310" y="1773"/>
                    </a:lnTo>
                    <a:lnTo>
                      <a:pt x="1312" y="1785"/>
                    </a:lnTo>
                    <a:lnTo>
                      <a:pt x="1314" y="1796"/>
                    </a:lnTo>
                    <a:lnTo>
                      <a:pt x="1318" y="1807"/>
                    </a:lnTo>
                    <a:lnTo>
                      <a:pt x="1321" y="1817"/>
                    </a:lnTo>
                    <a:lnTo>
                      <a:pt x="1327" y="1826"/>
                    </a:lnTo>
                    <a:lnTo>
                      <a:pt x="1331" y="1834"/>
                    </a:lnTo>
                    <a:lnTo>
                      <a:pt x="1338" y="1841"/>
                    </a:lnTo>
                    <a:lnTo>
                      <a:pt x="1343" y="1847"/>
                    </a:lnTo>
                    <a:lnTo>
                      <a:pt x="1351" y="1853"/>
                    </a:lnTo>
                    <a:lnTo>
                      <a:pt x="1359" y="1857"/>
                    </a:lnTo>
                    <a:lnTo>
                      <a:pt x="1366" y="1860"/>
                    </a:lnTo>
                    <a:lnTo>
                      <a:pt x="1375" y="1864"/>
                    </a:lnTo>
                    <a:lnTo>
                      <a:pt x="1385" y="1865"/>
                    </a:lnTo>
                    <a:lnTo>
                      <a:pt x="1395" y="1865"/>
                    </a:lnTo>
                    <a:lnTo>
                      <a:pt x="1395" y="1865"/>
                    </a:lnTo>
                    <a:lnTo>
                      <a:pt x="1402" y="1865"/>
                    </a:lnTo>
                    <a:lnTo>
                      <a:pt x="1408" y="1864"/>
                    </a:lnTo>
                    <a:lnTo>
                      <a:pt x="1415" y="1862"/>
                    </a:lnTo>
                    <a:lnTo>
                      <a:pt x="1421" y="1860"/>
                    </a:lnTo>
                    <a:lnTo>
                      <a:pt x="1428" y="1857"/>
                    </a:lnTo>
                    <a:lnTo>
                      <a:pt x="1434" y="1853"/>
                    </a:lnTo>
                    <a:lnTo>
                      <a:pt x="1439" y="1849"/>
                    </a:lnTo>
                    <a:lnTo>
                      <a:pt x="1445" y="1844"/>
                    </a:lnTo>
                    <a:lnTo>
                      <a:pt x="1445" y="1849"/>
                    </a:lnTo>
                    <a:lnTo>
                      <a:pt x="1445" y="1849"/>
                    </a:lnTo>
                    <a:lnTo>
                      <a:pt x="1445" y="1858"/>
                    </a:lnTo>
                    <a:lnTo>
                      <a:pt x="1444" y="1868"/>
                    </a:lnTo>
                    <a:lnTo>
                      <a:pt x="1441" y="1878"/>
                    </a:lnTo>
                    <a:lnTo>
                      <a:pt x="1439" y="1882"/>
                    </a:lnTo>
                    <a:lnTo>
                      <a:pt x="1436" y="1887"/>
                    </a:lnTo>
                    <a:lnTo>
                      <a:pt x="1433" y="1891"/>
                    </a:lnTo>
                    <a:lnTo>
                      <a:pt x="1428" y="1896"/>
                    </a:lnTo>
                    <a:lnTo>
                      <a:pt x="1421" y="1899"/>
                    </a:lnTo>
                    <a:lnTo>
                      <a:pt x="1415" y="1901"/>
                    </a:lnTo>
                    <a:lnTo>
                      <a:pt x="1407" y="1904"/>
                    </a:lnTo>
                    <a:lnTo>
                      <a:pt x="1397" y="1905"/>
                    </a:lnTo>
                    <a:lnTo>
                      <a:pt x="1386" y="1908"/>
                    </a:lnTo>
                    <a:lnTo>
                      <a:pt x="1374" y="1908"/>
                    </a:lnTo>
                    <a:lnTo>
                      <a:pt x="1372" y="1908"/>
                    </a:lnTo>
                    <a:lnTo>
                      <a:pt x="1391" y="1951"/>
                    </a:lnTo>
                    <a:lnTo>
                      <a:pt x="1392" y="1951"/>
                    </a:lnTo>
                    <a:lnTo>
                      <a:pt x="1392" y="1951"/>
                    </a:lnTo>
                    <a:lnTo>
                      <a:pt x="1405" y="1951"/>
                    </a:lnTo>
                    <a:lnTo>
                      <a:pt x="1417" y="1948"/>
                    </a:lnTo>
                    <a:lnTo>
                      <a:pt x="1429" y="1946"/>
                    </a:lnTo>
                    <a:lnTo>
                      <a:pt x="1439" y="1943"/>
                    </a:lnTo>
                    <a:lnTo>
                      <a:pt x="1449" y="1940"/>
                    </a:lnTo>
                    <a:lnTo>
                      <a:pt x="1458" y="1935"/>
                    </a:lnTo>
                    <a:lnTo>
                      <a:pt x="1466" y="1929"/>
                    </a:lnTo>
                    <a:lnTo>
                      <a:pt x="1473" y="1923"/>
                    </a:lnTo>
                    <a:lnTo>
                      <a:pt x="1480" y="1915"/>
                    </a:lnTo>
                    <a:lnTo>
                      <a:pt x="1484" y="1907"/>
                    </a:lnTo>
                    <a:lnTo>
                      <a:pt x="1490" y="1898"/>
                    </a:lnTo>
                    <a:lnTo>
                      <a:pt x="1493" y="1888"/>
                    </a:lnTo>
                    <a:lnTo>
                      <a:pt x="1497" y="1877"/>
                    </a:lnTo>
                    <a:lnTo>
                      <a:pt x="1499" y="1866"/>
                    </a:lnTo>
                    <a:lnTo>
                      <a:pt x="1500" y="1854"/>
                    </a:lnTo>
                    <a:lnTo>
                      <a:pt x="1500" y="1839"/>
                    </a:lnTo>
                    <a:lnTo>
                      <a:pt x="1500" y="1639"/>
                    </a:lnTo>
                    <a:lnTo>
                      <a:pt x="1445" y="1639"/>
                    </a:lnTo>
                    <a:lnTo>
                      <a:pt x="1445" y="1654"/>
                    </a:lnTo>
                    <a:close/>
                    <a:moveTo>
                      <a:pt x="1445" y="1706"/>
                    </a:moveTo>
                    <a:lnTo>
                      <a:pt x="1445" y="1793"/>
                    </a:lnTo>
                    <a:lnTo>
                      <a:pt x="1445" y="1793"/>
                    </a:lnTo>
                    <a:lnTo>
                      <a:pt x="1438" y="1801"/>
                    </a:lnTo>
                    <a:lnTo>
                      <a:pt x="1429" y="1808"/>
                    </a:lnTo>
                    <a:lnTo>
                      <a:pt x="1425" y="1811"/>
                    </a:lnTo>
                    <a:lnTo>
                      <a:pt x="1419" y="1813"/>
                    </a:lnTo>
                    <a:lnTo>
                      <a:pt x="1413" y="1814"/>
                    </a:lnTo>
                    <a:lnTo>
                      <a:pt x="1406" y="1815"/>
                    </a:lnTo>
                    <a:lnTo>
                      <a:pt x="1406" y="1815"/>
                    </a:lnTo>
                    <a:lnTo>
                      <a:pt x="1398" y="1814"/>
                    </a:lnTo>
                    <a:lnTo>
                      <a:pt x="1392" y="1812"/>
                    </a:lnTo>
                    <a:lnTo>
                      <a:pt x="1384" y="1807"/>
                    </a:lnTo>
                    <a:lnTo>
                      <a:pt x="1378" y="1802"/>
                    </a:lnTo>
                    <a:lnTo>
                      <a:pt x="1373" y="1793"/>
                    </a:lnTo>
                    <a:lnTo>
                      <a:pt x="1369" y="1781"/>
                    </a:lnTo>
                    <a:lnTo>
                      <a:pt x="1365" y="1765"/>
                    </a:lnTo>
                    <a:lnTo>
                      <a:pt x="1364" y="1746"/>
                    </a:lnTo>
                    <a:lnTo>
                      <a:pt x="1364" y="1746"/>
                    </a:lnTo>
                    <a:lnTo>
                      <a:pt x="1365" y="1728"/>
                    </a:lnTo>
                    <a:lnTo>
                      <a:pt x="1369" y="1715"/>
                    </a:lnTo>
                    <a:lnTo>
                      <a:pt x="1373" y="1704"/>
                    </a:lnTo>
                    <a:lnTo>
                      <a:pt x="1378" y="1696"/>
                    </a:lnTo>
                    <a:lnTo>
                      <a:pt x="1384" y="1689"/>
                    </a:lnTo>
                    <a:lnTo>
                      <a:pt x="1392" y="1686"/>
                    </a:lnTo>
                    <a:lnTo>
                      <a:pt x="1398" y="1684"/>
                    </a:lnTo>
                    <a:lnTo>
                      <a:pt x="1406" y="1684"/>
                    </a:lnTo>
                    <a:lnTo>
                      <a:pt x="1406" y="1684"/>
                    </a:lnTo>
                    <a:lnTo>
                      <a:pt x="1413" y="1684"/>
                    </a:lnTo>
                    <a:lnTo>
                      <a:pt x="1419" y="1686"/>
                    </a:lnTo>
                    <a:lnTo>
                      <a:pt x="1426" y="1688"/>
                    </a:lnTo>
                    <a:lnTo>
                      <a:pt x="1430" y="1690"/>
                    </a:lnTo>
                    <a:lnTo>
                      <a:pt x="1435" y="1695"/>
                    </a:lnTo>
                    <a:lnTo>
                      <a:pt x="1439" y="1698"/>
                    </a:lnTo>
                    <a:lnTo>
                      <a:pt x="1445" y="1706"/>
                    </a:lnTo>
                    <a:lnTo>
                      <a:pt x="1445" y="1706"/>
                    </a:lnTo>
                    <a:close/>
                    <a:moveTo>
                      <a:pt x="1671" y="1693"/>
                    </a:moveTo>
                    <a:lnTo>
                      <a:pt x="1671" y="1693"/>
                    </a:lnTo>
                    <a:lnTo>
                      <a:pt x="1684" y="1686"/>
                    </a:lnTo>
                    <a:lnTo>
                      <a:pt x="1697" y="1682"/>
                    </a:lnTo>
                    <a:lnTo>
                      <a:pt x="1712" y="1678"/>
                    </a:lnTo>
                    <a:lnTo>
                      <a:pt x="1727" y="1677"/>
                    </a:lnTo>
                    <a:lnTo>
                      <a:pt x="1727" y="1677"/>
                    </a:lnTo>
                    <a:lnTo>
                      <a:pt x="1737" y="1678"/>
                    </a:lnTo>
                    <a:lnTo>
                      <a:pt x="1745" y="1679"/>
                    </a:lnTo>
                    <a:lnTo>
                      <a:pt x="1751" y="1682"/>
                    </a:lnTo>
                    <a:lnTo>
                      <a:pt x="1757" y="1686"/>
                    </a:lnTo>
                    <a:lnTo>
                      <a:pt x="1761" y="1690"/>
                    </a:lnTo>
                    <a:lnTo>
                      <a:pt x="1765" y="1696"/>
                    </a:lnTo>
                    <a:lnTo>
                      <a:pt x="1767" y="1701"/>
                    </a:lnTo>
                    <a:lnTo>
                      <a:pt x="1767" y="1709"/>
                    </a:lnTo>
                    <a:lnTo>
                      <a:pt x="1767" y="1725"/>
                    </a:lnTo>
                    <a:lnTo>
                      <a:pt x="1767" y="1725"/>
                    </a:lnTo>
                    <a:lnTo>
                      <a:pt x="1757" y="1720"/>
                    </a:lnTo>
                    <a:lnTo>
                      <a:pt x="1745" y="1717"/>
                    </a:lnTo>
                    <a:lnTo>
                      <a:pt x="1733" y="1715"/>
                    </a:lnTo>
                    <a:lnTo>
                      <a:pt x="1719" y="1714"/>
                    </a:lnTo>
                    <a:lnTo>
                      <a:pt x="1719" y="1714"/>
                    </a:lnTo>
                    <a:lnTo>
                      <a:pt x="1704" y="1715"/>
                    </a:lnTo>
                    <a:lnTo>
                      <a:pt x="1689" y="1718"/>
                    </a:lnTo>
                    <a:lnTo>
                      <a:pt x="1674" y="1722"/>
                    </a:lnTo>
                    <a:lnTo>
                      <a:pt x="1667" y="1726"/>
                    </a:lnTo>
                    <a:lnTo>
                      <a:pt x="1660" y="1730"/>
                    </a:lnTo>
                    <a:lnTo>
                      <a:pt x="1654" y="1734"/>
                    </a:lnTo>
                    <a:lnTo>
                      <a:pt x="1649" y="1740"/>
                    </a:lnTo>
                    <a:lnTo>
                      <a:pt x="1643" y="1746"/>
                    </a:lnTo>
                    <a:lnTo>
                      <a:pt x="1639" y="1752"/>
                    </a:lnTo>
                    <a:lnTo>
                      <a:pt x="1636" y="1760"/>
                    </a:lnTo>
                    <a:lnTo>
                      <a:pt x="1633" y="1769"/>
                    </a:lnTo>
                    <a:lnTo>
                      <a:pt x="1632" y="1778"/>
                    </a:lnTo>
                    <a:lnTo>
                      <a:pt x="1631" y="1786"/>
                    </a:lnTo>
                    <a:lnTo>
                      <a:pt x="1631" y="1786"/>
                    </a:lnTo>
                    <a:lnTo>
                      <a:pt x="1632" y="1797"/>
                    </a:lnTo>
                    <a:lnTo>
                      <a:pt x="1633" y="1807"/>
                    </a:lnTo>
                    <a:lnTo>
                      <a:pt x="1636" y="1815"/>
                    </a:lnTo>
                    <a:lnTo>
                      <a:pt x="1639" y="1824"/>
                    </a:lnTo>
                    <a:lnTo>
                      <a:pt x="1642" y="1830"/>
                    </a:lnTo>
                    <a:lnTo>
                      <a:pt x="1648" y="1837"/>
                    </a:lnTo>
                    <a:lnTo>
                      <a:pt x="1652" y="1843"/>
                    </a:lnTo>
                    <a:lnTo>
                      <a:pt x="1659" y="1848"/>
                    </a:lnTo>
                    <a:lnTo>
                      <a:pt x="1664" y="1853"/>
                    </a:lnTo>
                    <a:lnTo>
                      <a:pt x="1671" y="1856"/>
                    </a:lnTo>
                    <a:lnTo>
                      <a:pt x="1685" y="1861"/>
                    </a:lnTo>
                    <a:lnTo>
                      <a:pt x="1700" y="1865"/>
                    </a:lnTo>
                    <a:lnTo>
                      <a:pt x="1714" y="1866"/>
                    </a:lnTo>
                    <a:lnTo>
                      <a:pt x="1714" y="1866"/>
                    </a:lnTo>
                    <a:lnTo>
                      <a:pt x="1726" y="1864"/>
                    </a:lnTo>
                    <a:lnTo>
                      <a:pt x="1734" y="1862"/>
                    </a:lnTo>
                    <a:lnTo>
                      <a:pt x="1740" y="1860"/>
                    </a:lnTo>
                    <a:lnTo>
                      <a:pt x="1748" y="1857"/>
                    </a:lnTo>
                    <a:lnTo>
                      <a:pt x="1755" y="1853"/>
                    </a:lnTo>
                    <a:lnTo>
                      <a:pt x="1761" y="1848"/>
                    </a:lnTo>
                    <a:lnTo>
                      <a:pt x="1767" y="1843"/>
                    </a:lnTo>
                    <a:lnTo>
                      <a:pt x="1767" y="1860"/>
                    </a:lnTo>
                    <a:lnTo>
                      <a:pt x="1822" y="1860"/>
                    </a:lnTo>
                    <a:lnTo>
                      <a:pt x="1822" y="1710"/>
                    </a:lnTo>
                    <a:lnTo>
                      <a:pt x="1822" y="1710"/>
                    </a:lnTo>
                    <a:lnTo>
                      <a:pt x="1822" y="1701"/>
                    </a:lnTo>
                    <a:lnTo>
                      <a:pt x="1821" y="1694"/>
                    </a:lnTo>
                    <a:lnTo>
                      <a:pt x="1819" y="1686"/>
                    </a:lnTo>
                    <a:lnTo>
                      <a:pt x="1817" y="1678"/>
                    </a:lnTo>
                    <a:lnTo>
                      <a:pt x="1812" y="1672"/>
                    </a:lnTo>
                    <a:lnTo>
                      <a:pt x="1809" y="1665"/>
                    </a:lnTo>
                    <a:lnTo>
                      <a:pt x="1803" y="1659"/>
                    </a:lnTo>
                    <a:lnTo>
                      <a:pt x="1798" y="1654"/>
                    </a:lnTo>
                    <a:lnTo>
                      <a:pt x="1792" y="1650"/>
                    </a:lnTo>
                    <a:lnTo>
                      <a:pt x="1786" y="1645"/>
                    </a:lnTo>
                    <a:lnTo>
                      <a:pt x="1778" y="1642"/>
                    </a:lnTo>
                    <a:lnTo>
                      <a:pt x="1770" y="1639"/>
                    </a:lnTo>
                    <a:lnTo>
                      <a:pt x="1761" y="1636"/>
                    </a:lnTo>
                    <a:lnTo>
                      <a:pt x="1753" y="1635"/>
                    </a:lnTo>
                    <a:lnTo>
                      <a:pt x="1743" y="1634"/>
                    </a:lnTo>
                    <a:lnTo>
                      <a:pt x="1733" y="1633"/>
                    </a:lnTo>
                    <a:lnTo>
                      <a:pt x="1733" y="1633"/>
                    </a:lnTo>
                    <a:lnTo>
                      <a:pt x="1721" y="1634"/>
                    </a:lnTo>
                    <a:lnTo>
                      <a:pt x="1711" y="1634"/>
                    </a:lnTo>
                    <a:lnTo>
                      <a:pt x="1700" y="1636"/>
                    </a:lnTo>
                    <a:lnTo>
                      <a:pt x="1689" y="1639"/>
                    </a:lnTo>
                    <a:lnTo>
                      <a:pt x="1679" y="1642"/>
                    </a:lnTo>
                    <a:lnTo>
                      <a:pt x="1669" y="1645"/>
                    </a:lnTo>
                    <a:lnTo>
                      <a:pt x="1659" y="1650"/>
                    </a:lnTo>
                    <a:lnTo>
                      <a:pt x="1649" y="1655"/>
                    </a:lnTo>
                    <a:lnTo>
                      <a:pt x="1671" y="1693"/>
                    </a:lnTo>
                    <a:close/>
                    <a:moveTo>
                      <a:pt x="1686" y="1786"/>
                    </a:moveTo>
                    <a:lnTo>
                      <a:pt x="1686" y="1786"/>
                    </a:lnTo>
                    <a:lnTo>
                      <a:pt x="1686" y="1780"/>
                    </a:lnTo>
                    <a:lnTo>
                      <a:pt x="1689" y="1773"/>
                    </a:lnTo>
                    <a:lnTo>
                      <a:pt x="1692" y="1768"/>
                    </a:lnTo>
                    <a:lnTo>
                      <a:pt x="1696" y="1763"/>
                    </a:lnTo>
                    <a:lnTo>
                      <a:pt x="1702" y="1760"/>
                    </a:lnTo>
                    <a:lnTo>
                      <a:pt x="1708" y="1758"/>
                    </a:lnTo>
                    <a:lnTo>
                      <a:pt x="1716" y="1755"/>
                    </a:lnTo>
                    <a:lnTo>
                      <a:pt x="1724" y="1755"/>
                    </a:lnTo>
                    <a:lnTo>
                      <a:pt x="1724" y="1755"/>
                    </a:lnTo>
                    <a:lnTo>
                      <a:pt x="1736" y="1755"/>
                    </a:lnTo>
                    <a:lnTo>
                      <a:pt x="1747" y="1758"/>
                    </a:lnTo>
                    <a:lnTo>
                      <a:pt x="1757" y="1761"/>
                    </a:lnTo>
                    <a:lnTo>
                      <a:pt x="1767" y="1766"/>
                    </a:lnTo>
                    <a:lnTo>
                      <a:pt x="1767" y="1796"/>
                    </a:lnTo>
                    <a:lnTo>
                      <a:pt x="1767" y="1796"/>
                    </a:lnTo>
                    <a:lnTo>
                      <a:pt x="1765" y="1801"/>
                    </a:lnTo>
                    <a:lnTo>
                      <a:pt x="1760" y="1805"/>
                    </a:lnTo>
                    <a:lnTo>
                      <a:pt x="1756" y="1810"/>
                    </a:lnTo>
                    <a:lnTo>
                      <a:pt x="1750" y="1813"/>
                    </a:lnTo>
                    <a:lnTo>
                      <a:pt x="1745" y="1816"/>
                    </a:lnTo>
                    <a:lnTo>
                      <a:pt x="1738" y="1818"/>
                    </a:lnTo>
                    <a:lnTo>
                      <a:pt x="1732" y="1819"/>
                    </a:lnTo>
                    <a:lnTo>
                      <a:pt x="1724" y="1821"/>
                    </a:lnTo>
                    <a:lnTo>
                      <a:pt x="1724" y="1821"/>
                    </a:lnTo>
                    <a:lnTo>
                      <a:pt x="1716" y="1819"/>
                    </a:lnTo>
                    <a:lnTo>
                      <a:pt x="1708" y="1817"/>
                    </a:lnTo>
                    <a:lnTo>
                      <a:pt x="1702" y="1815"/>
                    </a:lnTo>
                    <a:lnTo>
                      <a:pt x="1696" y="1811"/>
                    </a:lnTo>
                    <a:lnTo>
                      <a:pt x="1692" y="1806"/>
                    </a:lnTo>
                    <a:lnTo>
                      <a:pt x="1689" y="1801"/>
                    </a:lnTo>
                    <a:lnTo>
                      <a:pt x="1687" y="1794"/>
                    </a:lnTo>
                    <a:lnTo>
                      <a:pt x="1686" y="1786"/>
                    </a:lnTo>
                    <a:lnTo>
                      <a:pt x="1686" y="1786"/>
                    </a:lnTo>
                    <a:close/>
                    <a:moveTo>
                      <a:pt x="2333" y="1796"/>
                    </a:moveTo>
                    <a:lnTo>
                      <a:pt x="2333" y="1796"/>
                    </a:lnTo>
                    <a:lnTo>
                      <a:pt x="2325" y="1803"/>
                    </a:lnTo>
                    <a:lnTo>
                      <a:pt x="2315" y="1808"/>
                    </a:lnTo>
                    <a:lnTo>
                      <a:pt x="2310" y="1811"/>
                    </a:lnTo>
                    <a:lnTo>
                      <a:pt x="2303" y="1813"/>
                    </a:lnTo>
                    <a:lnTo>
                      <a:pt x="2297" y="1814"/>
                    </a:lnTo>
                    <a:lnTo>
                      <a:pt x="2290" y="1815"/>
                    </a:lnTo>
                    <a:lnTo>
                      <a:pt x="2290" y="1815"/>
                    </a:lnTo>
                    <a:lnTo>
                      <a:pt x="2285" y="1814"/>
                    </a:lnTo>
                    <a:lnTo>
                      <a:pt x="2278" y="1814"/>
                    </a:lnTo>
                    <a:lnTo>
                      <a:pt x="2270" y="1812"/>
                    </a:lnTo>
                    <a:lnTo>
                      <a:pt x="2261" y="1807"/>
                    </a:lnTo>
                    <a:lnTo>
                      <a:pt x="2254" y="1802"/>
                    </a:lnTo>
                    <a:lnTo>
                      <a:pt x="2250" y="1797"/>
                    </a:lnTo>
                    <a:lnTo>
                      <a:pt x="2247" y="1793"/>
                    </a:lnTo>
                    <a:lnTo>
                      <a:pt x="2245" y="1787"/>
                    </a:lnTo>
                    <a:lnTo>
                      <a:pt x="2243" y="1781"/>
                    </a:lnTo>
                    <a:lnTo>
                      <a:pt x="2242" y="1774"/>
                    </a:lnTo>
                    <a:lnTo>
                      <a:pt x="2240" y="1766"/>
                    </a:lnTo>
                    <a:lnTo>
                      <a:pt x="2376" y="1766"/>
                    </a:lnTo>
                    <a:lnTo>
                      <a:pt x="2376" y="1766"/>
                    </a:lnTo>
                    <a:lnTo>
                      <a:pt x="2377" y="1750"/>
                    </a:lnTo>
                    <a:lnTo>
                      <a:pt x="2377" y="1750"/>
                    </a:lnTo>
                    <a:lnTo>
                      <a:pt x="2377" y="1737"/>
                    </a:lnTo>
                    <a:lnTo>
                      <a:pt x="2375" y="1725"/>
                    </a:lnTo>
                    <a:lnTo>
                      <a:pt x="2374" y="1712"/>
                    </a:lnTo>
                    <a:lnTo>
                      <a:pt x="2371" y="1701"/>
                    </a:lnTo>
                    <a:lnTo>
                      <a:pt x="2367" y="1691"/>
                    </a:lnTo>
                    <a:lnTo>
                      <a:pt x="2363" y="1682"/>
                    </a:lnTo>
                    <a:lnTo>
                      <a:pt x="2357" y="1673"/>
                    </a:lnTo>
                    <a:lnTo>
                      <a:pt x="2352" y="1665"/>
                    </a:lnTo>
                    <a:lnTo>
                      <a:pt x="2345" y="1657"/>
                    </a:lnTo>
                    <a:lnTo>
                      <a:pt x="2339" y="1652"/>
                    </a:lnTo>
                    <a:lnTo>
                      <a:pt x="2331" y="1646"/>
                    </a:lnTo>
                    <a:lnTo>
                      <a:pt x="2322" y="1642"/>
                    </a:lnTo>
                    <a:lnTo>
                      <a:pt x="2313" y="1639"/>
                    </a:lnTo>
                    <a:lnTo>
                      <a:pt x="2304" y="1635"/>
                    </a:lnTo>
                    <a:lnTo>
                      <a:pt x="2294" y="1634"/>
                    </a:lnTo>
                    <a:lnTo>
                      <a:pt x="2283" y="1633"/>
                    </a:lnTo>
                    <a:lnTo>
                      <a:pt x="2283" y="1633"/>
                    </a:lnTo>
                    <a:lnTo>
                      <a:pt x="2274" y="1634"/>
                    </a:lnTo>
                    <a:lnTo>
                      <a:pt x="2264" y="1635"/>
                    </a:lnTo>
                    <a:lnTo>
                      <a:pt x="2254" y="1639"/>
                    </a:lnTo>
                    <a:lnTo>
                      <a:pt x="2244" y="1642"/>
                    </a:lnTo>
                    <a:lnTo>
                      <a:pt x="2235" y="1646"/>
                    </a:lnTo>
                    <a:lnTo>
                      <a:pt x="2227" y="1653"/>
                    </a:lnTo>
                    <a:lnTo>
                      <a:pt x="2219" y="1658"/>
                    </a:lnTo>
                    <a:lnTo>
                      <a:pt x="2213" y="1666"/>
                    </a:lnTo>
                    <a:lnTo>
                      <a:pt x="2206" y="1674"/>
                    </a:lnTo>
                    <a:lnTo>
                      <a:pt x="2201" y="1683"/>
                    </a:lnTo>
                    <a:lnTo>
                      <a:pt x="2196" y="1693"/>
                    </a:lnTo>
                    <a:lnTo>
                      <a:pt x="2192" y="1703"/>
                    </a:lnTo>
                    <a:lnTo>
                      <a:pt x="2189" y="1714"/>
                    </a:lnTo>
                    <a:lnTo>
                      <a:pt x="2186" y="1726"/>
                    </a:lnTo>
                    <a:lnTo>
                      <a:pt x="2185" y="1737"/>
                    </a:lnTo>
                    <a:lnTo>
                      <a:pt x="2184" y="1750"/>
                    </a:lnTo>
                    <a:lnTo>
                      <a:pt x="2184" y="1750"/>
                    </a:lnTo>
                    <a:lnTo>
                      <a:pt x="2185" y="1762"/>
                    </a:lnTo>
                    <a:lnTo>
                      <a:pt x="2186" y="1774"/>
                    </a:lnTo>
                    <a:lnTo>
                      <a:pt x="2189" y="1786"/>
                    </a:lnTo>
                    <a:lnTo>
                      <a:pt x="2192" y="1797"/>
                    </a:lnTo>
                    <a:lnTo>
                      <a:pt x="2196" y="1807"/>
                    </a:lnTo>
                    <a:lnTo>
                      <a:pt x="2201" y="1817"/>
                    </a:lnTo>
                    <a:lnTo>
                      <a:pt x="2206" y="1826"/>
                    </a:lnTo>
                    <a:lnTo>
                      <a:pt x="2213" y="1834"/>
                    </a:lnTo>
                    <a:lnTo>
                      <a:pt x="2221" y="1840"/>
                    </a:lnTo>
                    <a:lnTo>
                      <a:pt x="2228" y="1847"/>
                    </a:lnTo>
                    <a:lnTo>
                      <a:pt x="2237" y="1853"/>
                    </a:lnTo>
                    <a:lnTo>
                      <a:pt x="2246" y="1857"/>
                    </a:lnTo>
                    <a:lnTo>
                      <a:pt x="2256" y="1860"/>
                    </a:lnTo>
                    <a:lnTo>
                      <a:pt x="2267" y="1864"/>
                    </a:lnTo>
                    <a:lnTo>
                      <a:pt x="2278" y="1865"/>
                    </a:lnTo>
                    <a:lnTo>
                      <a:pt x="2290" y="1866"/>
                    </a:lnTo>
                    <a:lnTo>
                      <a:pt x="2290" y="1866"/>
                    </a:lnTo>
                    <a:lnTo>
                      <a:pt x="2301" y="1865"/>
                    </a:lnTo>
                    <a:lnTo>
                      <a:pt x="2311" y="1864"/>
                    </a:lnTo>
                    <a:lnTo>
                      <a:pt x="2322" y="1860"/>
                    </a:lnTo>
                    <a:lnTo>
                      <a:pt x="2332" y="1857"/>
                    </a:lnTo>
                    <a:lnTo>
                      <a:pt x="2342" y="1851"/>
                    </a:lnTo>
                    <a:lnTo>
                      <a:pt x="2351" y="1846"/>
                    </a:lnTo>
                    <a:lnTo>
                      <a:pt x="2360" y="1838"/>
                    </a:lnTo>
                    <a:lnTo>
                      <a:pt x="2368" y="1830"/>
                    </a:lnTo>
                    <a:lnTo>
                      <a:pt x="2333" y="1796"/>
                    </a:lnTo>
                    <a:close/>
                    <a:moveTo>
                      <a:pt x="2242" y="1726"/>
                    </a:moveTo>
                    <a:lnTo>
                      <a:pt x="2242" y="1726"/>
                    </a:lnTo>
                    <a:lnTo>
                      <a:pt x="2243" y="1716"/>
                    </a:lnTo>
                    <a:lnTo>
                      <a:pt x="2245" y="1707"/>
                    </a:lnTo>
                    <a:lnTo>
                      <a:pt x="2248" y="1699"/>
                    </a:lnTo>
                    <a:lnTo>
                      <a:pt x="2254" y="1693"/>
                    </a:lnTo>
                    <a:lnTo>
                      <a:pt x="2259" y="1687"/>
                    </a:lnTo>
                    <a:lnTo>
                      <a:pt x="2266" y="1684"/>
                    </a:lnTo>
                    <a:lnTo>
                      <a:pt x="2274" y="1680"/>
                    </a:lnTo>
                    <a:lnTo>
                      <a:pt x="2282" y="1680"/>
                    </a:lnTo>
                    <a:lnTo>
                      <a:pt x="2282" y="1680"/>
                    </a:lnTo>
                    <a:lnTo>
                      <a:pt x="2292" y="1682"/>
                    </a:lnTo>
                    <a:lnTo>
                      <a:pt x="2301" y="1684"/>
                    </a:lnTo>
                    <a:lnTo>
                      <a:pt x="2308" y="1688"/>
                    </a:lnTo>
                    <a:lnTo>
                      <a:pt x="2313" y="1695"/>
                    </a:lnTo>
                    <a:lnTo>
                      <a:pt x="2318" y="1701"/>
                    </a:lnTo>
                    <a:lnTo>
                      <a:pt x="2321" y="1709"/>
                    </a:lnTo>
                    <a:lnTo>
                      <a:pt x="2323" y="1718"/>
                    </a:lnTo>
                    <a:lnTo>
                      <a:pt x="2324" y="1726"/>
                    </a:lnTo>
                    <a:lnTo>
                      <a:pt x="2242" y="1726"/>
                    </a:lnTo>
                    <a:close/>
                    <a:moveTo>
                      <a:pt x="2864" y="1796"/>
                    </a:moveTo>
                    <a:lnTo>
                      <a:pt x="2864" y="1796"/>
                    </a:lnTo>
                    <a:lnTo>
                      <a:pt x="2855" y="1803"/>
                    </a:lnTo>
                    <a:lnTo>
                      <a:pt x="2846" y="1808"/>
                    </a:lnTo>
                    <a:lnTo>
                      <a:pt x="2840" y="1811"/>
                    </a:lnTo>
                    <a:lnTo>
                      <a:pt x="2834" y="1813"/>
                    </a:lnTo>
                    <a:lnTo>
                      <a:pt x="2828" y="1814"/>
                    </a:lnTo>
                    <a:lnTo>
                      <a:pt x="2820" y="1815"/>
                    </a:lnTo>
                    <a:lnTo>
                      <a:pt x="2820" y="1815"/>
                    </a:lnTo>
                    <a:lnTo>
                      <a:pt x="2814" y="1814"/>
                    </a:lnTo>
                    <a:lnTo>
                      <a:pt x="2808" y="1814"/>
                    </a:lnTo>
                    <a:lnTo>
                      <a:pt x="2800" y="1812"/>
                    </a:lnTo>
                    <a:lnTo>
                      <a:pt x="2792" y="1807"/>
                    </a:lnTo>
                    <a:lnTo>
                      <a:pt x="2784" y="1802"/>
                    </a:lnTo>
                    <a:lnTo>
                      <a:pt x="2781" y="1797"/>
                    </a:lnTo>
                    <a:lnTo>
                      <a:pt x="2778" y="1793"/>
                    </a:lnTo>
                    <a:lnTo>
                      <a:pt x="2776" y="1787"/>
                    </a:lnTo>
                    <a:lnTo>
                      <a:pt x="2773" y="1781"/>
                    </a:lnTo>
                    <a:lnTo>
                      <a:pt x="2771" y="1774"/>
                    </a:lnTo>
                    <a:lnTo>
                      <a:pt x="2770" y="1766"/>
                    </a:lnTo>
                    <a:lnTo>
                      <a:pt x="2907" y="1766"/>
                    </a:lnTo>
                    <a:lnTo>
                      <a:pt x="2907" y="1766"/>
                    </a:lnTo>
                    <a:lnTo>
                      <a:pt x="2908" y="1750"/>
                    </a:lnTo>
                    <a:lnTo>
                      <a:pt x="2908" y="1750"/>
                    </a:lnTo>
                    <a:lnTo>
                      <a:pt x="2907" y="1737"/>
                    </a:lnTo>
                    <a:lnTo>
                      <a:pt x="2906" y="1725"/>
                    </a:lnTo>
                    <a:lnTo>
                      <a:pt x="2904" y="1712"/>
                    </a:lnTo>
                    <a:lnTo>
                      <a:pt x="2901" y="1701"/>
                    </a:lnTo>
                    <a:lnTo>
                      <a:pt x="2897" y="1691"/>
                    </a:lnTo>
                    <a:lnTo>
                      <a:pt x="2893" y="1682"/>
                    </a:lnTo>
                    <a:lnTo>
                      <a:pt x="2888" y="1673"/>
                    </a:lnTo>
                    <a:lnTo>
                      <a:pt x="2883" y="1665"/>
                    </a:lnTo>
                    <a:lnTo>
                      <a:pt x="2876" y="1657"/>
                    </a:lnTo>
                    <a:lnTo>
                      <a:pt x="2868" y="1652"/>
                    </a:lnTo>
                    <a:lnTo>
                      <a:pt x="2861" y="1646"/>
                    </a:lnTo>
                    <a:lnTo>
                      <a:pt x="2853" y="1642"/>
                    </a:lnTo>
                    <a:lnTo>
                      <a:pt x="2844" y="1639"/>
                    </a:lnTo>
                    <a:lnTo>
                      <a:pt x="2834" y="1635"/>
                    </a:lnTo>
                    <a:lnTo>
                      <a:pt x="2824" y="1634"/>
                    </a:lnTo>
                    <a:lnTo>
                      <a:pt x="2814" y="1633"/>
                    </a:lnTo>
                    <a:lnTo>
                      <a:pt x="2814" y="1633"/>
                    </a:lnTo>
                    <a:lnTo>
                      <a:pt x="2803" y="1634"/>
                    </a:lnTo>
                    <a:lnTo>
                      <a:pt x="2793" y="1635"/>
                    </a:lnTo>
                    <a:lnTo>
                      <a:pt x="2783" y="1639"/>
                    </a:lnTo>
                    <a:lnTo>
                      <a:pt x="2775" y="1642"/>
                    </a:lnTo>
                    <a:lnTo>
                      <a:pt x="2766" y="1646"/>
                    </a:lnTo>
                    <a:lnTo>
                      <a:pt x="2757" y="1653"/>
                    </a:lnTo>
                    <a:lnTo>
                      <a:pt x="2750" y="1658"/>
                    </a:lnTo>
                    <a:lnTo>
                      <a:pt x="2743" y="1666"/>
                    </a:lnTo>
                    <a:lnTo>
                      <a:pt x="2736" y="1674"/>
                    </a:lnTo>
                    <a:lnTo>
                      <a:pt x="2730" y="1683"/>
                    </a:lnTo>
                    <a:lnTo>
                      <a:pt x="2726" y="1693"/>
                    </a:lnTo>
                    <a:lnTo>
                      <a:pt x="2722" y="1703"/>
                    </a:lnTo>
                    <a:lnTo>
                      <a:pt x="2719" y="1714"/>
                    </a:lnTo>
                    <a:lnTo>
                      <a:pt x="2716" y="1726"/>
                    </a:lnTo>
                    <a:lnTo>
                      <a:pt x="2715" y="1737"/>
                    </a:lnTo>
                    <a:lnTo>
                      <a:pt x="2715" y="1750"/>
                    </a:lnTo>
                    <a:lnTo>
                      <a:pt x="2715" y="1750"/>
                    </a:lnTo>
                    <a:lnTo>
                      <a:pt x="2715" y="1762"/>
                    </a:lnTo>
                    <a:lnTo>
                      <a:pt x="2716" y="1774"/>
                    </a:lnTo>
                    <a:lnTo>
                      <a:pt x="2718" y="1786"/>
                    </a:lnTo>
                    <a:lnTo>
                      <a:pt x="2722" y="1797"/>
                    </a:lnTo>
                    <a:lnTo>
                      <a:pt x="2726" y="1807"/>
                    </a:lnTo>
                    <a:lnTo>
                      <a:pt x="2732" y="1817"/>
                    </a:lnTo>
                    <a:lnTo>
                      <a:pt x="2737" y="1826"/>
                    </a:lnTo>
                    <a:lnTo>
                      <a:pt x="2744" y="1834"/>
                    </a:lnTo>
                    <a:lnTo>
                      <a:pt x="2750" y="1840"/>
                    </a:lnTo>
                    <a:lnTo>
                      <a:pt x="2758" y="1847"/>
                    </a:lnTo>
                    <a:lnTo>
                      <a:pt x="2767" y="1853"/>
                    </a:lnTo>
                    <a:lnTo>
                      <a:pt x="2777" y="1857"/>
                    </a:lnTo>
                    <a:lnTo>
                      <a:pt x="2787" y="1860"/>
                    </a:lnTo>
                    <a:lnTo>
                      <a:pt x="2797" y="1864"/>
                    </a:lnTo>
                    <a:lnTo>
                      <a:pt x="2809" y="1865"/>
                    </a:lnTo>
                    <a:lnTo>
                      <a:pt x="2820" y="1866"/>
                    </a:lnTo>
                    <a:lnTo>
                      <a:pt x="2820" y="1866"/>
                    </a:lnTo>
                    <a:lnTo>
                      <a:pt x="2831" y="1865"/>
                    </a:lnTo>
                    <a:lnTo>
                      <a:pt x="2842" y="1864"/>
                    </a:lnTo>
                    <a:lnTo>
                      <a:pt x="2852" y="1860"/>
                    </a:lnTo>
                    <a:lnTo>
                      <a:pt x="2862" y="1857"/>
                    </a:lnTo>
                    <a:lnTo>
                      <a:pt x="2872" y="1851"/>
                    </a:lnTo>
                    <a:lnTo>
                      <a:pt x="2882" y="1846"/>
                    </a:lnTo>
                    <a:lnTo>
                      <a:pt x="2890" y="1838"/>
                    </a:lnTo>
                    <a:lnTo>
                      <a:pt x="2898" y="1830"/>
                    </a:lnTo>
                    <a:lnTo>
                      <a:pt x="2864" y="1796"/>
                    </a:lnTo>
                    <a:close/>
                    <a:moveTo>
                      <a:pt x="2771" y="1726"/>
                    </a:moveTo>
                    <a:lnTo>
                      <a:pt x="2771" y="1726"/>
                    </a:lnTo>
                    <a:lnTo>
                      <a:pt x="2772" y="1716"/>
                    </a:lnTo>
                    <a:lnTo>
                      <a:pt x="2776" y="1707"/>
                    </a:lnTo>
                    <a:lnTo>
                      <a:pt x="2779" y="1699"/>
                    </a:lnTo>
                    <a:lnTo>
                      <a:pt x="2783" y="1693"/>
                    </a:lnTo>
                    <a:lnTo>
                      <a:pt x="2790" y="1687"/>
                    </a:lnTo>
                    <a:lnTo>
                      <a:pt x="2797" y="1684"/>
                    </a:lnTo>
                    <a:lnTo>
                      <a:pt x="2804" y="1680"/>
                    </a:lnTo>
                    <a:lnTo>
                      <a:pt x="2813" y="1680"/>
                    </a:lnTo>
                    <a:lnTo>
                      <a:pt x="2813" y="1680"/>
                    </a:lnTo>
                    <a:lnTo>
                      <a:pt x="2823" y="1682"/>
                    </a:lnTo>
                    <a:lnTo>
                      <a:pt x="2831" y="1684"/>
                    </a:lnTo>
                    <a:lnTo>
                      <a:pt x="2839" y="1688"/>
                    </a:lnTo>
                    <a:lnTo>
                      <a:pt x="2844" y="1695"/>
                    </a:lnTo>
                    <a:lnTo>
                      <a:pt x="2849" y="1701"/>
                    </a:lnTo>
                    <a:lnTo>
                      <a:pt x="2852" y="1709"/>
                    </a:lnTo>
                    <a:lnTo>
                      <a:pt x="2854" y="1718"/>
                    </a:lnTo>
                    <a:lnTo>
                      <a:pt x="2855" y="1726"/>
                    </a:lnTo>
                    <a:lnTo>
                      <a:pt x="2771" y="1726"/>
                    </a:lnTo>
                    <a:close/>
                    <a:moveTo>
                      <a:pt x="2639" y="1783"/>
                    </a:moveTo>
                    <a:lnTo>
                      <a:pt x="2639" y="1783"/>
                    </a:lnTo>
                    <a:lnTo>
                      <a:pt x="2639" y="1791"/>
                    </a:lnTo>
                    <a:lnTo>
                      <a:pt x="2640" y="1796"/>
                    </a:lnTo>
                    <a:lnTo>
                      <a:pt x="2642" y="1802"/>
                    </a:lnTo>
                    <a:lnTo>
                      <a:pt x="2644" y="1806"/>
                    </a:lnTo>
                    <a:lnTo>
                      <a:pt x="2648" y="1810"/>
                    </a:lnTo>
                    <a:lnTo>
                      <a:pt x="2652" y="1812"/>
                    </a:lnTo>
                    <a:lnTo>
                      <a:pt x="2656" y="1813"/>
                    </a:lnTo>
                    <a:lnTo>
                      <a:pt x="2663" y="1813"/>
                    </a:lnTo>
                    <a:lnTo>
                      <a:pt x="2663" y="1813"/>
                    </a:lnTo>
                    <a:lnTo>
                      <a:pt x="2671" y="1813"/>
                    </a:lnTo>
                    <a:lnTo>
                      <a:pt x="2680" y="1811"/>
                    </a:lnTo>
                    <a:lnTo>
                      <a:pt x="2688" y="1807"/>
                    </a:lnTo>
                    <a:lnTo>
                      <a:pt x="2696" y="1803"/>
                    </a:lnTo>
                    <a:lnTo>
                      <a:pt x="2690" y="1855"/>
                    </a:lnTo>
                    <a:lnTo>
                      <a:pt x="2690" y="1855"/>
                    </a:lnTo>
                    <a:lnTo>
                      <a:pt x="2680" y="1859"/>
                    </a:lnTo>
                    <a:lnTo>
                      <a:pt x="2668" y="1862"/>
                    </a:lnTo>
                    <a:lnTo>
                      <a:pt x="2655" y="1865"/>
                    </a:lnTo>
                    <a:lnTo>
                      <a:pt x="2643" y="1866"/>
                    </a:lnTo>
                    <a:lnTo>
                      <a:pt x="2643" y="1866"/>
                    </a:lnTo>
                    <a:lnTo>
                      <a:pt x="2636" y="1865"/>
                    </a:lnTo>
                    <a:lnTo>
                      <a:pt x="2628" y="1864"/>
                    </a:lnTo>
                    <a:lnTo>
                      <a:pt x="2621" y="1861"/>
                    </a:lnTo>
                    <a:lnTo>
                      <a:pt x="2616" y="1859"/>
                    </a:lnTo>
                    <a:lnTo>
                      <a:pt x="2610" y="1856"/>
                    </a:lnTo>
                    <a:lnTo>
                      <a:pt x="2605" y="1853"/>
                    </a:lnTo>
                    <a:lnTo>
                      <a:pt x="2601" y="1848"/>
                    </a:lnTo>
                    <a:lnTo>
                      <a:pt x="2597" y="1843"/>
                    </a:lnTo>
                    <a:lnTo>
                      <a:pt x="2591" y="1833"/>
                    </a:lnTo>
                    <a:lnTo>
                      <a:pt x="2587" y="1821"/>
                    </a:lnTo>
                    <a:lnTo>
                      <a:pt x="2585" y="1810"/>
                    </a:lnTo>
                    <a:lnTo>
                      <a:pt x="2584" y="1797"/>
                    </a:lnTo>
                    <a:lnTo>
                      <a:pt x="2584" y="1689"/>
                    </a:lnTo>
                    <a:lnTo>
                      <a:pt x="2549" y="1689"/>
                    </a:lnTo>
                    <a:lnTo>
                      <a:pt x="2549" y="1639"/>
                    </a:lnTo>
                    <a:lnTo>
                      <a:pt x="2584" y="1639"/>
                    </a:lnTo>
                    <a:lnTo>
                      <a:pt x="2584" y="1581"/>
                    </a:lnTo>
                    <a:lnTo>
                      <a:pt x="2639" y="1554"/>
                    </a:lnTo>
                    <a:lnTo>
                      <a:pt x="2639" y="1639"/>
                    </a:lnTo>
                    <a:lnTo>
                      <a:pt x="2688" y="1639"/>
                    </a:lnTo>
                    <a:lnTo>
                      <a:pt x="2688" y="1689"/>
                    </a:lnTo>
                    <a:lnTo>
                      <a:pt x="2639" y="1689"/>
                    </a:lnTo>
                    <a:lnTo>
                      <a:pt x="2639" y="1783"/>
                    </a:lnTo>
                    <a:close/>
                    <a:moveTo>
                      <a:pt x="2532" y="1855"/>
                    </a:moveTo>
                    <a:lnTo>
                      <a:pt x="2532" y="1855"/>
                    </a:lnTo>
                    <a:lnTo>
                      <a:pt x="2522" y="1859"/>
                    </a:lnTo>
                    <a:lnTo>
                      <a:pt x="2511" y="1862"/>
                    </a:lnTo>
                    <a:lnTo>
                      <a:pt x="2499" y="1865"/>
                    </a:lnTo>
                    <a:lnTo>
                      <a:pt x="2487" y="1866"/>
                    </a:lnTo>
                    <a:lnTo>
                      <a:pt x="2487" y="1866"/>
                    </a:lnTo>
                    <a:lnTo>
                      <a:pt x="2478" y="1865"/>
                    </a:lnTo>
                    <a:lnTo>
                      <a:pt x="2471" y="1864"/>
                    </a:lnTo>
                    <a:lnTo>
                      <a:pt x="2464" y="1861"/>
                    </a:lnTo>
                    <a:lnTo>
                      <a:pt x="2458" y="1859"/>
                    </a:lnTo>
                    <a:lnTo>
                      <a:pt x="2453" y="1856"/>
                    </a:lnTo>
                    <a:lnTo>
                      <a:pt x="2448" y="1853"/>
                    </a:lnTo>
                    <a:lnTo>
                      <a:pt x="2443" y="1848"/>
                    </a:lnTo>
                    <a:lnTo>
                      <a:pt x="2440" y="1843"/>
                    </a:lnTo>
                    <a:lnTo>
                      <a:pt x="2434" y="1833"/>
                    </a:lnTo>
                    <a:lnTo>
                      <a:pt x="2430" y="1821"/>
                    </a:lnTo>
                    <a:lnTo>
                      <a:pt x="2427" y="1810"/>
                    </a:lnTo>
                    <a:lnTo>
                      <a:pt x="2427" y="1797"/>
                    </a:lnTo>
                    <a:lnTo>
                      <a:pt x="2427" y="1689"/>
                    </a:lnTo>
                    <a:lnTo>
                      <a:pt x="2393" y="1689"/>
                    </a:lnTo>
                    <a:lnTo>
                      <a:pt x="2393" y="1639"/>
                    </a:lnTo>
                    <a:lnTo>
                      <a:pt x="2427" y="1639"/>
                    </a:lnTo>
                    <a:lnTo>
                      <a:pt x="2427" y="1581"/>
                    </a:lnTo>
                    <a:lnTo>
                      <a:pt x="2482" y="1554"/>
                    </a:lnTo>
                    <a:lnTo>
                      <a:pt x="2482" y="1639"/>
                    </a:lnTo>
                    <a:lnTo>
                      <a:pt x="2528" y="1639"/>
                    </a:lnTo>
                    <a:lnTo>
                      <a:pt x="2528" y="1689"/>
                    </a:lnTo>
                    <a:lnTo>
                      <a:pt x="2482" y="1689"/>
                    </a:lnTo>
                    <a:lnTo>
                      <a:pt x="2482" y="1783"/>
                    </a:lnTo>
                    <a:lnTo>
                      <a:pt x="2482" y="1783"/>
                    </a:lnTo>
                    <a:lnTo>
                      <a:pt x="2482" y="1791"/>
                    </a:lnTo>
                    <a:lnTo>
                      <a:pt x="2483" y="1796"/>
                    </a:lnTo>
                    <a:lnTo>
                      <a:pt x="2485" y="1802"/>
                    </a:lnTo>
                    <a:lnTo>
                      <a:pt x="2488" y="1806"/>
                    </a:lnTo>
                    <a:lnTo>
                      <a:pt x="2491" y="1810"/>
                    </a:lnTo>
                    <a:lnTo>
                      <a:pt x="2495" y="1812"/>
                    </a:lnTo>
                    <a:lnTo>
                      <a:pt x="2500" y="1813"/>
                    </a:lnTo>
                    <a:lnTo>
                      <a:pt x="2505" y="1813"/>
                    </a:lnTo>
                    <a:lnTo>
                      <a:pt x="2505" y="1813"/>
                    </a:lnTo>
                    <a:lnTo>
                      <a:pt x="2514" y="1813"/>
                    </a:lnTo>
                    <a:lnTo>
                      <a:pt x="2523" y="1811"/>
                    </a:lnTo>
                    <a:lnTo>
                      <a:pt x="2531" y="1807"/>
                    </a:lnTo>
                    <a:lnTo>
                      <a:pt x="2538" y="1803"/>
                    </a:lnTo>
                    <a:lnTo>
                      <a:pt x="2532" y="1855"/>
                    </a:lnTo>
                    <a:close/>
                    <a:moveTo>
                      <a:pt x="3074" y="1700"/>
                    </a:moveTo>
                    <a:lnTo>
                      <a:pt x="3074" y="1700"/>
                    </a:lnTo>
                    <a:lnTo>
                      <a:pt x="3066" y="1695"/>
                    </a:lnTo>
                    <a:lnTo>
                      <a:pt x="3057" y="1691"/>
                    </a:lnTo>
                    <a:lnTo>
                      <a:pt x="3047" y="1689"/>
                    </a:lnTo>
                    <a:lnTo>
                      <a:pt x="3037" y="1688"/>
                    </a:lnTo>
                    <a:lnTo>
                      <a:pt x="3037" y="1688"/>
                    </a:lnTo>
                    <a:lnTo>
                      <a:pt x="3028" y="1689"/>
                    </a:lnTo>
                    <a:lnTo>
                      <a:pt x="3020" y="1691"/>
                    </a:lnTo>
                    <a:lnTo>
                      <a:pt x="3013" y="1696"/>
                    </a:lnTo>
                    <a:lnTo>
                      <a:pt x="3007" y="1701"/>
                    </a:lnTo>
                    <a:lnTo>
                      <a:pt x="3003" y="1708"/>
                    </a:lnTo>
                    <a:lnTo>
                      <a:pt x="3001" y="1717"/>
                    </a:lnTo>
                    <a:lnTo>
                      <a:pt x="2999" y="1728"/>
                    </a:lnTo>
                    <a:lnTo>
                      <a:pt x="2998" y="1740"/>
                    </a:lnTo>
                    <a:lnTo>
                      <a:pt x="2998" y="1860"/>
                    </a:lnTo>
                    <a:lnTo>
                      <a:pt x="2943" y="1860"/>
                    </a:lnTo>
                    <a:lnTo>
                      <a:pt x="2943" y="1639"/>
                    </a:lnTo>
                    <a:lnTo>
                      <a:pt x="2998" y="1639"/>
                    </a:lnTo>
                    <a:lnTo>
                      <a:pt x="2998" y="1657"/>
                    </a:lnTo>
                    <a:lnTo>
                      <a:pt x="2998" y="1657"/>
                    </a:lnTo>
                    <a:lnTo>
                      <a:pt x="3003" y="1652"/>
                    </a:lnTo>
                    <a:lnTo>
                      <a:pt x="3009" y="1646"/>
                    </a:lnTo>
                    <a:lnTo>
                      <a:pt x="3014" y="1643"/>
                    </a:lnTo>
                    <a:lnTo>
                      <a:pt x="3021" y="1640"/>
                    </a:lnTo>
                    <a:lnTo>
                      <a:pt x="3026" y="1636"/>
                    </a:lnTo>
                    <a:lnTo>
                      <a:pt x="3033" y="1635"/>
                    </a:lnTo>
                    <a:lnTo>
                      <a:pt x="3039" y="1634"/>
                    </a:lnTo>
                    <a:lnTo>
                      <a:pt x="3047" y="1633"/>
                    </a:lnTo>
                    <a:lnTo>
                      <a:pt x="3047" y="1633"/>
                    </a:lnTo>
                    <a:lnTo>
                      <a:pt x="3058" y="1634"/>
                    </a:lnTo>
                    <a:lnTo>
                      <a:pt x="3069" y="1637"/>
                    </a:lnTo>
                    <a:lnTo>
                      <a:pt x="3079" y="1641"/>
                    </a:lnTo>
                    <a:lnTo>
                      <a:pt x="3088" y="1646"/>
                    </a:lnTo>
                    <a:lnTo>
                      <a:pt x="3074" y="1700"/>
                    </a:lnTo>
                    <a:close/>
                    <a:moveTo>
                      <a:pt x="593" y="1579"/>
                    </a:moveTo>
                    <a:lnTo>
                      <a:pt x="593" y="1607"/>
                    </a:lnTo>
                    <a:lnTo>
                      <a:pt x="537" y="1607"/>
                    </a:lnTo>
                    <a:lnTo>
                      <a:pt x="537" y="1551"/>
                    </a:lnTo>
                    <a:lnTo>
                      <a:pt x="593" y="1551"/>
                    </a:lnTo>
                    <a:lnTo>
                      <a:pt x="593" y="1579"/>
                    </a:lnTo>
                    <a:close/>
                    <a:moveTo>
                      <a:pt x="975" y="1639"/>
                    </a:moveTo>
                    <a:lnTo>
                      <a:pt x="1030" y="1639"/>
                    </a:lnTo>
                    <a:lnTo>
                      <a:pt x="1030" y="1738"/>
                    </a:lnTo>
                    <a:lnTo>
                      <a:pt x="1030" y="1860"/>
                    </a:lnTo>
                    <a:lnTo>
                      <a:pt x="975" y="1860"/>
                    </a:lnTo>
                    <a:lnTo>
                      <a:pt x="975" y="1639"/>
                    </a:lnTo>
                    <a:close/>
                    <a:moveTo>
                      <a:pt x="1030" y="1579"/>
                    </a:moveTo>
                    <a:lnTo>
                      <a:pt x="1030" y="1607"/>
                    </a:lnTo>
                    <a:lnTo>
                      <a:pt x="975" y="1607"/>
                    </a:lnTo>
                    <a:lnTo>
                      <a:pt x="975" y="1551"/>
                    </a:lnTo>
                    <a:lnTo>
                      <a:pt x="1030" y="1551"/>
                    </a:lnTo>
                    <a:lnTo>
                      <a:pt x="1030" y="1579"/>
                    </a:lnTo>
                    <a:close/>
                    <a:moveTo>
                      <a:pt x="2539" y="2042"/>
                    </a:moveTo>
                    <a:lnTo>
                      <a:pt x="2539" y="2042"/>
                    </a:lnTo>
                    <a:lnTo>
                      <a:pt x="2534" y="2038"/>
                    </a:lnTo>
                    <a:lnTo>
                      <a:pt x="2528" y="2033"/>
                    </a:lnTo>
                    <a:lnTo>
                      <a:pt x="2523" y="2030"/>
                    </a:lnTo>
                    <a:lnTo>
                      <a:pt x="2516" y="2027"/>
                    </a:lnTo>
                    <a:lnTo>
                      <a:pt x="2511" y="2025"/>
                    </a:lnTo>
                    <a:lnTo>
                      <a:pt x="2504" y="2024"/>
                    </a:lnTo>
                    <a:lnTo>
                      <a:pt x="2490" y="2021"/>
                    </a:lnTo>
                    <a:lnTo>
                      <a:pt x="2490" y="2021"/>
                    </a:lnTo>
                    <a:lnTo>
                      <a:pt x="2480" y="2022"/>
                    </a:lnTo>
                    <a:lnTo>
                      <a:pt x="2471" y="2024"/>
                    </a:lnTo>
                    <a:lnTo>
                      <a:pt x="2462" y="2027"/>
                    </a:lnTo>
                    <a:lnTo>
                      <a:pt x="2453" y="2030"/>
                    </a:lnTo>
                    <a:lnTo>
                      <a:pt x="2446" y="2035"/>
                    </a:lnTo>
                    <a:lnTo>
                      <a:pt x="2439" y="2039"/>
                    </a:lnTo>
                    <a:lnTo>
                      <a:pt x="2432" y="2046"/>
                    </a:lnTo>
                    <a:lnTo>
                      <a:pt x="2426" y="2052"/>
                    </a:lnTo>
                    <a:lnTo>
                      <a:pt x="2421" y="2060"/>
                    </a:lnTo>
                    <a:lnTo>
                      <a:pt x="2416" y="2069"/>
                    </a:lnTo>
                    <a:lnTo>
                      <a:pt x="2413" y="2078"/>
                    </a:lnTo>
                    <a:lnTo>
                      <a:pt x="2409" y="2089"/>
                    </a:lnTo>
                    <a:lnTo>
                      <a:pt x="2406" y="2099"/>
                    </a:lnTo>
                    <a:lnTo>
                      <a:pt x="2405" y="2111"/>
                    </a:lnTo>
                    <a:lnTo>
                      <a:pt x="2404" y="2123"/>
                    </a:lnTo>
                    <a:lnTo>
                      <a:pt x="2403" y="2136"/>
                    </a:lnTo>
                    <a:lnTo>
                      <a:pt x="2403" y="2136"/>
                    </a:lnTo>
                    <a:lnTo>
                      <a:pt x="2404" y="2149"/>
                    </a:lnTo>
                    <a:lnTo>
                      <a:pt x="2405" y="2161"/>
                    </a:lnTo>
                    <a:lnTo>
                      <a:pt x="2406" y="2174"/>
                    </a:lnTo>
                    <a:lnTo>
                      <a:pt x="2409" y="2186"/>
                    </a:lnTo>
                    <a:lnTo>
                      <a:pt x="2411" y="2196"/>
                    </a:lnTo>
                    <a:lnTo>
                      <a:pt x="2416" y="2206"/>
                    </a:lnTo>
                    <a:lnTo>
                      <a:pt x="2420" y="2214"/>
                    </a:lnTo>
                    <a:lnTo>
                      <a:pt x="2426" y="2222"/>
                    </a:lnTo>
                    <a:lnTo>
                      <a:pt x="2431" y="2230"/>
                    </a:lnTo>
                    <a:lnTo>
                      <a:pt x="2438" y="2235"/>
                    </a:lnTo>
                    <a:lnTo>
                      <a:pt x="2445" y="2241"/>
                    </a:lnTo>
                    <a:lnTo>
                      <a:pt x="2452" y="2245"/>
                    </a:lnTo>
                    <a:lnTo>
                      <a:pt x="2461" y="2250"/>
                    </a:lnTo>
                    <a:lnTo>
                      <a:pt x="2470" y="2252"/>
                    </a:lnTo>
                    <a:lnTo>
                      <a:pt x="2479" y="2253"/>
                    </a:lnTo>
                    <a:lnTo>
                      <a:pt x="2489" y="2254"/>
                    </a:lnTo>
                    <a:lnTo>
                      <a:pt x="2489" y="2254"/>
                    </a:lnTo>
                    <a:lnTo>
                      <a:pt x="2495" y="2253"/>
                    </a:lnTo>
                    <a:lnTo>
                      <a:pt x="2503" y="2252"/>
                    </a:lnTo>
                    <a:lnTo>
                      <a:pt x="2510" y="2251"/>
                    </a:lnTo>
                    <a:lnTo>
                      <a:pt x="2515" y="2249"/>
                    </a:lnTo>
                    <a:lnTo>
                      <a:pt x="2522" y="2245"/>
                    </a:lnTo>
                    <a:lnTo>
                      <a:pt x="2528" y="2242"/>
                    </a:lnTo>
                    <a:lnTo>
                      <a:pt x="2534" y="2238"/>
                    </a:lnTo>
                    <a:lnTo>
                      <a:pt x="2539" y="2232"/>
                    </a:lnTo>
                    <a:lnTo>
                      <a:pt x="2539" y="2249"/>
                    </a:lnTo>
                    <a:lnTo>
                      <a:pt x="2595" y="2249"/>
                    </a:lnTo>
                    <a:lnTo>
                      <a:pt x="2595" y="1934"/>
                    </a:lnTo>
                    <a:lnTo>
                      <a:pt x="2539" y="1962"/>
                    </a:lnTo>
                    <a:lnTo>
                      <a:pt x="2539" y="2042"/>
                    </a:lnTo>
                    <a:close/>
                    <a:moveTo>
                      <a:pt x="2501" y="2203"/>
                    </a:moveTo>
                    <a:lnTo>
                      <a:pt x="2501" y="2203"/>
                    </a:lnTo>
                    <a:lnTo>
                      <a:pt x="2493" y="2202"/>
                    </a:lnTo>
                    <a:lnTo>
                      <a:pt x="2487" y="2200"/>
                    </a:lnTo>
                    <a:lnTo>
                      <a:pt x="2479" y="2197"/>
                    </a:lnTo>
                    <a:lnTo>
                      <a:pt x="2472" y="2190"/>
                    </a:lnTo>
                    <a:lnTo>
                      <a:pt x="2467" y="2181"/>
                    </a:lnTo>
                    <a:lnTo>
                      <a:pt x="2462" y="2169"/>
                    </a:lnTo>
                    <a:lnTo>
                      <a:pt x="2460" y="2154"/>
                    </a:lnTo>
                    <a:lnTo>
                      <a:pt x="2459" y="2134"/>
                    </a:lnTo>
                    <a:lnTo>
                      <a:pt x="2459" y="2134"/>
                    </a:lnTo>
                    <a:lnTo>
                      <a:pt x="2460" y="2117"/>
                    </a:lnTo>
                    <a:lnTo>
                      <a:pt x="2462" y="2103"/>
                    </a:lnTo>
                    <a:lnTo>
                      <a:pt x="2467" y="2092"/>
                    </a:lnTo>
                    <a:lnTo>
                      <a:pt x="2472" y="2084"/>
                    </a:lnTo>
                    <a:lnTo>
                      <a:pt x="2479" y="2079"/>
                    </a:lnTo>
                    <a:lnTo>
                      <a:pt x="2485" y="2074"/>
                    </a:lnTo>
                    <a:lnTo>
                      <a:pt x="2493" y="2073"/>
                    </a:lnTo>
                    <a:lnTo>
                      <a:pt x="2500" y="2072"/>
                    </a:lnTo>
                    <a:lnTo>
                      <a:pt x="2500" y="2072"/>
                    </a:lnTo>
                    <a:lnTo>
                      <a:pt x="2507" y="2073"/>
                    </a:lnTo>
                    <a:lnTo>
                      <a:pt x="2514" y="2074"/>
                    </a:lnTo>
                    <a:lnTo>
                      <a:pt x="2520" y="2076"/>
                    </a:lnTo>
                    <a:lnTo>
                      <a:pt x="2525" y="2080"/>
                    </a:lnTo>
                    <a:lnTo>
                      <a:pt x="2530" y="2083"/>
                    </a:lnTo>
                    <a:lnTo>
                      <a:pt x="2534" y="2086"/>
                    </a:lnTo>
                    <a:lnTo>
                      <a:pt x="2539" y="2094"/>
                    </a:lnTo>
                    <a:lnTo>
                      <a:pt x="2539" y="2181"/>
                    </a:lnTo>
                    <a:lnTo>
                      <a:pt x="2539" y="2181"/>
                    </a:lnTo>
                    <a:lnTo>
                      <a:pt x="2533" y="2189"/>
                    </a:lnTo>
                    <a:lnTo>
                      <a:pt x="2525" y="2196"/>
                    </a:lnTo>
                    <a:lnTo>
                      <a:pt x="2520" y="2199"/>
                    </a:lnTo>
                    <a:lnTo>
                      <a:pt x="2514" y="2201"/>
                    </a:lnTo>
                    <a:lnTo>
                      <a:pt x="2507" y="2202"/>
                    </a:lnTo>
                    <a:lnTo>
                      <a:pt x="2501" y="2203"/>
                    </a:lnTo>
                    <a:lnTo>
                      <a:pt x="2501" y="2203"/>
                    </a:lnTo>
                    <a:close/>
                    <a:moveTo>
                      <a:pt x="672" y="2089"/>
                    </a:moveTo>
                    <a:lnTo>
                      <a:pt x="672" y="2089"/>
                    </a:lnTo>
                    <a:lnTo>
                      <a:pt x="664" y="2084"/>
                    </a:lnTo>
                    <a:lnTo>
                      <a:pt x="656" y="2080"/>
                    </a:lnTo>
                    <a:lnTo>
                      <a:pt x="646" y="2078"/>
                    </a:lnTo>
                    <a:lnTo>
                      <a:pt x="636" y="2076"/>
                    </a:lnTo>
                    <a:lnTo>
                      <a:pt x="636" y="2076"/>
                    </a:lnTo>
                    <a:lnTo>
                      <a:pt x="627" y="2078"/>
                    </a:lnTo>
                    <a:lnTo>
                      <a:pt x="618" y="2080"/>
                    </a:lnTo>
                    <a:lnTo>
                      <a:pt x="611" y="2084"/>
                    </a:lnTo>
                    <a:lnTo>
                      <a:pt x="606" y="2090"/>
                    </a:lnTo>
                    <a:lnTo>
                      <a:pt x="601" y="2096"/>
                    </a:lnTo>
                    <a:lnTo>
                      <a:pt x="599" y="2105"/>
                    </a:lnTo>
                    <a:lnTo>
                      <a:pt x="597" y="2116"/>
                    </a:lnTo>
                    <a:lnTo>
                      <a:pt x="596" y="2128"/>
                    </a:lnTo>
                    <a:lnTo>
                      <a:pt x="596" y="2249"/>
                    </a:lnTo>
                    <a:lnTo>
                      <a:pt x="542" y="2249"/>
                    </a:lnTo>
                    <a:lnTo>
                      <a:pt x="542" y="2027"/>
                    </a:lnTo>
                    <a:lnTo>
                      <a:pt x="596" y="2027"/>
                    </a:lnTo>
                    <a:lnTo>
                      <a:pt x="596" y="2046"/>
                    </a:lnTo>
                    <a:lnTo>
                      <a:pt x="596" y="2046"/>
                    </a:lnTo>
                    <a:lnTo>
                      <a:pt x="601" y="2040"/>
                    </a:lnTo>
                    <a:lnTo>
                      <a:pt x="607" y="2035"/>
                    </a:lnTo>
                    <a:lnTo>
                      <a:pt x="613" y="2031"/>
                    </a:lnTo>
                    <a:lnTo>
                      <a:pt x="619" y="2028"/>
                    </a:lnTo>
                    <a:lnTo>
                      <a:pt x="625" y="2025"/>
                    </a:lnTo>
                    <a:lnTo>
                      <a:pt x="631" y="2024"/>
                    </a:lnTo>
                    <a:lnTo>
                      <a:pt x="639" y="2022"/>
                    </a:lnTo>
                    <a:lnTo>
                      <a:pt x="646" y="2021"/>
                    </a:lnTo>
                    <a:lnTo>
                      <a:pt x="646" y="2021"/>
                    </a:lnTo>
                    <a:lnTo>
                      <a:pt x="657" y="2022"/>
                    </a:lnTo>
                    <a:lnTo>
                      <a:pt x="668" y="2026"/>
                    </a:lnTo>
                    <a:lnTo>
                      <a:pt x="679" y="2030"/>
                    </a:lnTo>
                    <a:lnTo>
                      <a:pt x="688" y="2036"/>
                    </a:lnTo>
                    <a:lnTo>
                      <a:pt x="672" y="2089"/>
                    </a:lnTo>
                    <a:close/>
                    <a:moveTo>
                      <a:pt x="241" y="2027"/>
                    </a:moveTo>
                    <a:lnTo>
                      <a:pt x="295" y="2027"/>
                    </a:lnTo>
                    <a:lnTo>
                      <a:pt x="232" y="2249"/>
                    </a:lnTo>
                    <a:lnTo>
                      <a:pt x="184" y="2249"/>
                    </a:lnTo>
                    <a:lnTo>
                      <a:pt x="160" y="2157"/>
                    </a:lnTo>
                    <a:lnTo>
                      <a:pt x="160" y="2157"/>
                    </a:lnTo>
                    <a:lnTo>
                      <a:pt x="148" y="2108"/>
                    </a:lnTo>
                    <a:lnTo>
                      <a:pt x="148" y="2108"/>
                    </a:lnTo>
                    <a:lnTo>
                      <a:pt x="142" y="2132"/>
                    </a:lnTo>
                    <a:lnTo>
                      <a:pt x="136" y="2158"/>
                    </a:lnTo>
                    <a:lnTo>
                      <a:pt x="110" y="2249"/>
                    </a:lnTo>
                    <a:lnTo>
                      <a:pt x="63" y="2249"/>
                    </a:lnTo>
                    <a:lnTo>
                      <a:pt x="63" y="2247"/>
                    </a:lnTo>
                    <a:lnTo>
                      <a:pt x="0" y="2027"/>
                    </a:lnTo>
                    <a:lnTo>
                      <a:pt x="57" y="2027"/>
                    </a:lnTo>
                    <a:lnTo>
                      <a:pt x="77" y="2110"/>
                    </a:lnTo>
                    <a:lnTo>
                      <a:pt x="77" y="2110"/>
                    </a:lnTo>
                    <a:lnTo>
                      <a:pt x="83" y="2136"/>
                    </a:lnTo>
                    <a:lnTo>
                      <a:pt x="88" y="2164"/>
                    </a:lnTo>
                    <a:lnTo>
                      <a:pt x="88" y="2164"/>
                    </a:lnTo>
                    <a:lnTo>
                      <a:pt x="95" y="2136"/>
                    </a:lnTo>
                    <a:lnTo>
                      <a:pt x="102" y="2108"/>
                    </a:lnTo>
                    <a:lnTo>
                      <a:pt x="125" y="2027"/>
                    </a:lnTo>
                    <a:lnTo>
                      <a:pt x="172" y="2027"/>
                    </a:lnTo>
                    <a:lnTo>
                      <a:pt x="195" y="2108"/>
                    </a:lnTo>
                    <a:lnTo>
                      <a:pt x="195" y="2108"/>
                    </a:lnTo>
                    <a:lnTo>
                      <a:pt x="202" y="2135"/>
                    </a:lnTo>
                    <a:lnTo>
                      <a:pt x="209" y="2165"/>
                    </a:lnTo>
                    <a:lnTo>
                      <a:pt x="209" y="2165"/>
                    </a:lnTo>
                    <a:lnTo>
                      <a:pt x="213" y="2139"/>
                    </a:lnTo>
                    <a:lnTo>
                      <a:pt x="220" y="2108"/>
                    </a:lnTo>
                    <a:lnTo>
                      <a:pt x="241" y="2027"/>
                    </a:lnTo>
                    <a:close/>
                    <a:moveTo>
                      <a:pt x="406" y="2021"/>
                    </a:moveTo>
                    <a:lnTo>
                      <a:pt x="406" y="2021"/>
                    </a:lnTo>
                    <a:lnTo>
                      <a:pt x="396" y="2022"/>
                    </a:lnTo>
                    <a:lnTo>
                      <a:pt x="385" y="2024"/>
                    </a:lnTo>
                    <a:lnTo>
                      <a:pt x="375" y="2027"/>
                    </a:lnTo>
                    <a:lnTo>
                      <a:pt x="366" y="2030"/>
                    </a:lnTo>
                    <a:lnTo>
                      <a:pt x="358" y="2035"/>
                    </a:lnTo>
                    <a:lnTo>
                      <a:pt x="349" y="2040"/>
                    </a:lnTo>
                    <a:lnTo>
                      <a:pt x="341" y="2047"/>
                    </a:lnTo>
                    <a:lnTo>
                      <a:pt x="334" y="2054"/>
                    </a:lnTo>
                    <a:lnTo>
                      <a:pt x="328" y="2062"/>
                    </a:lnTo>
                    <a:lnTo>
                      <a:pt x="322" y="2071"/>
                    </a:lnTo>
                    <a:lnTo>
                      <a:pt x="317" y="2081"/>
                    </a:lnTo>
                    <a:lnTo>
                      <a:pt x="313" y="2091"/>
                    </a:lnTo>
                    <a:lnTo>
                      <a:pt x="310" y="2102"/>
                    </a:lnTo>
                    <a:lnTo>
                      <a:pt x="308" y="2113"/>
                    </a:lnTo>
                    <a:lnTo>
                      <a:pt x="306" y="2125"/>
                    </a:lnTo>
                    <a:lnTo>
                      <a:pt x="306" y="2138"/>
                    </a:lnTo>
                    <a:lnTo>
                      <a:pt x="306" y="2138"/>
                    </a:lnTo>
                    <a:lnTo>
                      <a:pt x="306" y="2150"/>
                    </a:lnTo>
                    <a:lnTo>
                      <a:pt x="308" y="2163"/>
                    </a:lnTo>
                    <a:lnTo>
                      <a:pt x="310" y="2174"/>
                    </a:lnTo>
                    <a:lnTo>
                      <a:pt x="313" y="2185"/>
                    </a:lnTo>
                    <a:lnTo>
                      <a:pt x="317" y="2194"/>
                    </a:lnTo>
                    <a:lnTo>
                      <a:pt x="322" y="2204"/>
                    </a:lnTo>
                    <a:lnTo>
                      <a:pt x="328" y="2213"/>
                    </a:lnTo>
                    <a:lnTo>
                      <a:pt x="334" y="2221"/>
                    </a:lnTo>
                    <a:lnTo>
                      <a:pt x="341" y="2229"/>
                    </a:lnTo>
                    <a:lnTo>
                      <a:pt x="349" y="2235"/>
                    </a:lnTo>
                    <a:lnTo>
                      <a:pt x="358" y="2241"/>
                    </a:lnTo>
                    <a:lnTo>
                      <a:pt x="366" y="2245"/>
                    </a:lnTo>
                    <a:lnTo>
                      <a:pt x="375" y="2249"/>
                    </a:lnTo>
                    <a:lnTo>
                      <a:pt x="385" y="2252"/>
                    </a:lnTo>
                    <a:lnTo>
                      <a:pt x="396" y="2253"/>
                    </a:lnTo>
                    <a:lnTo>
                      <a:pt x="406" y="2254"/>
                    </a:lnTo>
                    <a:lnTo>
                      <a:pt x="406" y="2254"/>
                    </a:lnTo>
                    <a:lnTo>
                      <a:pt x="417" y="2253"/>
                    </a:lnTo>
                    <a:lnTo>
                      <a:pt x="428" y="2252"/>
                    </a:lnTo>
                    <a:lnTo>
                      <a:pt x="438" y="2249"/>
                    </a:lnTo>
                    <a:lnTo>
                      <a:pt x="447" y="2245"/>
                    </a:lnTo>
                    <a:lnTo>
                      <a:pt x="456" y="2241"/>
                    </a:lnTo>
                    <a:lnTo>
                      <a:pt x="465" y="2235"/>
                    </a:lnTo>
                    <a:lnTo>
                      <a:pt x="472" y="2229"/>
                    </a:lnTo>
                    <a:lnTo>
                      <a:pt x="479" y="2221"/>
                    </a:lnTo>
                    <a:lnTo>
                      <a:pt x="486" y="2213"/>
                    </a:lnTo>
                    <a:lnTo>
                      <a:pt x="491" y="2204"/>
                    </a:lnTo>
                    <a:lnTo>
                      <a:pt x="496" y="2194"/>
                    </a:lnTo>
                    <a:lnTo>
                      <a:pt x="500" y="2185"/>
                    </a:lnTo>
                    <a:lnTo>
                      <a:pt x="503" y="2174"/>
                    </a:lnTo>
                    <a:lnTo>
                      <a:pt x="505" y="2163"/>
                    </a:lnTo>
                    <a:lnTo>
                      <a:pt x="508" y="2150"/>
                    </a:lnTo>
                    <a:lnTo>
                      <a:pt x="508" y="2138"/>
                    </a:lnTo>
                    <a:lnTo>
                      <a:pt x="508" y="2138"/>
                    </a:lnTo>
                    <a:lnTo>
                      <a:pt x="508" y="2125"/>
                    </a:lnTo>
                    <a:lnTo>
                      <a:pt x="505" y="2113"/>
                    </a:lnTo>
                    <a:lnTo>
                      <a:pt x="503" y="2102"/>
                    </a:lnTo>
                    <a:lnTo>
                      <a:pt x="500" y="2091"/>
                    </a:lnTo>
                    <a:lnTo>
                      <a:pt x="496" y="2081"/>
                    </a:lnTo>
                    <a:lnTo>
                      <a:pt x="491" y="2071"/>
                    </a:lnTo>
                    <a:lnTo>
                      <a:pt x="486" y="2062"/>
                    </a:lnTo>
                    <a:lnTo>
                      <a:pt x="479" y="2054"/>
                    </a:lnTo>
                    <a:lnTo>
                      <a:pt x="472" y="2047"/>
                    </a:lnTo>
                    <a:lnTo>
                      <a:pt x="465" y="2040"/>
                    </a:lnTo>
                    <a:lnTo>
                      <a:pt x="456" y="2035"/>
                    </a:lnTo>
                    <a:lnTo>
                      <a:pt x="447" y="2030"/>
                    </a:lnTo>
                    <a:lnTo>
                      <a:pt x="438" y="2027"/>
                    </a:lnTo>
                    <a:lnTo>
                      <a:pt x="428" y="2024"/>
                    </a:lnTo>
                    <a:lnTo>
                      <a:pt x="417" y="2022"/>
                    </a:lnTo>
                    <a:lnTo>
                      <a:pt x="406" y="2021"/>
                    </a:lnTo>
                    <a:lnTo>
                      <a:pt x="406" y="2021"/>
                    </a:lnTo>
                    <a:close/>
                    <a:moveTo>
                      <a:pt x="406" y="2202"/>
                    </a:moveTo>
                    <a:lnTo>
                      <a:pt x="406" y="2202"/>
                    </a:lnTo>
                    <a:lnTo>
                      <a:pt x="396" y="2201"/>
                    </a:lnTo>
                    <a:lnTo>
                      <a:pt x="387" y="2198"/>
                    </a:lnTo>
                    <a:lnTo>
                      <a:pt x="381" y="2192"/>
                    </a:lnTo>
                    <a:lnTo>
                      <a:pt x="374" y="2185"/>
                    </a:lnTo>
                    <a:lnTo>
                      <a:pt x="369" y="2176"/>
                    </a:lnTo>
                    <a:lnTo>
                      <a:pt x="364" y="2165"/>
                    </a:lnTo>
                    <a:lnTo>
                      <a:pt x="362" y="2151"/>
                    </a:lnTo>
                    <a:lnTo>
                      <a:pt x="362" y="2138"/>
                    </a:lnTo>
                    <a:lnTo>
                      <a:pt x="362" y="2138"/>
                    </a:lnTo>
                    <a:lnTo>
                      <a:pt x="362" y="2124"/>
                    </a:lnTo>
                    <a:lnTo>
                      <a:pt x="364" y="2111"/>
                    </a:lnTo>
                    <a:lnTo>
                      <a:pt x="369" y="2101"/>
                    </a:lnTo>
                    <a:lnTo>
                      <a:pt x="374" y="2091"/>
                    </a:lnTo>
                    <a:lnTo>
                      <a:pt x="381" y="2083"/>
                    </a:lnTo>
                    <a:lnTo>
                      <a:pt x="387" y="2078"/>
                    </a:lnTo>
                    <a:lnTo>
                      <a:pt x="396" y="2074"/>
                    </a:lnTo>
                    <a:lnTo>
                      <a:pt x="406" y="2073"/>
                    </a:lnTo>
                    <a:lnTo>
                      <a:pt x="406" y="2073"/>
                    </a:lnTo>
                    <a:lnTo>
                      <a:pt x="416" y="2074"/>
                    </a:lnTo>
                    <a:lnTo>
                      <a:pt x="425" y="2078"/>
                    </a:lnTo>
                    <a:lnTo>
                      <a:pt x="433" y="2083"/>
                    </a:lnTo>
                    <a:lnTo>
                      <a:pt x="439" y="2091"/>
                    </a:lnTo>
                    <a:lnTo>
                      <a:pt x="445" y="2101"/>
                    </a:lnTo>
                    <a:lnTo>
                      <a:pt x="448" y="2111"/>
                    </a:lnTo>
                    <a:lnTo>
                      <a:pt x="450" y="2124"/>
                    </a:lnTo>
                    <a:lnTo>
                      <a:pt x="451" y="2138"/>
                    </a:lnTo>
                    <a:lnTo>
                      <a:pt x="451" y="2138"/>
                    </a:lnTo>
                    <a:lnTo>
                      <a:pt x="450" y="2151"/>
                    </a:lnTo>
                    <a:lnTo>
                      <a:pt x="448" y="2165"/>
                    </a:lnTo>
                    <a:lnTo>
                      <a:pt x="445" y="2176"/>
                    </a:lnTo>
                    <a:lnTo>
                      <a:pt x="439" y="2185"/>
                    </a:lnTo>
                    <a:lnTo>
                      <a:pt x="433" y="2192"/>
                    </a:lnTo>
                    <a:lnTo>
                      <a:pt x="425" y="2198"/>
                    </a:lnTo>
                    <a:lnTo>
                      <a:pt x="416" y="2201"/>
                    </a:lnTo>
                    <a:lnTo>
                      <a:pt x="406" y="2202"/>
                    </a:lnTo>
                    <a:lnTo>
                      <a:pt x="406" y="2202"/>
                    </a:lnTo>
                    <a:close/>
                    <a:moveTo>
                      <a:pt x="2269" y="2089"/>
                    </a:moveTo>
                    <a:lnTo>
                      <a:pt x="2269" y="2089"/>
                    </a:lnTo>
                    <a:lnTo>
                      <a:pt x="2260" y="2084"/>
                    </a:lnTo>
                    <a:lnTo>
                      <a:pt x="2251" y="2080"/>
                    </a:lnTo>
                    <a:lnTo>
                      <a:pt x="2242" y="2078"/>
                    </a:lnTo>
                    <a:lnTo>
                      <a:pt x="2233" y="2076"/>
                    </a:lnTo>
                    <a:lnTo>
                      <a:pt x="2233" y="2076"/>
                    </a:lnTo>
                    <a:lnTo>
                      <a:pt x="2223" y="2078"/>
                    </a:lnTo>
                    <a:lnTo>
                      <a:pt x="2215" y="2080"/>
                    </a:lnTo>
                    <a:lnTo>
                      <a:pt x="2208" y="2084"/>
                    </a:lnTo>
                    <a:lnTo>
                      <a:pt x="2203" y="2090"/>
                    </a:lnTo>
                    <a:lnTo>
                      <a:pt x="2198" y="2096"/>
                    </a:lnTo>
                    <a:lnTo>
                      <a:pt x="2195" y="2105"/>
                    </a:lnTo>
                    <a:lnTo>
                      <a:pt x="2193" y="2116"/>
                    </a:lnTo>
                    <a:lnTo>
                      <a:pt x="2193" y="2128"/>
                    </a:lnTo>
                    <a:lnTo>
                      <a:pt x="2193" y="2249"/>
                    </a:lnTo>
                    <a:lnTo>
                      <a:pt x="2138" y="2249"/>
                    </a:lnTo>
                    <a:lnTo>
                      <a:pt x="2138" y="2027"/>
                    </a:lnTo>
                    <a:lnTo>
                      <a:pt x="2193" y="2027"/>
                    </a:lnTo>
                    <a:lnTo>
                      <a:pt x="2193" y="2046"/>
                    </a:lnTo>
                    <a:lnTo>
                      <a:pt x="2193" y="2046"/>
                    </a:lnTo>
                    <a:lnTo>
                      <a:pt x="2197" y="2040"/>
                    </a:lnTo>
                    <a:lnTo>
                      <a:pt x="2203" y="2035"/>
                    </a:lnTo>
                    <a:lnTo>
                      <a:pt x="2208" y="2031"/>
                    </a:lnTo>
                    <a:lnTo>
                      <a:pt x="2215" y="2028"/>
                    </a:lnTo>
                    <a:lnTo>
                      <a:pt x="2222" y="2025"/>
                    </a:lnTo>
                    <a:lnTo>
                      <a:pt x="2228" y="2024"/>
                    </a:lnTo>
                    <a:lnTo>
                      <a:pt x="2235" y="2022"/>
                    </a:lnTo>
                    <a:lnTo>
                      <a:pt x="2242" y="2021"/>
                    </a:lnTo>
                    <a:lnTo>
                      <a:pt x="2242" y="2021"/>
                    </a:lnTo>
                    <a:lnTo>
                      <a:pt x="2253" y="2022"/>
                    </a:lnTo>
                    <a:lnTo>
                      <a:pt x="2264" y="2026"/>
                    </a:lnTo>
                    <a:lnTo>
                      <a:pt x="2275" y="2030"/>
                    </a:lnTo>
                    <a:lnTo>
                      <a:pt x="2283" y="2036"/>
                    </a:lnTo>
                    <a:lnTo>
                      <a:pt x="2269" y="2089"/>
                    </a:lnTo>
                    <a:close/>
                    <a:moveTo>
                      <a:pt x="1836" y="2027"/>
                    </a:moveTo>
                    <a:lnTo>
                      <a:pt x="1891" y="2027"/>
                    </a:lnTo>
                    <a:lnTo>
                      <a:pt x="1828" y="2249"/>
                    </a:lnTo>
                    <a:lnTo>
                      <a:pt x="1780" y="2249"/>
                    </a:lnTo>
                    <a:lnTo>
                      <a:pt x="1756" y="2157"/>
                    </a:lnTo>
                    <a:lnTo>
                      <a:pt x="1756" y="2157"/>
                    </a:lnTo>
                    <a:lnTo>
                      <a:pt x="1744" y="2108"/>
                    </a:lnTo>
                    <a:lnTo>
                      <a:pt x="1744" y="2108"/>
                    </a:lnTo>
                    <a:lnTo>
                      <a:pt x="1738" y="2132"/>
                    </a:lnTo>
                    <a:lnTo>
                      <a:pt x="1732" y="2158"/>
                    </a:lnTo>
                    <a:lnTo>
                      <a:pt x="1707" y="2249"/>
                    </a:lnTo>
                    <a:lnTo>
                      <a:pt x="1660" y="2249"/>
                    </a:lnTo>
                    <a:lnTo>
                      <a:pt x="1659" y="2247"/>
                    </a:lnTo>
                    <a:lnTo>
                      <a:pt x="1597" y="2027"/>
                    </a:lnTo>
                    <a:lnTo>
                      <a:pt x="1653" y="2027"/>
                    </a:lnTo>
                    <a:lnTo>
                      <a:pt x="1674" y="2110"/>
                    </a:lnTo>
                    <a:lnTo>
                      <a:pt x="1674" y="2110"/>
                    </a:lnTo>
                    <a:lnTo>
                      <a:pt x="1680" y="2136"/>
                    </a:lnTo>
                    <a:lnTo>
                      <a:pt x="1685" y="2164"/>
                    </a:lnTo>
                    <a:lnTo>
                      <a:pt x="1685" y="2164"/>
                    </a:lnTo>
                    <a:lnTo>
                      <a:pt x="1691" y="2136"/>
                    </a:lnTo>
                    <a:lnTo>
                      <a:pt x="1699" y="2108"/>
                    </a:lnTo>
                    <a:lnTo>
                      <a:pt x="1722" y="2027"/>
                    </a:lnTo>
                    <a:lnTo>
                      <a:pt x="1768" y="2027"/>
                    </a:lnTo>
                    <a:lnTo>
                      <a:pt x="1791" y="2108"/>
                    </a:lnTo>
                    <a:lnTo>
                      <a:pt x="1791" y="2108"/>
                    </a:lnTo>
                    <a:lnTo>
                      <a:pt x="1798" y="2135"/>
                    </a:lnTo>
                    <a:lnTo>
                      <a:pt x="1804" y="2165"/>
                    </a:lnTo>
                    <a:lnTo>
                      <a:pt x="1804" y="2165"/>
                    </a:lnTo>
                    <a:lnTo>
                      <a:pt x="1810" y="2139"/>
                    </a:lnTo>
                    <a:lnTo>
                      <a:pt x="1817" y="2108"/>
                    </a:lnTo>
                    <a:lnTo>
                      <a:pt x="1836" y="2027"/>
                    </a:lnTo>
                    <a:close/>
                    <a:moveTo>
                      <a:pt x="2002" y="2021"/>
                    </a:moveTo>
                    <a:lnTo>
                      <a:pt x="2002" y="2021"/>
                    </a:lnTo>
                    <a:lnTo>
                      <a:pt x="1992" y="2022"/>
                    </a:lnTo>
                    <a:lnTo>
                      <a:pt x="1981" y="2024"/>
                    </a:lnTo>
                    <a:lnTo>
                      <a:pt x="1971" y="2027"/>
                    </a:lnTo>
                    <a:lnTo>
                      <a:pt x="1962" y="2030"/>
                    </a:lnTo>
                    <a:lnTo>
                      <a:pt x="1953" y="2035"/>
                    </a:lnTo>
                    <a:lnTo>
                      <a:pt x="1945" y="2041"/>
                    </a:lnTo>
                    <a:lnTo>
                      <a:pt x="1937" y="2047"/>
                    </a:lnTo>
                    <a:lnTo>
                      <a:pt x="1930" y="2054"/>
                    </a:lnTo>
                    <a:lnTo>
                      <a:pt x="1924" y="2062"/>
                    </a:lnTo>
                    <a:lnTo>
                      <a:pt x="1918" y="2071"/>
                    </a:lnTo>
                    <a:lnTo>
                      <a:pt x="1913" y="2081"/>
                    </a:lnTo>
                    <a:lnTo>
                      <a:pt x="1909" y="2091"/>
                    </a:lnTo>
                    <a:lnTo>
                      <a:pt x="1906" y="2102"/>
                    </a:lnTo>
                    <a:lnTo>
                      <a:pt x="1903" y="2114"/>
                    </a:lnTo>
                    <a:lnTo>
                      <a:pt x="1902" y="2125"/>
                    </a:lnTo>
                    <a:lnTo>
                      <a:pt x="1902" y="2138"/>
                    </a:lnTo>
                    <a:lnTo>
                      <a:pt x="1902" y="2138"/>
                    </a:lnTo>
                    <a:lnTo>
                      <a:pt x="1902" y="2150"/>
                    </a:lnTo>
                    <a:lnTo>
                      <a:pt x="1903" y="2163"/>
                    </a:lnTo>
                    <a:lnTo>
                      <a:pt x="1906" y="2174"/>
                    </a:lnTo>
                    <a:lnTo>
                      <a:pt x="1909" y="2185"/>
                    </a:lnTo>
                    <a:lnTo>
                      <a:pt x="1913" y="2194"/>
                    </a:lnTo>
                    <a:lnTo>
                      <a:pt x="1918" y="2204"/>
                    </a:lnTo>
                    <a:lnTo>
                      <a:pt x="1924" y="2213"/>
                    </a:lnTo>
                    <a:lnTo>
                      <a:pt x="1930" y="2221"/>
                    </a:lnTo>
                    <a:lnTo>
                      <a:pt x="1937" y="2229"/>
                    </a:lnTo>
                    <a:lnTo>
                      <a:pt x="1945" y="2235"/>
                    </a:lnTo>
                    <a:lnTo>
                      <a:pt x="1953" y="2241"/>
                    </a:lnTo>
                    <a:lnTo>
                      <a:pt x="1962" y="2245"/>
                    </a:lnTo>
                    <a:lnTo>
                      <a:pt x="1971" y="2249"/>
                    </a:lnTo>
                    <a:lnTo>
                      <a:pt x="1981" y="2252"/>
                    </a:lnTo>
                    <a:lnTo>
                      <a:pt x="1992" y="2253"/>
                    </a:lnTo>
                    <a:lnTo>
                      <a:pt x="2002" y="2254"/>
                    </a:lnTo>
                    <a:lnTo>
                      <a:pt x="2002" y="2254"/>
                    </a:lnTo>
                    <a:lnTo>
                      <a:pt x="2013" y="2253"/>
                    </a:lnTo>
                    <a:lnTo>
                      <a:pt x="2024" y="2252"/>
                    </a:lnTo>
                    <a:lnTo>
                      <a:pt x="2034" y="2249"/>
                    </a:lnTo>
                    <a:lnTo>
                      <a:pt x="2043" y="2245"/>
                    </a:lnTo>
                    <a:lnTo>
                      <a:pt x="2052" y="2241"/>
                    </a:lnTo>
                    <a:lnTo>
                      <a:pt x="2061" y="2235"/>
                    </a:lnTo>
                    <a:lnTo>
                      <a:pt x="2068" y="2229"/>
                    </a:lnTo>
                    <a:lnTo>
                      <a:pt x="2075" y="2221"/>
                    </a:lnTo>
                    <a:lnTo>
                      <a:pt x="2081" y="2213"/>
                    </a:lnTo>
                    <a:lnTo>
                      <a:pt x="2087" y="2204"/>
                    </a:lnTo>
                    <a:lnTo>
                      <a:pt x="2091" y="2194"/>
                    </a:lnTo>
                    <a:lnTo>
                      <a:pt x="2096" y="2185"/>
                    </a:lnTo>
                    <a:lnTo>
                      <a:pt x="2099" y="2174"/>
                    </a:lnTo>
                    <a:lnTo>
                      <a:pt x="2101" y="2163"/>
                    </a:lnTo>
                    <a:lnTo>
                      <a:pt x="2104" y="2150"/>
                    </a:lnTo>
                    <a:lnTo>
                      <a:pt x="2104" y="2138"/>
                    </a:lnTo>
                    <a:lnTo>
                      <a:pt x="2104" y="2138"/>
                    </a:lnTo>
                    <a:lnTo>
                      <a:pt x="2104" y="2125"/>
                    </a:lnTo>
                    <a:lnTo>
                      <a:pt x="2101" y="2114"/>
                    </a:lnTo>
                    <a:lnTo>
                      <a:pt x="2099" y="2102"/>
                    </a:lnTo>
                    <a:lnTo>
                      <a:pt x="2096" y="2091"/>
                    </a:lnTo>
                    <a:lnTo>
                      <a:pt x="2091" y="2081"/>
                    </a:lnTo>
                    <a:lnTo>
                      <a:pt x="2087" y="2071"/>
                    </a:lnTo>
                    <a:lnTo>
                      <a:pt x="2081" y="2062"/>
                    </a:lnTo>
                    <a:lnTo>
                      <a:pt x="2075" y="2054"/>
                    </a:lnTo>
                    <a:lnTo>
                      <a:pt x="2068" y="2047"/>
                    </a:lnTo>
                    <a:lnTo>
                      <a:pt x="2061" y="2041"/>
                    </a:lnTo>
                    <a:lnTo>
                      <a:pt x="2052" y="2035"/>
                    </a:lnTo>
                    <a:lnTo>
                      <a:pt x="2043" y="2030"/>
                    </a:lnTo>
                    <a:lnTo>
                      <a:pt x="2034" y="2027"/>
                    </a:lnTo>
                    <a:lnTo>
                      <a:pt x="2024" y="2024"/>
                    </a:lnTo>
                    <a:lnTo>
                      <a:pt x="2013" y="2022"/>
                    </a:lnTo>
                    <a:lnTo>
                      <a:pt x="2002" y="2021"/>
                    </a:lnTo>
                    <a:lnTo>
                      <a:pt x="2002" y="2021"/>
                    </a:lnTo>
                    <a:close/>
                    <a:moveTo>
                      <a:pt x="2002" y="2202"/>
                    </a:moveTo>
                    <a:lnTo>
                      <a:pt x="2002" y="2202"/>
                    </a:lnTo>
                    <a:lnTo>
                      <a:pt x="1992" y="2201"/>
                    </a:lnTo>
                    <a:lnTo>
                      <a:pt x="1984" y="2198"/>
                    </a:lnTo>
                    <a:lnTo>
                      <a:pt x="1977" y="2192"/>
                    </a:lnTo>
                    <a:lnTo>
                      <a:pt x="1970" y="2185"/>
                    </a:lnTo>
                    <a:lnTo>
                      <a:pt x="1964" y="2176"/>
                    </a:lnTo>
                    <a:lnTo>
                      <a:pt x="1960" y="2165"/>
                    </a:lnTo>
                    <a:lnTo>
                      <a:pt x="1958" y="2151"/>
                    </a:lnTo>
                    <a:lnTo>
                      <a:pt x="1958" y="2138"/>
                    </a:lnTo>
                    <a:lnTo>
                      <a:pt x="1958" y="2138"/>
                    </a:lnTo>
                    <a:lnTo>
                      <a:pt x="1958" y="2124"/>
                    </a:lnTo>
                    <a:lnTo>
                      <a:pt x="1960" y="2112"/>
                    </a:lnTo>
                    <a:lnTo>
                      <a:pt x="1964" y="2101"/>
                    </a:lnTo>
                    <a:lnTo>
                      <a:pt x="1970" y="2091"/>
                    </a:lnTo>
                    <a:lnTo>
                      <a:pt x="1977" y="2083"/>
                    </a:lnTo>
                    <a:lnTo>
                      <a:pt x="1984" y="2078"/>
                    </a:lnTo>
                    <a:lnTo>
                      <a:pt x="1992" y="2074"/>
                    </a:lnTo>
                    <a:lnTo>
                      <a:pt x="2002" y="2073"/>
                    </a:lnTo>
                    <a:lnTo>
                      <a:pt x="2002" y="2073"/>
                    </a:lnTo>
                    <a:lnTo>
                      <a:pt x="2012" y="2074"/>
                    </a:lnTo>
                    <a:lnTo>
                      <a:pt x="2021" y="2078"/>
                    </a:lnTo>
                    <a:lnTo>
                      <a:pt x="2029" y="2083"/>
                    </a:lnTo>
                    <a:lnTo>
                      <a:pt x="2035" y="2091"/>
                    </a:lnTo>
                    <a:lnTo>
                      <a:pt x="2041" y="2101"/>
                    </a:lnTo>
                    <a:lnTo>
                      <a:pt x="2044" y="2112"/>
                    </a:lnTo>
                    <a:lnTo>
                      <a:pt x="2046" y="2124"/>
                    </a:lnTo>
                    <a:lnTo>
                      <a:pt x="2047" y="2138"/>
                    </a:lnTo>
                    <a:lnTo>
                      <a:pt x="2047" y="2138"/>
                    </a:lnTo>
                    <a:lnTo>
                      <a:pt x="2046" y="2151"/>
                    </a:lnTo>
                    <a:lnTo>
                      <a:pt x="2044" y="2165"/>
                    </a:lnTo>
                    <a:lnTo>
                      <a:pt x="2041" y="2176"/>
                    </a:lnTo>
                    <a:lnTo>
                      <a:pt x="2035" y="2185"/>
                    </a:lnTo>
                    <a:lnTo>
                      <a:pt x="2029" y="2192"/>
                    </a:lnTo>
                    <a:lnTo>
                      <a:pt x="2021" y="2198"/>
                    </a:lnTo>
                    <a:lnTo>
                      <a:pt x="2012" y="2201"/>
                    </a:lnTo>
                    <a:lnTo>
                      <a:pt x="2002" y="2202"/>
                    </a:lnTo>
                    <a:lnTo>
                      <a:pt x="2002" y="2202"/>
                    </a:lnTo>
                    <a:close/>
                    <a:moveTo>
                      <a:pt x="837" y="2100"/>
                    </a:moveTo>
                    <a:lnTo>
                      <a:pt x="904" y="2249"/>
                    </a:lnTo>
                    <a:lnTo>
                      <a:pt x="843" y="2249"/>
                    </a:lnTo>
                    <a:lnTo>
                      <a:pt x="797" y="2146"/>
                    </a:lnTo>
                    <a:lnTo>
                      <a:pt x="767" y="2182"/>
                    </a:lnTo>
                    <a:lnTo>
                      <a:pt x="767" y="2249"/>
                    </a:lnTo>
                    <a:lnTo>
                      <a:pt x="713" y="2249"/>
                    </a:lnTo>
                    <a:lnTo>
                      <a:pt x="713" y="1962"/>
                    </a:lnTo>
                    <a:lnTo>
                      <a:pt x="767" y="1934"/>
                    </a:lnTo>
                    <a:lnTo>
                      <a:pt x="767" y="2112"/>
                    </a:lnTo>
                    <a:lnTo>
                      <a:pt x="767" y="2112"/>
                    </a:lnTo>
                    <a:lnTo>
                      <a:pt x="788" y="2083"/>
                    </a:lnTo>
                    <a:lnTo>
                      <a:pt x="832" y="2027"/>
                    </a:lnTo>
                    <a:lnTo>
                      <a:pt x="896" y="2027"/>
                    </a:lnTo>
                    <a:lnTo>
                      <a:pt x="837" y="2100"/>
                    </a:lnTo>
                    <a:close/>
                    <a:moveTo>
                      <a:pt x="1097" y="2249"/>
                    </a:moveTo>
                    <a:lnTo>
                      <a:pt x="1042" y="2249"/>
                    </a:lnTo>
                    <a:lnTo>
                      <a:pt x="1042" y="2027"/>
                    </a:lnTo>
                    <a:lnTo>
                      <a:pt x="1097" y="2027"/>
                    </a:lnTo>
                    <a:lnTo>
                      <a:pt x="1097" y="2046"/>
                    </a:lnTo>
                    <a:lnTo>
                      <a:pt x="1097" y="2046"/>
                    </a:lnTo>
                    <a:lnTo>
                      <a:pt x="1103" y="2040"/>
                    </a:lnTo>
                    <a:lnTo>
                      <a:pt x="1108" y="2036"/>
                    </a:lnTo>
                    <a:lnTo>
                      <a:pt x="1115" y="2031"/>
                    </a:lnTo>
                    <a:lnTo>
                      <a:pt x="1121" y="2028"/>
                    </a:lnTo>
                    <a:lnTo>
                      <a:pt x="1129" y="2026"/>
                    </a:lnTo>
                    <a:lnTo>
                      <a:pt x="1137" y="2024"/>
                    </a:lnTo>
                    <a:lnTo>
                      <a:pt x="1144" y="2022"/>
                    </a:lnTo>
                    <a:lnTo>
                      <a:pt x="1153" y="2021"/>
                    </a:lnTo>
                    <a:lnTo>
                      <a:pt x="1153" y="2021"/>
                    </a:lnTo>
                    <a:lnTo>
                      <a:pt x="1163" y="2022"/>
                    </a:lnTo>
                    <a:lnTo>
                      <a:pt x="1172" y="2024"/>
                    </a:lnTo>
                    <a:lnTo>
                      <a:pt x="1180" y="2026"/>
                    </a:lnTo>
                    <a:lnTo>
                      <a:pt x="1189" y="2028"/>
                    </a:lnTo>
                    <a:lnTo>
                      <a:pt x="1195" y="2032"/>
                    </a:lnTo>
                    <a:lnTo>
                      <a:pt x="1202" y="2037"/>
                    </a:lnTo>
                    <a:lnTo>
                      <a:pt x="1208" y="2041"/>
                    </a:lnTo>
                    <a:lnTo>
                      <a:pt x="1214" y="2048"/>
                    </a:lnTo>
                    <a:lnTo>
                      <a:pt x="1218" y="2054"/>
                    </a:lnTo>
                    <a:lnTo>
                      <a:pt x="1223" y="2062"/>
                    </a:lnTo>
                    <a:lnTo>
                      <a:pt x="1226" y="2070"/>
                    </a:lnTo>
                    <a:lnTo>
                      <a:pt x="1229" y="2080"/>
                    </a:lnTo>
                    <a:lnTo>
                      <a:pt x="1232" y="2090"/>
                    </a:lnTo>
                    <a:lnTo>
                      <a:pt x="1233" y="2100"/>
                    </a:lnTo>
                    <a:lnTo>
                      <a:pt x="1234" y="2111"/>
                    </a:lnTo>
                    <a:lnTo>
                      <a:pt x="1235" y="2123"/>
                    </a:lnTo>
                    <a:lnTo>
                      <a:pt x="1235" y="2249"/>
                    </a:lnTo>
                    <a:lnTo>
                      <a:pt x="1180" y="2249"/>
                    </a:lnTo>
                    <a:lnTo>
                      <a:pt x="1180" y="2126"/>
                    </a:lnTo>
                    <a:lnTo>
                      <a:pt x="1180" y="2126"/>
                    </a:lnTo>
                    <a:lnTo>
                      <a:pt x="1179" y="2114"/>
                    </a:lnTo>
                    <a:lnTo>
                      <a:pt x="1178" y="2102"/>
                    </a:lnTo>
                    <a:lnTo>
                      <a:pt x="1174" y="2093"/>
                    </a:lnTo>
                    <a:lnTo>
                      <a:pt x="1170" y="2085"/>
                    </a:lnTo>
                    <a:lnTo>
                      <a:pt x="1164" y="2080"/>
                    </a:lnTo>
                    <a:lnTo>
                      <a:pt x="1158" y="2075"/>
                    </a:lnTo>
                    <a:lnTo>
                      <a:pt x="1149" y="2073"/>
                    </a:lnTo>
                    <a:lnTo>
                      <a:pt x="1139" y="2072"/>
                    </a:lnTo>
                    <a:lnTo>
                      <a:pt x="1139" y="2072"/>
                    </a:lnTo>
                    <a:lnTo>
                      <a:pt x="1130" y="2073"/>
                    </a:lnTo>
                    <a:lnTo>
                      <a:pt x="1121" y="2075"/>
                    </a:lnTo>
                    <a:lnTo>
                      <a:pt x="1114" y="2080"/>
                    </a:lnTo>
                    <a:lnTo>
                      <a:pt x="1108" y="2086"/>
                    </a:lnTo>
                    <a:lnTo>
                      <a:pt x="1104" y="2093"/>
                    </a:lnTo>
                    <a:lnTo>
                      <a:pt x="1100" y="2103"/>
                    </a:lnTo>
                    <a:lnTo>
                      <a:pt x="1098" y="2114"/>
                    </a:lnTo>
                    <a:lnTo>
                      <a:pt x="1097" y="2126"/>
                    </a:lnTo>
                    <a:lnTo>
                      <a:pt x="1097" y="2249"/>
                    </a:lnTo>
                    <a:close/>
                    <a:moveTo>
                      <a:pt x="1408" y="2042"/>
                    </a:moveTo>
                    <a:lnTo>
                      <a:pt x="1408" y="2042"/>
                    </a:lnTo>
                    <a:lnTo>
                      <a:pt x="1403" y="2038"/>
                    </a:lnTo>
                    <a:lnTo>
                      <a:pt x="1397" y="2033"/>
                    </a:lnTo>
                    <a:lnTo>
                      <a:pt x="1392" y="2030"/>
                    </a:lnTo>
                    <a:lnTo>
                      <a:pt x="1385" y="2027"/>
                    </a:lnTo>
                    <a:lnTo>
                      <a:pt x="1378" y="2025"/>
                    </a:lnTo>
                    <a:lnTo>
                      <a:pt x="1372" y="2024"/>
                    </a:lnTo>
                    <a:lnTo>
                      <a:pt x="1365" y="2022"/>
                    </a:lnTo>
                    <a:lnTo>
                      <a:pt x="1359" y="2021"/>
                    </a:lnTo>
                    <a:lnTo>
                      <a:pt x="1359" y="2021"/>
                    </a:lnTo>
                    <a:lnTo>
                      <a:pt x="1349" y="2022"/>
                    </a:lnTo>
                    <a:lnTo>
                      <a:pt x="1340" y="2024"/>
                    </a:lnTo>
                    <a:lnTo>
                      <a:pt x="1331" y="2026"/>
                    </a:lnTo>
                    <a:lnTo>
                      <a:pt x="1322" y="2030"/>
                    </a:lnTo>
                    <a:lnTo>
                      <a:pt x="1314" y="2033"/>
                    </a:lnTo>
                    <a:lnTo>
                      <a:pt x="1308" y="2039"/>
                    </a:lnTo>
                    <a:lnTo>
                      <a:pt x="1301" y="2046"/>
                    </a:lnTo>
                    <a:lnTo>
                      <a:pt x="1295" y="2052"/>
                    </a:lnTo>
                    <a:lnTo>
                      <a:pt x="1289" y="2060"/>
                    </a:lnTo>
                    <a:lnTo>
                      <a:pt x="1285" y="2069"/>
                    </a:lnTo>
                    <a:lnTo>
                      <a:pt x="1280" y="2078"/>
                    </a:lnTo>
                    <a:lnTo>
                      <a:pt x="1277" y="2089"/>
                    </a:lnTo>
                    <a:lnTo>
                      <a:pt x="1275" y="2099"/>
                    </a:lnTo>
                    <a:lnTo>
                      <a:pt x="1273" y="2111"/>
                    </a:lnTo>
                    <a:lnTo>
                      <a:pt x="1271" y="2123"/>
                    </a:lnTo>
                    <a:lnTo>
                      <a:pt x="1271" y="2135"/>
                    </a:lnTo>
                    <a:lnTo>
                      <a:pt x="1271" y="2135"/>
                    </a:lnTo>
                    <a:lnTo>
                      <a:pt x="1271" y="2149"/>
                    </a:lnTo>
                    <a:lnTo>
                      <a:pt x="1273" y="2161"/>
                    </a:lnTo>
                    <a:lnTo>
                      <a:pt x="1275" y="2174"/>
                    </a:lnTo>
                    <a:lnTo>
                      <a:pt x="1277" y="2186"/>
                    </a:lnTo>
                    <a:lnTo>
                      <a:pt x="1280" y="2196"/>
                    </a:lnTo>
                    <a:lnTo>
                      <a:pt x="1285" y="2206"/>
                    </a:lnTo>
                    <a:lnTo>
                      <a:pt x="1289" y="2214"/>
                    </a:lnTo>
                    <a:lnTo>
                      <a:pt x="1295" y="2222"/>
                    </a:lnTo>
                    <a:lnTo>
                      <a:pt x="1300" y="2230"/>
                    </a:lnTo>
                    <a:lnTo>
                      <a:pt x="1307" y="2235"/>
                    </a:lnTo>
                    <a:lnTo>
                      <a:pt x="1313" y="2241"/>
                    </a:lnTo>
                    <a:lnTo>
                      <a:pt x="1321" y="2245"/>
                    </a:lnTo>
                    <a:lnTo>
                      <a:pt x="1330" y="2249"/>
                    </a:lnTo>
                    <a:lnTo>
                      <a:pt x="1339" y="2252"/>
                    </a:lnTo>
                    <a:lnTo>
                      <a:pt x="1348" y="2253"/>
                    </a:lnTo>
                    <a:lnTo>
                      <a:pt x="1357" y="2254"/>
                    </a:lnTo>
                    <a:lnTo>
                      <a:pt x="1357" y="2254"/>
                    </a:lnTo>
                    <a:lnTo>
                      <a:pt x="1364" y="2253"/>
                    </a:lnTo>
                    <a:lnTo>
                      <a:pt x="1372" y="2252"/>
                    </a:lnTo>
                    <a:lnTo>
                      <a:pt x="1378" y="2251"/>
                    </a:lnTo>
                    <a:lnTo>
                      <a:pt x="1385" y="2249"/>
                    </a:lnTo>
                    <a:lnTo>
                      <a:pt x="1391" y="2245"/>
                    </a:lnTo>
                    <a:lnTo>
                      <a:pt x="1397" y="2242"/>
                    </a:lnTo>
                    <a:lnTo>
                      <a:pt x="1403" y="2238"/>
                    </a:lnTo>
                    <a:lnTo>
                      <a:pt x="1408" y="2232"/>
                    </a:lnTo>
                    <a:lnTo>
                      <a:pt x="1408" y="2238"/>
                    </a:lnTo>
                    <a:lnTo>
                      <a:pt x="1408" y="2238"/>
                    </a:lnTo>
                    <a:lnTo>
                      <a:pt x="1408" y="2246"/>
                    </a:lnTo>
                    <a:lnTo>
                      <a:pt x="1407" y="2256"/>
                    </a:lnTo>
                    <a:lnTo>
                      <a:pt x="1404" y="2266"/>
                    </a:lnTo>
                    <a:lnTo>
                      <a:pt x="1402" y="2271"/>
                    </a:lnTo>
                    <a:lnTo>
                      <a:pt x="1399" y="2275"/>
                    </a:lnTo>
                    <a:lnTo>
                      <a:pt x="1395" y="2279"/>
                    </a:lnTo>
                    <a:lnTo>
                      <a:pt x="1391" y="2284"/>
                    </a:lnTo>
                    <a:lnTo>
                      <a:pt x="1385" y="2287"/>
                    </a:lnTo>
                    <a:lnTo>
                      <a:pt x="1378" y="2290"/>
                    </a:lnTo>
                    <a:lnTo>
                      <a:pt x="1370" y="2293"/>
                    </a:lnTo>
                    <a:lnTo>
                      <a:pt x="1361" y="2295"/>
                    </a:lnTo>
                    <a:lnTo>
                      <a:pt x="1350" y="2296"/>
                    </a:lnTo>
                    <a:lnTo>
                      <a:pt x="1337" y="2296"/>
                    </a:lnTo>
                    <a:lnTo>
                      <a:pt x="1334" y="2296"/>
                    </a:lnTo>
                    <a:lnTo>
                      <a:pt x="1354" y="2339"/>
                    </a:lnTo>
                    <a:lnTo>
                      <a:pt x="1355" y="2339"/>
                    </a:lnTo>
                    <a:lnTo>
                      <a:pt x="1355" y="2339"/>
                    </a:lnTo>
                    <a:lnTo>
                      <a:pt x="1369" y="2339"/>
                    </a:lnTo>
                    <a:lnTo>
                      <a:pt x="1381" y="2338"/>
                    </a:lnTo>
                    <a:lnTo>
                      <a:pt x="1392" y="2335"/>
                    </a:lnTo>
                    <a:lnTo>
                      <a:pt x="1403" y="2332"/>
                    </a:lnTo>
                    <a:lnTo>
                      <a:pt x="1413" y="2328"/>
                    </a:lnTo>
                    <a:lnTo>
                      <a:pt x="1421" y="2324"/>
                    </a:lnTo>
                    <a:lnTo>
                      <a:pt x="1429" y="2318"/>
                    </a:lnTo>
                    <a:lnTo>
                      <a:pt x="1436" y="2311"/>
                    </a:lnTo>
                    <a:lnTo>
                      <a:pt x="1442" y="2304"/>
                    </a:lnTo>
                    <a:lnTo>
                      <a:pt x="1448" y="2296"/>
                    </a:lnTo>
                    <a:lnTo>
                      <a:pt x="1452" y="2286"/>
                    </a:lnTo>
                    <a:lnTo>
                      <a:pt x="1456" y="2276"/>
                    </a:lnTo>
                    <a:lnTo>
                      <a:pt x="1459" y="2266"/>
                    </a:lnTo>
                    <a:lnTo>
                      <a:pt x="1461" y="2254"/>
                    </a:lnTo>
                    <a:lnTo>
                      <a:pt x="1462" y="2242"/>
                    </a:lnTo>
                    <a:lnTo>
                      <a:pt x="1462" y="2229"/>
                    </a:lnTo>
                    <a:lnTo>
                      <a:pt x="1462" y="2027"/>
                    </a:lnTo>
                    <a:lnTo>
                      <a:pt x="1408" y="2027"/>
                    </a:lnTo>
                    <a:lnTo>
                      <a:pt x="1408" y="2042"/>
                    </a:lnTo>
                    <a:close/>
                    <a:moveTo>
                      <a:pt x="1408" y="2094"/>
                    </a:moveTo>
                    <a:lnTo>
                      <a:pt x="1408" y="2181"/>
                    </a:lnTo>
                    <a:lnTo>
                      <a:pt x="1408" y="2181"/>
                    </a:lnTo>
                    <a:lnTo>
                      <a:pt x="1401" y="2189"/>
                    </a:lnTo>
                    <a:lnTo>
                      <a:pt x="1393" y="2197"/>
                    </a:lnTo>
                    <a:lnTo>
                      <a:pt x="1387" y="2199"/>
                    </a:lnTo>
                    <a:lnTo>
                      <a:pt x="1382" y="2201"/>
                    </a:lnTo>
                    <a:lnTo>
                      <a:pt x="1376" y="2202"/>
                    </a:lnTo>
                    <a:lnTo>
                      <a:pt x="1369" y="2203"/>
                    </a:lnTo>
                    <a:lnTo>
                      <a:pt x="1369" y="2203"/>
                    </a:lnTo>
                    <a:lnTo>
                      <a:pt x="1362" y="2202"/>
                    </a:lnTo>
                    <a:lnTo>
                      <a:pt x="1354" y="2200"/>
                    </a:lnTo>
                    <a:lnTo>
                      <a:pt x="1348" y="2197"/>
                    </a:lnTo>
                    <a:lnTo>
                      <a:pt x="1341" y="2190"/>
                    </a:lnTo>
                    <a:lnTo>
                      <a:pt x="1335" y="2181"/>
                    </a:lnTo>
                    <a:lnTo>
                      <a:pt x="1331" y="2169"/>
                    </a:lnTo>
                    <a:lnTo>
                      <a:pt x="1329" y="2154"/>
                    </a:lnTo>
                    <a:lnTo>
                      <a:pt x="1328" y="2134"/>
                    </a:lnTo>
                    <a:lnTo>
                      <a:pt x="1328" y="2134"/>
                    </a:lnTo>
                    <a:lnTo>
                      <a:pt x="1329" y="2117"/>
                    </a:lnTo>
                    <a:lnTo>
                      <a:pt x="1331" y="2103"/>
                    </a:lnTo>
                    <a:lnTo>
                      <a:pt x="1335" y="2092"/>
                    </a:lnTo>
                    <a:lnTo>
                      <a:pt x="1341" y="2084"/>
                    </a:lnTo>
                    <a:lnTo>
                      <a:pt x="1348" y="2079"/>
                    </a:lnTo>
                    <a:lnTo>
                      <a:pt x="1354" y="2074"/>
                    </a:lnTo>
                    <a:lnTo>
                      <a:pt x="1362" y="2073"/>
                    </a:lnTo>
                    <a:lnTo>
                      <a:pt x="1369" y="2072"/>
                    </a:lnTo>
                    <a:lnTo>
                      <a:pt x="1369" y="2072"/>
                    </a:lnTo>
                    <a:lnTo>
                      <a:pt x="1376" y="2073"/>
                    </a:lnTo>
                    <a:lnTo>
                      <a:pt x="1383" y="2074"/>
                    </a:lnTo>
                    <a:lnTo>
                      <a:pt x="1388" y="2076"/>
                    </a:lnTo>
                    <a:lnTo>
                      <a:pt x="1394" y="2080"/>
                    </a:lnTo>
                    <a:lnTo>
                      <a:pt x="1398" y="2083"/>
                    </a:lnTo>
                    <a:lnTo>
                      <a:pt x="1402" y="2086"/>
                    </a:lnTo>
                    <a:lnTo>
                      <a:pt x="1408" y="2094"/>
                    </a:lnTo>
                    <a:lnTo>
                      <a:pt x="1408" y="2094"/>
                    </a:lnTo>
                    <a:close/>
                    <a:moveTo>
                      <a:pt x="938" y="2027"/>
                    </a:moveTo>
                    <a:lnTo>
                      <a:pt x="993" y="2027"/>
                    </a:lnTo>
                    <a:lnTo>
                      <a:pt x="993" y="2123"/>
                    </a:lnTo>
                    <a:lnTo>
                      <a:pt x="993" y="2249"/>
                    </a:lnTo>
                    <a:lnTo>
                      <a:pt x="938" y="2249"/>
                    </a:lnTo>
                    <a:lnTo>
                      <a:pt x="938" y="2027"/>
                    </a:lnTo>
                    <a:close/>
                    <a:moveTo>
                      <a:pt x="993" y="1967"/>
                    </a:moveTo>
                    <a:lnTo>
                      <a:pt x="993" y="1995"/>
                    </a:lnTo>
                    <a:lnTo>
                      <a:pt x="938" y="1995"/>
                    </a:lnTo>
                    <a:lnTo>
                      <a:pt x="938" y="1940"/>
                    </a:lnTo>
                    <a:lnTo>
                      <a:pt x="993" y="1940"/>
                    </a:lnTo>
                    <a:lnTo>
                      <a:pt x="993" y="1967"/>
                    </a:lnTo>
                    <a:close/>
                    <a:moveTo>
                      <a:pt x="2309" y="1962"/>
                    </a:moveTo>
                    <a:lnTo>
                      <a:pt x="2364" y="1934"/>
                    </a:lnTo>
                    <a:lnTo>
                      <a:pt x="2364" y="2127"/>
                    </a:lnTo>
                    <a:lnTo>
                      <a:pt x="2364" y="2249"/>
                    </a:lnTo>
                    <a:lnTo>
                      <a:pt x="2309" y="2249"/>
                    </a:lnTo>
                    <a:lnTo>
                      <a:pt x="2309" y="1962"/>
                    </a:lnTo>
                    <a:close/>
                    <a:moveTo>
                      <a:pt x="397" y="757"/>
                    </a:moveTo>
                    <a:lnTo>
                      <a:pt x="850" y="757"/>
                    </a:lnTo>
                    <a:lnTo>
                      <a:pt x="850" y="495"/>
                    </a:lnTo>
                    <a:lnTo>
                      <a:pt x="397" y="495"/>
                    </a:lnTo>
                    <a:lnTo>
                      <a:pt x="397" y="288"/>
                    </a:lnTo>
                    <a:lnTo>
                      <a:pt x="898" y="288"/>
                    </a:lnTo>
                    <a:lnTo>
                      <a:pt x="732" y="0"/>
                    </a:lnTo>
                    <a:lnTo>
                      <a:pt x="22" y="0"/>
                    </a:lnTo>
                    <a:lnTo>
                      <a:pt x="22" y="1251"/>
                    </a:lnTo>
                    <a:lnTo>
                      <a:pt x="1023" y="1251"/>
                    </a:lnTo>
                    <a:lnTo>
                      <a:pt x="1023" y="963"/>
                    </a:lnTo>
                    <a:lnTo>
                      <a:pt x="397" y="963"/>
                    </a:lnTo>
                    <a:lnTo>
                      <a:pt x="397" y="757"/>
                    </a:lnTo>
                    <a:close/>
                    <a:moveTo>
                      <a:pt x="1690" y="0"/>
                    </a:moveTo>
                    <a:lnTo>
                      <a:pt x="1477" y="409"/>
                    </a:lnTo>
                    <a:lnTo>
                      <a:pt x="1265" y="0"/>
                    </a:lnTo>
                    <a:lnTo>
                      <a:pt x="850" y="0"/>
                    </a:lnTo>
                    <a:lnTo>
                      <a:pt x="1287" y="757"/>
                    </a:lnTo>
                    <a:lnTo>
                      <a:pt x="1287" y="1251"/>
                    </a:lnTo>
                    <a:lnTo>
                      <a:pt x="1661" y="1251"/>
                    </a:lnTo>
                    <a:lnTo>
                      <a:pt x="1661" y="757"/>
                    </a:lnTo>
                    <a:lnTo>
                      <a:pt x="2099" y="0"/>
                    </a:lnTo>
                    <a:lnTo>
                      <a:pt x="169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44" tIns="45672" rIns="91344" bIns="4567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257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96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endParaRPr>
              </a:p>
            </p:txBody>
          </p:sp>
        </p:grp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A2B2DB6C-D035-4F35-8C46-5C3834F65CC6}"/>
                </a:ext>
              </a:extLst>
            </p:cNvPr>
            <p:cNvSpPr txBox="1"/>
            <p:nvPr/>
          </p:nvSpPr>
          <p:spPr>
            <a:xfrm>
              <a:off x="9643110" y="172968"/>
              <a:ext cx="1446552" cy="623248"/>
            </a:xfrm>
            <a:prstGeom prst="rect">
              <a:avLst/>
            </a:prstGeom>
            <a:noFill/>
          </p:spPr>
          <p:txBody>
            <a:bodyPr wrap="square" lIns="0" tIns="36538" rIns="0" bIns="0" rtlCol="0" anchor="ctr">
              <a:spAutoFit/>
            </a:bodyPr>
            <a:lstStyle/>
            <a:p>
              <a:pPr marL="0" marR="0" lvl="0" indent="0" algn="r" defTabSz="912572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27ACAA"/>
                </a:buClr>
                <a:buSzPct val="70000"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Consulting</a:t>
              </a:r>
            </a:p>
            <a:p>
              <a:pPr marL="0" marR="0" lvl="0" indent="0" algn="r" defTabSz="912572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27ACAA"/>
                </a:buClr>
                <a:buSzPct val="70000"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Strategy &amp; Transactions</a:t>
              </a:r>
            </a:p>
            <a:p>
              <a:pPr marL="0" marR="0" lvl="0" indent="0" algn="r" defTabSz="912572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27ACAA"/>
                </a:buClr>
                <a:buSzPct val="70000"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Tax &amp; Law</a:t>
              </a:r>
            </a:p>
            <a:p>
              <a:pPr marL="0" marR="0" lvl="0" indent="0" algn="r" defTabSz="912572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27ACAA"/>
                </a:buClr>
                <a:buSzPct val="70000"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Assuran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63072763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apittelski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F89392A-FD86-4BCD-BA5B-1B0D029E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4346824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0" imgH="371" progId="TCLayout.ActiveDocument.1">
                  <p:embed/>
                </p:oleObj>
              </mc:Choice>
              <mc:Fallback>
                <p:oleObj name="think-cell Slide" r:id="rId3" imgW="370" imgH="37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F89392A-FD86-4BCD-BA5B-1B0D029E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arallelogram 1">
            <a:extLst>
              <a:ext uri="{FF2B5EF4-FFF2-40B4-BE49-F238E27FC236}">
                <a16:creationId xmlns:a16="http://schemas.microsoft.com/office/drawing/2014/main" id="{F79A7B8C-E8D1-42A6-A31A-7D2F74F516EA}"/>
              </a:ext>
            </a:extLst>
          </p:cNvPr>
          <p:cNvSpPr/>
          <p:nvPr userDrawn="1"/>
        </p:nvSpPr>
        <p:spPr>
          <a:xfrm>
            <a:off x="1608757" y="0"/>
            <a:ext cx="3906087" cy="6858000"/>
          </a:xfrm>
          <a:prstGeom prst="parallelogram">
            <a:avLst/>
          </a:prstGeom>
          <a:solidFill>
            <a:schemeClr val="bg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8">
              <a:solidFill>
                <a:schemeClr val="tx1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A979DB-087A-4533-95E9-C3EBDC9244E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21545" y="2461335"/>
            <a:ext cx="5039275" cy="1935337"/>
          </a:xfrm>
        </p:spPr>
        <p:txBody>
          <a:bodyPr anchor="ctr"/>
          <a:lstStyle>
            <a:lvl1pPr marL="0" indent="0">
              <a:buNone/>
              <a:defRPr sz="2798"/>
            </a:lvl1pPr>
          </a:lstStyle>
          <a:p>
            <a:pPr lvl="0"/>
            <a:r>
              <a:rPr lang="nb-NO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76993593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ki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F89392A-FD86-4BCD-BA5B-1B0D029E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9968372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0" imgH="371" progId="TCLayout.ActiveDocument.1">
                  <p:embed/>
                </p:oleObj>
              </mc:Choice>
              <mc:Fallback>
                <p:oleObj name="think-cell Slide" r:id="rId3" imgW="370" imgH="37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F89392A-FD86-4BCD-BA5B-1B0D029E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arallelogram 1">
            <a:extLst>
              <a:ext uri="{FF2B5EF4-FFF2-40B4-BE49-F238E27FC236}">
                <a16:creationId xmlns:a16="http://schemas.microsoft.com/office/drawing/2014/main" id="{F79A7B8C-E8D1-42A6-A31A-7D2F74F516EA}"/>
              </a:ext>
            </a:extLst>
          </p:cNvPr>
          <p:cNvSpPr/>
          <p:nvPr userDrawn="1"/>
        </p:nvSpPr>
        <p:spPr>
          <a:xfrm>
            <a:off x="1608757" y="0"/>
            <a:ext cx="3906087" cy="6858000"/>
          </a:xfrm>
          <a:prstGeom prst="parallelogram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8">
              <a:solidFill>
                <a:schemeClr val="tx1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A979DB-087A-4533-95E9-C3EBDC9244E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21545" y="2461335"/>
            <a:ext cx="5039275" cy="1935337"/>
          </a:xfrm>
        </p:spPr>
        <p:txBody>
          <a:bodyPr anchor="ctr"/>
          <a:lstStyle>
            <a:lvl1pPr marL="0" indent="0">
              <a:buNone/>
              <a:defRPr sz="2798"/>
            </a:lvl1pPr>
          </a:lstStyle>
          <a:p>
            <a:pPr lvl="0"/>
            <a:r>
              <a:rPr lang="nb-NO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2900352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1DD14D-407C-D242-9763-67B11C4B4C46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576918-C8B9-C946-A073-74F3E53AEF0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05094811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616" y="2851522"/>
            <a:ext cx="4445485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6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260" marR="0" lvl="0" indent="-356260" defTabSz="1006879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CE5F90-7113-4FA1-AFCF-3BC8EF01000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Sid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50707690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2" y="294200"/>
            <a:ext cx="10972800" cy="590400"/>
          </a:xfrm>
        </p:spPr>
        <p:txBody>
          <a:bodyPr/>
          <a:lstStyle>
            <a:lvl1pPr>
              <a:defRPr sz="2398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8" noProof="0">
              <a:solidFill>
                <a:schemeClr val="bg1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192330-2E70-49F4-A5DA-F82320E70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Sid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72587651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D57BD96-7582-4FFD-83B4-70729CA846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1" y="2783399"/>
            <a:ext cx="9144000" cy="669414"/>
          </a:xfrm>
        </p:spPr>
        <p:txBody>
          <a:bodyPr lIns="0" tIns="0" rIns="0" bIns="0" anchor="b">
            <a:noAutofit/>
          </a:bodyPr>
          <a:lstStyle>
            <a:lvl1pPr algn="ctr">
              <a:defRPr sz="4498" b="1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D3058F48-68C1-40D9-BEAA-1DA7F1F98C3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1" y="3582989"/>
            <a:ext cx="9144000" cy="461665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2999">
                <a:solidFill>
                  <a:schemeClr val="lt1"/>
                </a:solidFill>
              </a:defRPr>
            </a:lvl1pPr>
            <a:lvl2pPr marL="456948" indent="0" algn="ctr">
              <a:buNone/>
              <a:defRPr sz="1999"/>
            </a:lvl2pPr>
            <a:lvl3pPr marL="913898" indent="0" algn="ctr">
              <a:buNone/>
              <a:defRPr sz="1799"/>
            </a:lvl3pPr>
            <a:lvl4pPr marL="1370846" indent="0" algn="ctr">
              <a:buNone/>
              <a:defRPr sz="1599"/>
            </a:lvl4pPr>
            <a:lvl5pPr marL="1827795" indent="0" algn="ctr">
              <a:buNone/>
              <a:defRPr sz="1599"/>
            </a:lvl5pPr>
            <a:lvl6pPr marL="2284743" indent="0" algn="ctr">
              <a:buNone/>
              <a:defRPr sz="1599"/>
            </a:lvl6pPr>
            <a:lvl7pPr marL="2741691" indent="0" algn="ctr">
              <a:buNone/>
              <a:defRPr sz="1599"/>
            </a:lvl7pPr>
            <a:lvl8pPr marL="3198640" indent="0" algn="ctr">
              <a:buNone/>
              <a:defRPr sz="1599"/>
            </a:lvl8pPr>
            <a:lvl9pPr marL="3655588" indent="0" algn="ctr">
              <a:buNone/>
              <a:defRPr sz="1599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D91BF871-F8E8-4386-87A0-8350E121F8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73D1879A-B795-41E4-B2B6-F7A10D9632BD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5E24596E-D9A5-4C3C-9F9D-B0465C309C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36178" y="-1149310"/>
            <a:ext cx="4114800" cy="365125"/>
          </a:xfrm>
        </p:spPr>
        <p:txBody>
          <a:bodyPr lIns="0" tIns="0" rIns="0" bIns="0"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DA2FC7B3-4B04-484E-B47C-601B5F94E0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-1149310"/>
            <a:ext cx="753553" cy="365125"/>
          </a:xfrm>
        </p:spPr>
        <p:txBody>
          <a:bodyPr lIns="0" tIns="0" rIns="0" bIns="0"/>
          <a:lstStyle/>
          <a:p>
            <a:fld id="{01E161A4-FDC2-4F2C-B9E2-6B3A1B4013C0}" type="slidenum">
              <a:rPr lang="nb-NO" smtClean="0"/>
              <a:t>‹#›</a:t>
            </a:fld>
            <a:endParaRPr lang="nb-NO"/>
          </a:p>
        </p:txBody>
      </p:sp>
      <p:pic>
        <p:nvPicPr>
          <p:cNvPr id="7" name="p_1">
            <a:extLst>
              <a:ext uri="{FF2B5EF4-FFF2-40B4-BE49-F238E27FC236}">
                <a16:creationId xmlns:a16="http://schemas.microsoft.com/office/drawing/2014/main" id="{C822055A-7CB2-4A75-96F2-8FB9796A66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28964" r="22582"/>
          <a:stretch/>
        </p:blipFill>
        <p:spPr>
          <a:xfrm>
            <a:off x="2408857" y="0"/>
            <a:ext cx="9783143" cy="2189730"/>
          </a:xfrm>
          <a:prstGeom prst="rect">
            <a:avLst/>
          </a:prstGeom>
        </p:spPr>
      </p:pic>
      <p:pic>
        <p:nvPicPr>
          <p:cNvPr id="11" name="Grafikk 10">
            <a:extLst>
              <a:ext uri="{FF2B5EF4-FFF2-40B4-BE49-F238E27FC236}">
                <a16:creationId xmlns:a16="http://schemas.microsoft.com/office/drawing/2014/main" id="{BCE15F2E-67D2-4AB5-A822-2E3AC9136C6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585667" y="5191850"/>
            <a:ext cx="1020666" cy="900157"/>
          </a:xfrm>
          <a:prstGeom prst="rect">
            <a:avLst/>
          </a:prstGeom>
        </p:spPr>
      </p:pic>
      <p:pic>
        <p:nvPicPr>
          <p:cNvPr id="13" name="p_2" hidden="1">
            <a:extLst>
              <a:ext uri="{FF2B5EF4-FFF2-40B4-BE49-F238E27FC236}">
                <a16:creationId xmlns:a16="http://schemas.microsoft.com/office/drawing/2014/main" id="{3EB83009-252B-4C95-ACC7-395888F5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7006" t="43609" r="20918"/>
          <a:stretch/>
        </p:blipFill>
        <p:spPr>
          <a:xfrm>
            <a:off x="0" y="1"/>
            <a:ext cx="12192000" cy="2188369"/>
          </a:xfrm>
          <a:prstGeom prst="rect">
            <a:avLst/>
          </a:prstGeom>
        </p:spPr>
      </p:pic>
      <p:pic>
        <p:nvPicPr>
          <p:cNvPr id="15" name="p_3" hidden="1">
            <a:extLst>
              <a:ext uri="{FF2B5EF4-FFF2-40B4-BE49-F238E27FC236}">
                <a16:creationId xmlns:a16="http://schemas.microsoft.com/office/drawing/2014/main" id="{E680DA17-B1E3-4DFE-B7AB-8103E8113C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 l="21871" t="44895"/>
          <a:stretch/>
        </p:blipFill>
        <p:spPr>
          <a:xfrm>
            <a:off x="0" y="1"/>
            <a:ext cx="10213342" cy="2189843"/>
          </a:xfrm>
          <a:prstGeom prst="rect">
            <a:avLst/>
          </a:prstGeom>
        </p:spPr>
      </p:pic>
      <p:pic>
        <p:nvPicPr>
          <p:cNvPr id="17" name="p_4" hidden="1">
            <a:extLst>
              <a:ext uri="{FF2B5EF4-FFF2-40B4-BE49-F238E27FC236}">
                <a16:creationId xmlns:a16="http://schemas.microsoft.com/office/drawing/2014/main" id="{C046F4E1-9AF1-4EE1-A504-729791D36E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 l="26345" t="28051"/>
          <a:stretch/>
        </p:blipFill>
        <p:spPr>
          <a:xfrm>
            <a:off x="0" y="0"/>
            <a:ext cx="11430373" cy="2189730"/>
          </a:xfrm>
          <a:prstGeom prst="rect">
            <a:avLst/>
          </a:prstGeom>
        </p:spPr>
      </p:pic>
      <p:pic>
        <p:nvPicPr>
          <p:cNvPr id="19" name="p_5" hidden="1">
            <a:extLst>
              <a:ext uri="{FF2B5EF4-FFF2-40B4-BE49-F238E27FC236}">
                <a16:creationId xmlns:a16="http://schemas.microsoft.com/office/drawing/2014/main" id="{FDB06F25-88F9-46BA-8204-5E3B05A7945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rcRect t="24501" r="20861"/>
          <a:stretch/>
        </p:blipFill>
        <p:spPr>
          <a:xfrm>
            <a:off x="2417860" y="0"/>
            <a:ext cx="9774140" cy="21897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3145328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med 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bilde 8">
            <a:extLst>
              <a:ext uri="{FF2B5EF4-FFF2-40B4-BE49-F238E27FC236}">
                <a16:creationId xmlns:a16="http://schemas.microsoft.com/office/drawing/2014/main" id="{3332BF23-48B1-4E98-8677-EBA52D90622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969935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23" name="p_1">
            <a:extLst>
              <a:ext uri="{FF2B5EF4-FFF2-40B4-BE49-F238E27FC236}">
                <a16:creationId xmlns:a16="http://schemas.microsoft.com/office/drawing/2014/main" id="{4EE2B251-C34B-4578-B41F-E5B6CA1C205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4193098"/>
            <a:ext cx="6791401" cy="1898908"/>
          </a:xfrm>
          <a:prstGeom prst="rect">
            <a:avLst/>
          </a:prstGeom>
          <a:blipFill dpi="0" rotWithShape="1">
            <a:blip r:embed="rId2">
              <a:alphaModFix/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35" name="p_2">
            <a:extLst>
              <a:ext uri="{FF2B5EF4-FFF2-40B4-BE49-F238E27FC236}">
                <a16:creationId xmlns:a16="http://schemas.microsoft.com/office/drawing/2014/main" id="{CD50A839-08DD-4E89-B129-5192FE1B1F2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" y="2975420"/>
            <a:ext cx="7843030" cy="3116587"/>
          </a:xfrm>
          <a:prstGeom prst="rect">
            <a:avLst/>
          </a:prstGeom>
          <a:blipFill dpi="0" rotWithShape="1">
            <a:blip r:embed="rId3">
              <a:alphaModFix amt="0"/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38" name="p_3">
            <a:extLst>
              <a:ext uri="{FF2B5EF4-FFF2-40B4-BE49-F238E27FC236}">
                <a16:creationId xmlns:a16="http://schemas.microsoft.com/office/drawing/2014/main" id="{BA2A437B-9BB9-422C-90C9-0B81C0BD5A8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2975420"/>
            <a:ext cx="7855224" cy="3116587"/>
          </a:xfrm>
          <a:prstGeom prst="rect">
            <a:avLst/>
          </a:prstGeom>
          <a:blipFill dpi="0" rotWithShape="1">
            <a:blip r:embed="rId4">
              <a:alphaModFix amt="0"/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41" name="p_4">
            <a:extLst>
              <a:ext uri="{FF2B5EF4-FFF2-40B4-BE49-F238E27FC236}">
                <a16:creationId xmlns:a16="http://schemas.microsoft.com/office/drawing/2014/main" id="{1EAC7E05-0FD1-4050-8655-73C82C11D38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0" y="3122508"/>
            <a:ext cx="7885706" cy="2974854"/>
          </a:xfrm>
          <a:prstGeom prst="rect">
            <a:avLst/>
          </a:prstGeom>
          <a:blipFill dpi="0" rotWithShape="1">
            <a:blip r:embed="rId5">
              <a:alphaModFix amt="0"/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44" name="p_5">
            <a:extLst>
              <a:ext uri="{FF2B5EF4-FFF2-40B4-BE49-F238E27FC236}">
                <a16:creationId xmlns:a16="http://schemas.microsoft.com/office/drawing/2014/main" id="{129A2C9C-5ECB-4C74-88D4-37739C0B2E4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" y="3882987"/>
            <a:ext cx="7298925" cy="2214377"/>
          </a:xfrm>
          <a:prstGeom prst="rect">
            <a:avLst/>
          </a:prstGeom>
          <a:blipFill dpi="0" rotWithShape="1">
            <a:blip r:embed="rId6">
              <a:alphaModFix amt="0"/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1D57BD96-7582-4FFD-83B4-70729CA846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40677" y="1301239"/>
            <a:ext cx="5080580" cy="1431161"/>
          </a:xfrm>
        </p:spPr>
        <p:txBody>
          <a:bodyPr anchor="b">
            <a:spAutoFit/>
          </a:bodyPr>
          <a:lstStyle>
            <a:lvl1pPr algn="ctr">
              <a:defRPr sz="4498" b="1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D3058F48-68C1-40D9-BEAA-1DA7F1F98C3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540677" y="2859518"/>
            <a:ext cx="5080580" cy="923330"/>
          </a:xfrm>
        </p:spPr>
        <p:txBody>
          <a:bodyPr>
            <a:spAutoFit/>
          </a:bodyPr>
          <a:lstStyle>
            <a:lvl1pPr marL="0" indent="0" algn="ctr">
              <a:buNone/>
              <a:defRPr sz="2999">
                <a:solidFill>
                  <a:schemeClr val="lt1"/>
                </a:solidFill>
              </a:defRPr>
            </a:lvl1pPr>
            <a:lvl2pPr marL="456948" indent="0" algn="ctr">
              <a:buNone/>
              <a:defRPr sz="1999"/>
            </a:lvl2pPr>
            <a:lvl3pPr marL="913898" indent="0" algn="ctr">
              <a:buNone/>
              <a:defRPr sz="1799"/>
            </a:lvl3pPr>
            <a:lvl4pPr marL="1370846" indent="0" algn="ctr">
              <a:buNone/>
              <a:defRPr sz="1599"/>
            </a:lvl4pPr>
            <a:lvl5pPr marL="1827795" indent="0" algn="ctr">
              <a:buNone/>
              <a:defRPr sz="1599"/>
            </a:lvl5pPr>
            <a:lvl6pPr marL="2284743" indent="0" algn="ctr">
              <a:buNone/>
              <a:defRPr sz="1599"/>
            </a:lvl6pPr>
            <a:lvl7pPr marL="2741691" indent="0" algn="ctr">
              <a:buNone/>
              <a:defRPr sz="1599"/>
            </a:lvl7pPr>
            <a:lvl8pPr marL="3198640" indent="0" algn="ctr">
              <a:buNone/>
              <a:defRPr sz="1599"/>
            </a:lvl8pPr>
            <a:lvl9pPr marL="3655588" indent="0" algn="ctr">
              <a:buNone/>
              <a:defRPr sz="1599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D91BF871-F8E8-4386-87A0-8350E121F8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D1879A-B795-41E4-B2B6-F7A10D9632BD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5E24596E-D9A5-4C3C-9F9D-B0465C309C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36178" y="-1149310"/>
            <a:ext cx="4114800" cy="365125"/>
          </a:xfrm>
        </p:spPr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DA2FC7B3-4B04-484E-B47C-601B5F94E0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-1149310"/>
            <a:ext cx="753553" cy="365125"/>
          </a:xfrm>
        </p:spPr>
        <p:txBody>
          <a:bodyPr/>
          <a:lstStyle/>
          <a:p>
            <a:fld id="{01E161A4-FDC2-4F2C-B9E2-6B3A1B4013C0}" type="slidenum">
              <a:rPr lang="nb-NO" smtClean="0"/>
              <a:t>‹#›</a:t>
            </a:fld>
            <a:endParaRPr lang="nb-NO"/>
          </a:p>
        </p:txBody>
      </p:sp>
      <p:pic>
        <p:nvPicPr>
          <p:cNvPr id="11" name="Grafikk 10">
            <a:extLst>
              <a:ext uri="{FF2B5EF4-FFF2-40B4-BE49-F238E27FC236}">
                <a16:creationId xmlns:a16="http://schemas.microsoft.com/office/drawing/2014/main" id="{BCE15F2E-67D2-4AB5-A822-2E3AC9136C6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570634" y="5191850"/>
            <a:ext cx="1020666" cy="900157"/>
          </a:xfrm>
          <a:prstGeom prst="rect">
            <a:avLst/>
          </a:prstGeom>
        </p:spPr>
      </p:pic>
      <p:sp>
        <p:nvSpPr>
          <p:cNvPr id="45" name="transparent_pattern" hidden="1">
            <a:extLst>
              <a:ext uri="{FF2B5EF4-FFF2-40B4-BE49-F238E27FC236}">
                <a16:creationId xmlns:a16="http://schemas.microsoft.com/office/drawing/2014/main" id="{7EAB643D-E252-42AA-9E44-D1B0E8B12E5E}"/>
              </a:ext>
            </a:extLst>
          </p:cNvPr>
          <p:cNvSpPr/>
          <p:nvPr userDrawn="1"/>
        </p:nvSpPr>
        <p:spPr>
          <a:xfrm>
            <a:off x="5396747" y="-1053359"/>
            <a:ext cx="3173888" cy="60911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err="1"/>
              <a:t>Transparent_pattern</a:t>
            </a:r>
            <a:endParaRPr lang="nb-NO" sz="900"/>
          </a:p>
        </p:txBody>
      </p:sp>
    </p:spTree>
    <p:extLst>
      <p:ext uri="{BB962C8B-B14F-4D97-AF65-F5344CB8AC3E}">
        <p14:creationId xmlns:p14="http://schemas.microsoft.com/office/powerpoint/2010/main" val="3519563991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med bilde (uten mønster)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bilde 8">
            <a:extLst>
              <a:ext uri="{FF2B5EF4-FFF2-40B4-BE49-F238E27FC236}">
                <a16:creationId xmlns:a16="http://schemas.microsoft.com/office/drawing/2014/main" id="{3332BF23-48B1-4E98-8677-EBA52D90622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969935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1D57BD96-7582-4FFD-83B4-70729CA846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40677" y="1301239"/>
            <a:ext cx="5080580" cy="1431161"/>
          </a:xfrm>
        </p:spPr>
        <p:txBody>
          <a:bodyPr anchor="b">
            <a:spAutoFit/>
          </a:bodyPr>
          <a:lstStyle>
            <a:lvl1pPr algn="ctr">
              <a:defRPr sz="4498" b="1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D3058F48-68C1-40D9-BEAA-1DA7F1F98C3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540677" y="2859518"/>
            <a:ext cx="5080580" cy="923330"/>
          </a:xfrm>
        </p:spPr>
        <p:txBody>
          <a:bodyPr>
            <a:spAutoFit/>
          </a:bodyPr>
          <a:lstStyle>
            <a:lvl1pPr marL="0" indent="0" algn="ctr">
              <a:buNone/>
              <a:defRPr sz="2999">
                <a:solidFill>
                  <a:schemeClr val="lt1"/>
                </a:solidFill>
              </a:defRPr>
            </a:lvl1pPr>
            <a:lvl2pPr marL="456948" indent="0" algn="ctr">
              <a:buNone/>
              <a:defRPr sz="1999"/>
            </a:lvl2pPr>
            <a:lvl3pPr marL="913898" indent="0" algn="ctr">
              <a:buNone/>
              <a:defRPr sz="1799"/>
            </a:lvl3pPr>
            <a:lvl4pPr marL="1370846" indent="0" algn="ctr">
              <a:buNone/>
              <a:defRPr sz="1599"/>
            </a:lvl4pPr>
            <a:lvl5pPr marL="1827795" indent="0" algn="ctr">
              <a:buNone/>
              <a:defRPr sz="1599"/>
            </a:lvl5pPr>
            <a:lvl6pPr marL="2284743" indent="0" algn="ctr">
              <a:buNone/>
              <a:defRPr sz="1599"/>
            </a:lvl6pPr>
            <a:lvl7pPr marL="2741691" indent="0" algn="ctr">
              <a:buNone/>
              <a:defRPr sz="1599"/>
            </a:lvl7pPr>
            <a:lvl8pPr marL="3198640" indent="0" algn="ctr">
              <a:buNone/>
              <a:defRPr sz="1599"/>
            </a:lvl8pPr>
            <a:lvl9pPr marL="3655588" indent="0" algn="ctr">
              <a:buNone/>
              <a:defRPr sz="1599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D91BF871-F8E8-4386-87A0-8350E121F8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D1879A-B795-41E4-B2B6-F7A10D9632BD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5E24596E-D9A5-4C3C-9F9D-B0465C309C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36178" y="-1149310"/>
            <a:ext cx="4114800" cy="365125"/>
          </a:xfrm>
        </p:spPr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DA2FC7B3-4B04-484E-B47C-601B5F94E0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-1149310"/>
            <a:ext cx="753553" cy="365125"/>
          </a:xfrm>
        </p:spPr>
        <p:txBody>
          <a:bodyPr/>
          <a:lstStyle/>
          <a:p>
            <a:fld id="{01E161A4-FDC2-4F2C-B9E2-6B3A1B4013C0}" type="slidenum">
              <a:rPr lang="nb-NO" smtClean="0"/>
              <a:t>‹#›</a:t>
            </a:fld>
            <a:endParaRPr lang="nb-NO"/>
          </a:p>
        </p:txBody>
      </p:sp>
      <p:pic>
        <p:nvPicPr>
          <p:cNvPr id="11" name="Grafikk 10">
            <a:extLst>
              <a:ext uri="{FF2B5EF4-FFF2-40B4-BE49-F238E27FC236}">
                <a16:creationId xmlns:a16="http://schemas.microsoft.com/office/drawing/2014/main" id="{BCE15F2E-67D2-4AB5-A822-2E3AC9136C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570634" y="5191850"/>
            <a:ext cx="1020666" cy="900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6188505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A28274D-6EC2-4059-82D9-E5F08A0ADC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F111AF03-EB3B-4B51-90A8-234DA9FC02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E20FDBCB-6C6D-4AD5-8267-3AFA40107D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D1879A-B795-41E4-B2B6-F7A10D9632BD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29E5986-D088-4E20-9A06-EF9B8B7A3E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8B078D75-22C6-4328-A4F0-5530215595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E161A4-FDC2-4F2C-B9E2-6B3A1B4013C0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8B807C4A-6746-4A5E-9836-6005A8624B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70547" y="572015"/>
            <a:ext cx="3525274" cy="184666"/>
          </a:xfrm>
        </p:spPr>
        <p:txBody>
          <a:bodyPr>
            <a:spAutoFit/>
          </a:bodyPr>
          <a:lstStyle>
            <a:lvl1pPr marL="0" indent="0">
              <a:buNone/>
              <a:defRPr sz="1199" b="1"/>
            </a:lvl1pPr>
          </a:lstStyle>
          <a:p>
            <a:pPr lvl="0"/>
            <a:r>
              <a:rPr lang="nb-NO"/>
              <a:t>Tittel</a:t>
            </a:r>
          </a:p>
        </p:txBody>
      </p:sp>
    </p:spTree>
    <p:extLst>
      <p:ext uri="{BB962C8B-B14F-4D97-AF65-F5344CB8AC3E}">
        <p14:creationId xmlns:p14="http://schemas.microsoft.com/office/powerpoint/2010/main" val="952990838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innhold (uten møns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>
            <a:extLst>
              <a:ext uri="{FF2B5EF4-FFF2-40B4-BE49-F238E27FC236}">
                <a16:creationId xmlns:a16="http://schemas.microsoft.com/office/drawing/2014/main" id="{A3020AE1-E9BF-4899-A931-E824FD2A01D9}"/>
              </a:ext>
            </a:extLst>
          </p:cNvPr>
          <p:cNvSpPr/>
          <p:nvPr userDrawn="1"/>
        </p:nvSpPr>
        <p:spPr>
          <a:xfrm>
            <a:off x="-859" y="6096506"/>
            <a:ext cx="12193718" cy="76149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nb-NO" sz="900"/>
          </a:p>
        </p:txBody>
      </p:sp>
      <p:pic>
        <p:nvPicPr>
          <p:cNvPr id="10" name="Grafikk 9">
            <a:extLst>
              <a:ext uri="{FF2B5EF4-FFF2-40B4-BE49-F238E27FC236}">
                <a16:creationId xmlns:a16="http://schemas.microsoft.com/office/drawing/2014/main" id="{2255CF09-051F-439D-890C-669632B4A0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09355" y="6288187"/>
            <a:ext cx="1512098" cy="381177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FA28274D-6EC2-4059-82D9-E5F08A0ADC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F111AF03-EB3B-4B51-90A8-234DA9FC02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E20FDBCB-6C6D-4AD5-8267-3AFA40107D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D1879A-B795-41E4-B2B6-F7A10D9632BD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29E5986-D088-4E20-9A06-EF9B8B7A3E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8B078D75-22C6-4328-A4F0-5530215595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E161A4-FDC2-4F2C-B9E2-6B3A1B4013C0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8B807C4A-6746-4A5E-9836-6005A8624B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70547" y="572015"/>
            <a:ext cx="3525274" cy="184666"/>
          </a:xfrm>
        </p:spPr>
        <p:txBody>
          <a:bodyPr>
            <a:spAutoFit/>
          </a:bodyPr>
          <a:lstStyle>
            <a:lvl1pPr marL="0" indent="0">
              <a:buNone/>
              <a:defRPr sz="1199" b="1"/>
            </a:lvl1pPr>
          </a:lstStyle>
          <a:p>
            <a:pPr lvl="0"/>
            <a:r>
              <a:rPr lang="nb-NO"/>
              <a:t>Tittel</a:t>
            </a:r>
          </a:p>
        </p:txBody>
      </p:sp>
    </p:spTree>
    <p:extLst>
      <p:ext uri="{BB962C8B-B14F-4D97-AF65-F5344CB8AC3E}">
        <p14:creationId xmlns:p14="http://schemas.microsoft.com/office/powerpoint/2010/main" val="202190500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bilde 8">
            <a:extLst>
              <a:ext uri="{FF2B5EF4-FFF2-40B4-BE49-F238E27FC236}">
                <a16:creationId xmlns:a16="http://schemas.microsoft.com/office/drawing/2014/main" id="{68A432C3-63A5-4E8E-9D8E-C4703CC239C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22065" y="0"/>
            <a:ext cx="5969935" cy="6096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7" name="p_5" hidden="1">
            <a:extLst>
              <a:ext uri="{FF2B5EF4-FFF2-40B4-BE49-F238E27FC236}">
                <a16:creationId xmlns:a16="http://schemas.microsoft.com/office/drawing/2014/main" id="{E459408B-9847-433F-B46D-6EFAE92B04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97546" y="3883841"/>
            <a:ext cx="6894455" cy="2212665"/>
          </a:xfrm>
          <a:prstGeom prst="rect">
            <a:avLst/>
          </a:prstGeom>
          <a:blipFill dpi="0" rotWithShape="1">
            <a:blip r:embed="rId2">
              <a:alphaModFix amt="0"/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17" name="p_3" hidden="1">
            <a:extLst>
              <a:ext uri="{FF2B5EF4-FFF2-40B4-BE49-F238E27FC236}">
                <a16:creationId xmlns:a16="http://schemas.microsoft.com/office/drawing/2014/main" id="{8CA42211-D321-4E82-96C7-FA91A6801E1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20081" y="3082284"/>
            <a:ext cx="4571920" cy="3014223"/>
          </a:xfrm>
          <a:prstGeom prst="rect">
            <a:avLst/>
          </a:prstGeom>
          <a:blipFill dpi="0" rotWithShape="1">
            <a:blip r:embed="rId3">
              <a:alphaModFix amt="0"/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19" name="p_2" hidden="1">
            <a:extLst>
              <a:ext uri="{FF2B5EF4-FFF2-40B4-BE49-F238E27FC236}">
                <a16:creationId xmlns:a16="http://schemas.microsoft.com/office/drawing/2014/main" id="{73A3240C-9183-4CBE-8B41-AB3F9AD9B83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22784" y="3061004"/>
            <a:ext cx="7769216" cy="3005080"/>
          </a:xfrm>
          <a:prstGeom prst="rect">
            <a:avLst/>
          </a:prstGeom>
          <a:blipFill dpi="0" rotWithShape="1">
            <a:blip r:embed="rId4">
              <a:alphaModFix amt="0"/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20" name="p_1">
            <a:extLst>
              <a:ext uri="{FF2B5EF4-FFF2-40B4-BE49-F238E27FC236}">
                <a16:creationId xmlns:a16="http://schemas.microsoft.com/office/drawing/2014/main" id="{E9B26CFA-7DA1-4281-A4DC-7B61C54CC6B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86518" y="4197759"/>
            <a:ext cx="6705483" cy="1898747"/>
          </a:xfrm>
          <a:prstGeom prst="rect">
            <a:avLst/>
          </a:prstGeom>
          <a:blipFill dpi="0" rotWithShape="1">
            <a:blip r:embed="rId5">
              <a:alphaModFix/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22" name="p_4" hidden="1">
            <a:extLst>
              <a:ext uri="{FF2B5EF4-FFF2-40B4-BE49-F238E27FC236}">
                <a16:creationId xmlns:a16="http://schemas.microsoft.com/office/drawing/2014/main" id="{8025B904-DC60-4BD4-A39B-3699A15CFC8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22784" y="3783266"/>
            <a:ext cx="7769216" cy="2313241"/>
          </a:xfrm>
          <a:prstGeom prst="rect">
            <a:avLst/>
          </a:prstGeom>
          <a:blipFill dpi="0" rotWithShape="1">
            <a:blip r:embed="rId6">
              <a:alphaModFix amt="0"/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FA28274D-6EC2-4059-82D9-E5F08A0ADC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48" y="835548"/>
            <a:ext cx="4770642" cy="38472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F111AF03-EB3B-4B51-90A8-234DA9FC02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70548" y="2182762"/>
            <a:ext cx="4770642" cy="3170289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E20FDBCB-6C6D-4AD5-8267-3AFA40107D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D1879A-B795-41E4-B2B6-F7A10D9632BD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29E5986-D088-4E20-9A06-EF9B8B7A3E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8B078D75-22C6-4328-A4F0-5530215595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E161A4-FDC2-4F2C-B9E2-6B3A1B4013C0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8B807C4A-6746-4A5E-9836-6005A8624B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70547" y="572015"/>
            <a:ext cx="3525274" cy="184666"/>
          </a:xfrm>
        </p:spPr>
        <p:txBody>
          <a:bodyPr>
            <a:spAutoFit/>
          </a:bodyPr>
          <a:lstStyle>
            <a:lvl1pPr marL="0" indent="0">
              <a:buNone/>
              <a:defRPr sz="1199" b="1"/>
            </a:lvl1pPr>
          </a:lstStyle>
          <a:p>
            <a:pPr lvl="0"/>
            <a:r>
              <a:rPr lang="nb-NO"/>
              <a:t>Tittel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5223779E-841C-45A9-B662-5CFFCC3F0961}"/>
              </a:ext>
            </a:extLst>
          </p:cNvPr>
          <p:cNvSpPr/>
          <p:nvPr userDrawn="1"/>
        </p:nvSpPr>
        <p:spPr>
          <a:xfrm>
            <a:off x="-859" y="6096506"/>
            <a:ext cx="12193718" cy="76149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nb-NO" sz="900"/>
          </a:p>
        </p:txBody>
      </p:sp>
      <p:pic>
        <p:nvPicPr>
          <p:cNvPr id="11" name="Grafikk 10">
            <a:extLst>
              <a:ext uri="{FF2B5EF4-FFF2-40B4-BE49-F238E27FC236}">
                <a16:creationId xmlns:a16="http://schemas.microsoft.com/office/drawing/2014/main" id="{D31EDD6E-4FA9-4D2D-B5D5-2956303A567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909355" y="6288187"/>
            <a:ext cx="1512098" cy="381177"/>
          </a:xfrm>
          <a:prstGeom prst="rect">
            <a:avLst/>
          </a:prstGeom>
        </p:spPr>
      </p:pic>
      <p:sp>
        <p:nvSpPr>
          <p:cNvPr id="23" name="transparent_pattern" hidden="1">
            <a:extLst>
              <a:ext uri="{FF2B5EF4-FFF2-40B4-BE49-F238E27FC236}">
                <a16:creationId xmlns:a16="http://schemas.microsoft.com/office/drawing/2014/main" id="{C5E832E3-3051-4DC7-AA4B-DBCE07D84B64}"/>
              </a:ext>
            </a:extLst>
          </p:cNvPr>
          <p:cNvSpPr/>
          <p:nvPr userDrawn="1"/>
        </p:nvSpPr>
        <p:spPr>
          <a:xfrm>
            <a:off x="5396747" y="-1053359"/>
            <a:ext cx="3173888" cy="60911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err="1"/>
              <a:t>Transparent_pattern</a:t>
            </a:r>
            <a:endParaRPr lang="nb-NO" sz="900"/>
          </a:p>
        </p:txBody>
      </p:sp>
    </p:spTree>
    <p:extLst>
      <p:ext uri="{BB962C8B-B14F-4D97-AF65-F5344CB8AC3E}">
        <p14:creationId xmlns:p14="http://schemas.microsoft.com/office/powerpoint/2010/main" val="1663021014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bilde 8">
            <a:extLst>
              <a:ext uri="{FF2B5EF4-FFF2-40B4-BE49-F238E27FC236}">
                <a16:creationId xmlns:a16="http://schemas.microsoft.com/office/drawing/2014/main" id="{68A432C3-63A5-4E8E-9D8E-C4703CC239C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91999" cy="6096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FA28274D-6EC2-4059-82D9-E5F08A0ADC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48" y="835548"/>
            <a:ext cx="4770642" cy="384721"/>
          </a:xfrm>
        </p:spPr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E20FDBCB-6C6D-4AD5-8267-3AFA40107D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D1879A-B795-41E4-B2B6-F7A10D9632BD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29E5986-D088-4E20-9A06-EF9B8B7A3E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8B078D75-22C6-4328-A4F0-5530215595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E161A4-FDC2-4F2C-B9E2-6B3A1B4013C0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8B807C4A-6746-4A5E-9836-6005A8624B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70547" y="572015"/>
            <a:ext cx="3525274" cy="184666"/>
          </a:xfrm>
        </p:spPr>
        <p:txBody>
          <a:bodyPr>
            <a:spAutoFit/>
          </a:bodyPr>
          <a:lstStyle>
            <a:lvl1pPr marL="0" indent="0">
              <a:buNone/>
              <a:defRPr sz="1199" b="1">
                <a:solidFill>
                  <a:schemeClr val="lt1"/>
                </a:solidFill>
              </a:defRPr>
            </a:lvl1pPr>
          </a:lstStyle>
          <a:p>
            <a:pPr lvl="0"/>
            <a:r>
              <a:rPr lang="nb-NO"/>
              <a:t>Tittel</a:t>
            </a:r>
          </a:p>
        </p:txBody>
      </p:sp>
      <p:sp>
        <p:nvSpPr>
          <p:cNvPr id="10" name="p_5" hidden="1">
            <a:extLst>
              <a:ext uri="{FF2B5EF4-FFF2-40B4-BE49-F238E27FC236}">
                <a16:creationId xmlns:a16="http://schemas.microsoft.com/office/drawing/2014/main" id="{3D859847-8FE7-4E5D-8A92-5E84D6FC0AD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97546" y="3883841"/>
            <a:ext cx="6894455" cy="2212665"/>
          </a:xfrm>
          <a:prstGeom prst="rect">
            <a:avLst/>
          </a:prstGeom>
          <a:blipFill dpi="0" rotWithShape="1">
            <a:blip r:embed="rId2">
              <a:alphaModFix amt="0"/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11" name="p_3" hidden="1">
            <a:extLst>
              <a:ext uri="{FF2B5EF4-FFF2-40B4-BE49-F238E27FC236}">
                <a16:creationId xmlns:a16="http://schemas.microsoft.com/office/drawing/2014/main" id="{1F7664CA-5D55-4E8A-BBCE-AB3F9A24CCD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20081" y="3082284"/>
            <a:ext cx="4571920" cy="3014223"/>
          </a:xfrm>
          <a:prstGeom prst="rect">
            <a:avLst/>
          </a:prstGeom>
          <a:blipFill dpi="0" rotWithShape="1">
            <a:blip r:embed="rId3">
              <a:alphaModFix amt="0"/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12" name="p_2" hidden="1">
            <a:extLst>
              <a:ext uri="{FF2B5EF4-FFF2-40B4-BE49-F238E27FC236}">
                <a16:creationId xmlns:a16="http://schemas.microsoft.com/office/drawing/2014/main" id="{DBA21E19-5BB3-453B-8364-21C24231AA2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22784" y="3061004"/>
            <a:ext cx="7769216" cy="3005080"/>
          </a:xfrm>
          <a:prstGeom prst="rect">
            <a:avLst/>
          </a:prstGeom>
          <a:blipFill dpi="0" rotWithShape="1">
            <a:blip r:embed="rId4">
              <a:alphaModFix amt="0"/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13" name="p_1">
            <a:extLst>
              <a:ext uri="{FF2B5EF4-FFF2-40B4-BE49-F238E27FC236}">
                <a16:creationId xmlns:a16="http://schemas.microsoft.com/office/drawing/2014/main" id="{2AF36DDA-6282-45B0-A6EE-BDE401FA542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86518" y="4197759"/>
            <a:ext cx="6705483" cy="1898747"/>
          </a:xfrm>
          <a:prstGeom prst="rect">
            <a:avLst/>
          </a:prstGeom>
          <a:blipFill dpi="0" rotWithShape="1">
            <a:blip r:embed="rId5">
              <a:alphaModFix/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14" name="p_4" hidden="1">
            <a:extLst>
              <a:ext uri="{FF2B5EF4-FFF2-40B4-BE49-F238E27FC236}">
                <a16:creationId xmlns:a16="http://schemas.microsoft.com/office/drawing/2014/main" id="{6A1D9979-DA9E-4B95-9C7F-01A4FF410A6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22784" y="3783266"/>
            <a:ext cx="7769216" cy="2313241"/>
          </a:xfrm>
          <a:prstGeom prst="rect">
            <a:avLst/>
          </a:prstGeom>
          <a:blipFill dpi="0" rotWithShape="1">
            <a:blip r:embed="rId6">
              <a:alphaModFix amt="0"/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15" name="transparent_pattern" hidden="1">
            <a:extLst>
              <a:ext uri="{FF2B5EF4-FFF2-40B4-BE49-F238E27FC236}">
                <a16:creationId xmlns:a16="http://schemas.microsoft.com/office/drawing/2014/main" id="{7DBE0FBE-F116-42A1-A060-37B7BFC71E87}"/>
              </a:ext>
            </a:extLst>
          </p:cNvPr>
          <p:cNvSpPr/>
          <p:nvPr userDrawn="1"/>
        </p:nvSpPr>
        <p:spPr>
          <a:xfrm>
            <a:off x="5396747" y="-1053359"/>
            <a:ext cx="3173888" cy="60911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err="1"/>
              <a:t>Transparent_pattern</a:t>
            </a:r>
            <a:endParaRPr lang="nb-NO" sz="900"/>
          </a:p>
        </p:txBody>
      </p:sp>
    </p:spTree>
    <p:extLst>
      <p:ext uri="{BB962C8B-B14F-4D97-AF65-F5344CB8AC3E}">
        <p14:creationId xmlns:p14="http://schemas.microsoft.com/office/powerpoint/2010/main" val="4152442343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bilde (uten møns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bilde 8">
            <a:extLst>
              <a:ext uri="{FF2B5EF4-FFF2-40B4-BE49-F238E27FC236}">
                <a16:creationId xmlns:a16="http://schemas.microsoft.com/office/drawing/2014/main" id="{68A432C3-63A5-4E8E-9D8E-C4703CC239C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91999" cy="6096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FA28274D-6EC2-4059-82D9-E5F08A0ADC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48" y="835548"/>
            <a:ext cx="4770642" cy="384721"/>
          </a:xfrm>
        </p:spPr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E20FDBCB-6C6D-4AD5-8267-3AFA40107D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D1879A-B795-41E4-B2B6-F7A10D9632BD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29E5986-D088-4E20-9A06-EF9B8B7A3E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8B078D75-22C6-4328-A4F0-5530215595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E161A4-FDC2-4F2C-B9E2-6B3A1B4013C0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8B807C4A-6746-4A5E-9836-6005A8624B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70547" y="572015"/>
            <a:ext cx="3525274" cy="184666"/>
          </a:xfrm>
        </p:spPr>
        <p:txBody>
          <a:bodyPr>
            <a:spAutoFit/>
          </a:bodyPr>
          <a:lstStyle>
            <a:lvl1pPr marL="0" indent="0">
              <a:buNone/>
              <a:defRPr sz="1199" b="1">
                <a:solidFill>
                  <a:schemeClr val="lt1"/>
                </a:solidFill>
              </a:defRPr>
            </a:lvl1pPr>
          </a:lstStyle>
          <a:p>
            <a:pPr lvl="0"/>
            <a:r>
              <a:rPr lang="nb-NO"/>
              <a:t>Tittel</a:t>
            </a:r>
          </a:p>
        </p:txBody>
      </p:sp>
    </p:spTree>
    <p:extLst>
      <p:ext uri="{BB962C8B-B14F-4D97-AF65-F5344CB8AC3E}">
        <p14:creationId xmlns:p14="http://schemas.microsoft.com/office/powerpoint/2010/main" val="353105030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1DD14D-407C-D242-9763-67B11C4B4C46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576918-C8B9-C946-A073-74F3E53AEF0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49930113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0438B2C-1F86-4CE3-998A-743884DF05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0430EAED-1583-41AB-BAA7-38E5A93A5B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D1879A-B795-41E4-B2B6-F7A10D9632BD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274144A4-2998-4131-9F30-1B0707BB1A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B724D44B-8979-4869-9A4F-122130A589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E161A4-FDC2-4F2C-B9E2-6B3A1B4013C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26405013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FA16BDF9-24AF-4D99-A048-17C1FCFC04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D1879A-B795-41E4-B2B6-F7A10D9632BD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3EFC8D3C-1E4C-4683-8CB6-821A83F175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EAFE7698-0C8F-4491-B9C2-66F1226E92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E161A4-FDC2-4F2C-B9E2-6B3A1B4013C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6273856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tel og innhold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863D9AA-60B0-8141-B49D-CC3A8E5D7A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524373D4-325F-9445-BCA0-7BFB6816B7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825627"/>
            <a:ext cx="10515600" cy="3936197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060243596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914400" y="2130441"/>
            <a:ext cx="10363200" cy="1470025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28801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9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D86DDC-66E9-40BE-99E0-50A623695962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D83FE6-9EF6-4A62-984F-347D2A03995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16820149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D86DDC-66E9-40BE-99E0-50A623695962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D83FE6-9EF6-4A62-984F-347D2A03995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12113566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16"/>
            <a:ext cx="10363200" cy="1362075"/>
          </a:xfrm>
        </p:spPr>
        <p:txBody>
          <a:bodyPr anchor="t"/>
          <a:lstStyle>
            <a:lvl1pPr algn="l">
              <a:defRPr sz="3998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1pPr>
            <a:lvl2pPr marL="456971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2pPr>
            <a:lvl3pPr marL="913943" indent="0">
              <a:buNone/>
              <a:defRPr sz="1599">
                <a:solidFill>
                  <a:schemeClr val="tx1">
                    <a:tint val="75000"/>
                  </a:schemeClr>
                </a:solidFill>
              </a:defRPr>
            </a:lvl3pPr>
            <a:lvl4pPr marL="1370914" indent="0">
              <a:buNone/>
              <a:defRPr sz="1399">
                <a:solidFill>
                  <a:schemeClr val="tx1">
                    <a:tint val="75000"/>
                  </a:schemeClr>
                </a:solidFill>
              </a:defRPr>
            </a:lvl4pPr>
            <a:lvl5pPr marL="1827886" indent="0">
              <a:buNone/>
              <a:defRPr sz="1399">
                <a:solidFill>
                  <a:schemeClr val="tx1">
                    <a:tint val="75000"/>
                  </a:schemeClr>
                </a:solidFill>
              </a:defRPr>
            </a:lvl5pPr>
            <a:lvl6pPr marL="2284857" indent="0">
              <a:buNone/>
              <a:defRPr sz="1399">
                <a:solidFill>
                  <a:schemeClr val="tx1">
                    <a:tint val="75000"/>
                  </a:schemeClr>
                </a:solidFill>
              </a:defRPr>
            </a:lvl6pPr>
            <a:lvl7pPr marL="2741828" indent="0">
              <a:buNone/>
              <a:defRPr sz="1399">
                <a:solidFill>
                  <a:schemeClr val="tx1">
                    <a:tint val="75000"/>
                  </a:schemeClr>
                </a:solidFill>
              </a:defRPr>
            </a:lvl7pPr>
            <a:lvl8pPr marL="3198800" indent="0">
              <a:buNone/>
              <a:defRPr sz="1399">
                <a:solidFill>
                  <a:schemeClr val="tx1">
                    <a:tint val="75000"/>
                  </a:schemeClr>
                </a:solidFill>
              </a:defRPr>
            </a:lvl8pPr>
            <a:lvl9pPr marL="3655771" indent="0">
              <a:buNone/>
              <a:defRPr sz="139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D86DDC-66E9-40BE-99E0-50A623695962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D83FE6-9EF6-4A62-984F-347D2A03995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5951248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6"/>
            <a:ext cx="5384800" cy="4525963"/>
          </a:xfrm>
        </p:spPr>
        <p:txBody>
          <a:bodyPr/>
          <a:lstStyle>
            <a:lvl1pPr>
              <a:defRPr sz="2799"/>
            </a:lvl1pPr>
            <a:lvl2pPr>
              <a:defRPr sz="2399"/>
            </a:lvl2pPr>
            <a:lvl3pPr>
              <a:defRPr sz="1999"/>
            </a:lvl3pPr>
            <a:lvl4pPr>
              <a:defRPr sz="1799"/>
            </a:lvl4pPr>
            <a:lvl5pPr>
              <a:defRPr sz="1799"/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1" y="1600206"/>
            <a:ext cx="5384800" cy="4525963"/>
          </a:xfrm>
        </p:spPr>
        <p:txBody>
          <a:bodyPr/>
          <a:lstStyle>
            <a:lvl1pPr>
              <a:defRPr sz="2799"/>
            </a:lvl1pPr>
            <a:lvl2pPr>
              <a:defRPr sz="2399"/>
            </a:lvl2pPr>
            <a:lvl3pPr>
              <a:defRPr sz="1999"/>
            </a:lvl3pPr>
            <a:lvl4pPr>
              <a:defRPr sz="1799"/>
            </a:lvl4pPr>
            <a:lvl5pPr>
              <a:defRPr sz="1799"/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D86DDC-66E9-40BE-99E0-50A623695962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D83FE6-9EF6-4A62-984F-347D2A03995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51719407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9601" y="1535113"/>
            <a:ext cx="5386917" cy="639762"/>
          </a:xfrm>
        </p:spPr>
        <p:txBody>
          <a:bodyPr anchor="b"/>
          <a:lstStyle>
            <a:lvl1pPr marL="0" indent="0">
              <a:buNone/>
              <a:defRPr sz="2399" b="1"/>
            </a:lvl1pPr>
            <a:lvl2pPr marL="456971" indent="0">
              <a:buNone/>
              <a:defRPr sz="1999" b="1"/>
            </a:lvl2pPr>
            <a:lvl3pPr marL="913943" indent="0">
              <a:buNone/>
              <a:defRPr sz="1799" b="1"/>
            </a:lvl3pPr>
            <a:lvl4pPr marL="1370914" indent="0">
              <a:buNone/>
              <a:defRPr sz="1599" b="1"/>
            </a:lvl4pPr>
            <a:lvl5pPr marL="1827886" indent="0">
              <a:buNone/>
              <a:defRPr sz="1599" b="1"/>
            </a:lvl5pPr>
            <a:lvl6pPr marL="2284857" indent="0">
              <a:buNone/>
              <a:defRPr sz="1599" b="1"/>
            </a:lvl6pPr>
            <a:lvl7pPr marL="2741828" indent="0">
              <a:buNone/>
              <a:defRPr sz="1599" b="1"/>
            </a:lvl7pPr>
            <a:lvl8pPr marL="3198800" indent="0">
              <a:buNone/>
              <a:defRPr sz="1599" b="1"/>
            </a:lvl8pPr>
            <a:lvl9pPr marL="3655771" indent="0">
              <a:buNone/>
              <a:defRPr sz="1599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09601" y="2174875"/>
            <a:ext cx="5386917" cy="3951288"/>
          </a:xfrm>
        </p:spPr>
        <p:txBody>
          <a:bodyPr/>
          <a:lstStyle>
            <a:lvl1pPr>
              <a:defRPr sz="2399"/>
            </a:lvl1pPr>
            <a:lvl2pPr>
              <a:defRPr sz="1999"/>
            </a:lvl2pPr>
            <a:lvl3pPr>
              <a:defRPr sz="1799"/>
            </a:lvl3pPr>
            <a:lvl4pPr>
              <a:defRPr sz="1599"/>
            </a:lvl4pPr>
            <a:lvl5pPr>
              <a:defRPr sz="1599"/>
            </a:lvl5pPr>
            <a:lvl6pPr>
              <a:defRPr sz="1599"/>
            </a:lvl6pPr>
            <a:lvl7pPr>
              <a:defRPr sz="1599"/>
            </a:lvl7pPr>
            <a:lvl8pPr>
              <a:defRPr sz="1599"/>
            </a:lvl8pPr>
            <a:lvl9pPr>
              <a:defRPr sz="1599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6193376" y="1535113"/>
            <a:ext cx="5389033" cy="639762"/>
          </a:xfrm>
        </p:spPr>
        <p:txBody>
          <a:bodyPr anchor="b"/>
          <a:lstStyle>
            <a:lvl1pPr marL="0" indent="0">
              <a:buNone/>
              <a:defRPr sz="2399" b="1"/>
            </a:lvl1pPr>
            <a:lvl2pPr marL="456971" indent="0">
              <a:buNone/>
              <a:defRPr sz="1999" b="1"/>
            </a:lvl2pPr>
            <a:lvl3pPr marL="913943" indent="0">
              <a:buNone/>
              <a:defRPr sz="1799" b="1"/>
            </a:lvl3pPr>
            <a:lvl4pPr marL="1370914" indent="0">
              <a:buNone/>
              <a:defRPr sz="1599" b="1"/>
            </a:lvl4pPr>
            <a:lvl5pPr marL="1827886" indent="0">
              <a:buNone/>
              <a:defRPr sz="1599" b="1"/>
            </a:lvl5pPr>
            <a:lvl6pPr marL="2284857" indent="0">
              <a:buNone/>
              <a:defRPr sz="1599" b="1"/>
            </a:lvl6pPr>
            <a:lvl7pPr marL="2741828" indent="0">
              <a:buNone/>
              <a:defRPr sz="1599" b="1"/>
            </a:lvl7pPr>
            <a:lvl8pPr marL="3198800" indent="0">
              <a:buNone/>
              <a:defRPr sz="1599" b="1"/>
            </a:lvl8pPr>
            <a:lvl9pPr marL="3655771" indent="0">
              <a:buNone/>
              <a:defRPr sz="1599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6193376" y="2174875"/>
            <a:ext cx="5389033" cy="3951288"/>
          </a:xfrm>
        </p:spPr>
        <p:txBody>
          <a:bodyPr/>
          <a:lstStyle>
            <a:lvl1pPr>
              <a:defRPr sz="2399"/>
            </a:lvl1pPr>
            <a:lvl2pPr>
              <a:defRPr sz="1999"/>
            </a:lvl2pPr>
            <a:lvl3pPr>
              <a:defRPr sz="1799"/>
            </a:lvl3pPr>
            <a:lvl4pPr>
              <a:defRPr sz="1599"/>
            </a:lvl4pPr>
            <a:lvl5pPr>
              <a:defRPr sz="1599"/>
            </a:lvl5pPr>
            <a:lvl6pPr>
              <a:defRPr sz="1599"/>
            </a:lvl6pPr>
            <a:lvl7pPr>
              <a:defRPr sz="1599"/>
            </a:lvl7pPr>
            <a:lvl8pPr>
              <a:defRPr sz="1599"/>
            </a:lvl8pPr>
            <a:lvl9pPr>
              <a:defRPr sz="1599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D86DDC-66E9-40BE-99E0-50A623695962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D83FE6-9EF6-4A62-984F-347D2A03995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89335385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D86DDC-66E9-40BE-99E0-50A623695962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D83FE6-9EF6-4A62-984F-347D2A03995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78318545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D86DDC-66E9-40BE-99E0-50A623695962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D83FE6-9EF6-4A62-984F-347D2A03995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9489901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>
  <p:cSld name="Tittel, utklipp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utklipp 2"/>
          <p:cNvSpPr>
            <a:spLocks noGrp="1"/>
          </p:cNvSpPr>
          <p:nvPr>
            <p:ph type="clipArt" sz="half" idx="1"/>
          </p:nvPr>
        </p:nvSpPr>
        <p:spPr>
          <a:xfrm>
            <a:off x="609600" y="1600206"/>
            <a:ext cx="5384800" cy="4525963"/>
          </a:xfrm>
        </p:spPr>
        <p:txBody>
          <a:bodyPr rtlCol="0">
            <a:normAutofit/>
          </a:bodyPr>
          <a:lstStyle/>
          <a:p>
            <a:pPr lvl="0"/>
            <a:endParaRPr lang="nb-NO" noProof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197600" y="1600206"/>
            <a:ext cx="5384800" cy="4525963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A01CC0-3B9E-4F69-BED2-306F4573E50B}" type="slidenum">
              <a:rPr lang="nb-NO"/>
              <a:pPr>
                <a:defRPr/>
              </a:pPr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1254059"/>
      </p:ext>
    </p:extLst>
  </p:cSld>
  <p:clrMapOvr>
    <a:masterClrMapping/>
  </p:clrMapOvr>
  <p:transition/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4" y="273050"/>
            <a:ext cx="4011084" cy="1162050"/>
          </a:xfrm>
        </p:spPr>
        <p:txBody>
          <a:bodyPr anchor="b"/>
          <a:lstStyle>
            <a:lvl1pPr algn="l">
              <a:defRPr sz="1999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66"/>
            <a:ext cx="6815666" cy="5853113"/>
          </a:xfrm>
        </p:spPr>
        <p:txBody>
          <a:bodyPr/>
          <a:lstStyle>
            <a:lvl1pPr>
              <a:defRPr sz="3198"/>
            </a:lvl1pPr>
            <a:lvl2pPr>
              <a:defRPr sz="2799"/>
            </a:lvl2pPr>
            <a:lvl3pPr>
              <a:defRPr sz="2399"/>
            </a:lvl3pPr>
            <a:lvl4pPr>
              <a:defRPr sz="1999"/>
            </a:lvl4pPr>
            <a:lvl5pPr>
              <a:defRPr sz="1999"/>
            </a:lvl5pPr>
            <a:lvl6pPr>
              <a:defRPr sz="1999"/>
            </a:lvl6pPr>
            <a:lvl7pPr>
              <a:defRPr sz="1999"/>
            </a:lvl7pPr>
            <a:lvl8pPr>
              <a:defRPr sz="1999"/>
            </a:lvl8pPr>
            <a:lvl9pPr>
              <a:defRPr sz="1999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4" y="1435103"/>
            <a:ext cx="4011084" cy="4691063"/>
          </a:xfrm>
        </p:spPr>
        <p:txBody>
          <a:bodyPr/>
          <a:lstStyle>
            <a:lvl1pPr marL="0" indent="0">
              <a:buNone/>
              <a:defRPr sz="1399"/>
            </a:lvl1pPr>
            <a:lvl2pPr marL="456971" indent="0">
              <a:buNone/>
              <a:defRPr sz="1199"/>
            </a:lvl2pPr>
            <a:lvl3pPr marL="913943" indent="0">
              <a:buNone/>
              <a:defRPr sz="999"/>
            </a:lvl3pPr>
            <a:lvl4pPr marL="1370914" indent="0">
              <a:buNone/>
              <a:defRPr sz="900"/>
            </a:lvl4pPr>
            <a:lvl5pPr marL="1827886" indent="0">
              <a:buNone/>
              <a:defRPr sz="900"/>
            </a:lvl5pPr>
            <a:lvl6pPr marL="2284857" indent="0">
              <a:buNone/>
              <a:defRPr sz="900"/>
            </a:lvl6pPr>
            <a:lvl7pPr marL="2741828" indent="0">
              <a:buNone/>
              <a:defRPr sz="900"/>
            </a:lvl7pPr>
            <a:lvl8pPr marL="3198800" indent="0">
              <a:buNone/>
              <a:defRPr sz="900"/>
            </a:lvl8pPr>
            <a:lvl9pPr marL="3655771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D86DDC-66E9-40BE-99E0-50A623695962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D83FE6-9EF6-4A62-984F-347D2A03995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64390718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1999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198"/>
            </a:lvl1pPr>
            <a:lvl2pPr marL="456971" indent="0">
              <a:buNone/>
              <a:defRPr sz="2799"/>
            </a:lvl2pPr>
            <a:lvl3pPr marL="913943" indent="0">
              <a:buNone/>
              <a:defRPr sz="2399"/>
            </a:lvl3pPr>
            <a:lvl4pPr marL="1370914" indent="0">
              <a:buNone/>
              <a:defRPr sz="1999"/>
            </a:lvl4pPr>
            <a:lvl5pPr marL="1827886" indent="0">
              <a:buNone/>
              <a:defRPr sz="1999"/>
            </a:lvl5pPr>
            <a:lvl6pPr marL="2284857" indent="0">
              <a:buNone/>
              <a:defRPr sz="1999"/>
            </a:lvl6pPr>
            <a:lvl7pPr marL="2741828" indent="0">
              <a:buNone/>
              <a:defRPr sz="1999"/>
            </a:lvl7pPr>
            <a:lvl8pPr marL="3198800" indent="0">
              <a:buNone/>
              <a:defRPr sz="1999"/>
            </a:lvl8pPr>
            <a:lvl9pPr marL="3655771" indent="0">
              <a:buNone/>
              <a:defRPr sz="1999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399"/>
            </a:lvl1pPr>
            <a:lvl2pPr marL="456971" indent="0">
              <a:buNone/>
              <a:defRPr sz="1199"/>
            </a:lvl2pPr>
            <a:lvl3pPr marL="913943" indent="0">
              <a:buNone/>
              <a:defRPr sz="999"/>
            </a:lvl3pPr>
            <a:lvl4pPr marL="1370914" indent="0">
              <a:buNone/>
              <a:defRPr sz="900"/>
            </a:lvl4pPr>
            <a:lvl5pPr marL="1827886" indent="0">
              <a:buNone/>
              <a:defRPr sz="900"/>
            </a:lvl5pPr>
            <a:lvl6pPr marL="2284857" indent="0">
              <a:buNone/>
              <a:defRPr sz="900"/>
            </a:lvl6pPr>
            <a:lvl7pPr marL="2741828" indent="0">
              <a:buNone/>
              <a:defRPr sz="900"/>
            </a:lvl7pPr>
            <a:lvl8pPr marL="3198800" indent="0">
              <a:buNone/>
              <a:defRPr sz="900"/>
            </a:lvl8pPr>
            <a:lvl9pPr marL="3655771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D86DDC-66E9-40BE-99E0-50A623695962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D83FE6-9EF6-4A62-984F-347D2A03995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41214855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D86DDC-66E9-40BE-99E0-50A623695962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D83FE6-9EF6-4A62-984F-347D2A03995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56616914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8839201" y="274654"/>
            <a:ext cx="2743200" cy="5851525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54"/>
            <a:ext cx="8026400" cy="5851525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D86DDC-66E9-40BE-99E0-50A623695962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D83FE6-9EF6-4A62-984F-347D2A03995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26520764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fil - G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15057249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ofil - Grø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059763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ofil - Gr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8997437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ofil -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3413768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ofil - L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0036186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-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1995" cy="6857996"/>
          </a:xfrm>
          <a:prstGeom prst="rect">
            <a:avLst/>
          </a:prstGeom>
        </p:spPr>
      </p:pic>
      <p:sp>
        <p:nvSpPr>
          <p:cNvPr id="9" name="Tittel 1"/>
          <p:cNvSpPr>
            <a:spLocks noGrp="1"/>
          </p:cNvSpPr>
          <p:nvPr>
            <p:ph type="ctrTitle"/>
          </p:nvPr>
        </p:nvSpPr>
        <p:spPr>
          <a:xfrm>
            <a:off x="624417" y="3717034"/>
            <a:ext cx="4895520" cy="1180935"/>
          </a:xfrm>
        </p:spPr>
        <p:txBody>
          <a:bodyPr anchor="b">
            <a:noAutofit/>
          </a:bodyPr>
          <a:lstStyle>
            <a:lvl1pPr algn="ctr">
              <a:defRPr sz="3733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nn-NO"/>
          </a:p>
        </p:txBody>
      </p:sp>
      <p:sp>
        <p:nvSpPr>
          <p:cNvPr id="10" name="Undertittel 2"/>
          <p:cNvSpPr>
            <a:spLocks noGrp="1"/>
          </p:cNvSpPr>
          <p:nvPr>
            <p:ph type="subTitle" idx="1"/>
          </p:nvPr>
        </p:nvSpPr>
        <p:spPr>
          <a:xfrm>
            <a:off x="624417" y="5196562"/>
            <a:ext cx="4895523" cy="1016748"/>
          </a:xfrm>
        </p:spPr>
        <p:txBody>
          <a:bodyPr>
            <a:normAutofit/>
          </a:bodyPr>
          <a:lstStyle>
            <a:lvl1pPr marL="0" indent="0" algn="ctr">
              <a:buNone/>
              <a:defRPr sz="3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  <a:endParaRPr lang="nn-NO"/>
          </a:p>
        </p:txBody>
      </p:sp>
    </p:spTree>
    <p:extLst>
      <p:ext uri="{BB962C8B-B14F-4D97-AF65-F5344CB8AC3E}">
        <p14:creationId xmlns:p14="http://schemas.microsoft.com/office/powerpoint/2010/main" val="73954743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LD_PresentationTitle">
            <a:extLst>
              <a:ext uri="{FF2B5EF4-FFF2-40B4-BE49-F238E27FC236}">
                <a16:creationId xmlns:a16="http://schemas.microsoft.com/office/drawing/2014/main" id="{B1DAA5DF-5AA7-49EC-ACBF-10E8A197127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8617" y="409474"/>
            <a:ext cx="9774384" cy="681390"/>
          </a:xfrm>
        </p:spPr>
        <p:txBody>
          <a:bodyPr tIns="0" anchor="t" anchorCtr="0"/>
          <a:lstStyle>
            <a:lvl1pPr>
              <a:defRPr sz="4799" cap="all" spc="-150" baseline="0" smtClean="0">
                <a:solidFill>
                  <a:schemeClr val="tx1"/>
                </a:solidFill>
                <a:latin typeface="Verdana" pitchFamily="34" charset="0"/>
              </a:defRPr>
            </a:lvl1pPr>
          </a:lstStyle>
          <a:p>
            <a:r>
              <a:rPr lang="en-GB" noProof="0"/>
              <a:t>Headline</a:t>
            </a:r>
          </a:p>
        </p:txBody>
      </p:sp>
      <p:sp>
        <p:nvSpPr>
          <p:cNvPr id="19" name="FLD_PresentationTitle_2">
            <a:extLst>
              <a:ext uri="{FF2B5EF4-FFF2-40B4-BE49-F238E27FC236}">
                <a16:creationId xmlns:a16="http://schemas.microsoft.com/office/drawing/2014/main" id="{5B27253C-39D7-4448-BD0F-A9FC3677BCBD}"/>
              </a:ext>
            </a:extLst>
          </p:cNvPr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798616" y="1139480"/>
            <a:ext cx="9773924" cy="1254272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4799" b="1" cap="all" spc="-150" baseline="0" smtClean="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GB" noProof="0"/>
              <a:t>Headline</a:t>
            </a:r>
          </a:p>
        </p:txBody>
      </p:sp>
      <p:sp>
        <p:nvSpPr>
          <p:cNvPr id="20" name="FLD_PresentationSubtitle">
            <a:extLst>
              <a:ext uri="{FF2B5EF4-FFF2-40B4-BE49-F238E27FC236}">
                <a16:creationId xmlns:a16="http://schemas.microsoft.com/office/drawing/2014/main" id="{735D5C9D-0ACC-4AA8-AD82-A264D57A9D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8618" y="5018936"/>
            <a:ext cx="8137938" cy="1084011"/>
          </a:xfrm>
        </p:spPr>
        <p:txBody>
          <a:bodyPr lIns="0"/>
          <a:lstStyle>
            <a:lvl1pPr marL="0" indent="0">
              <a:buFont typeface="Arial" panose="020B0604020202020204" pitchFamily="34" charset="0"/>
              <a:buChar char="​"/>
              <a:defRPr sz="1600"/>
            </a:lvl1pPr>
          </a:lstStyle>
          <a:p>
            <a:pPr lvl="0"/>
            <a:r>
              <a:rPr lang="en-GB"/>
              <a:t>Subtit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08620" y="6283328"/>
            <a:ext cx="480000" cy="15557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FC6EA742-E999-426B-9F1C-33524D47AE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56591" y="6280502"/>
            <a:ext cx="6515949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12" name="Date_DateCustomA">
            <a:extLst>
              <a:ext uri="{FF2B5EF4-FFF2-40B4-BE49-F238E27FC236}">
                <a16:creationId xmlns:a16="http://schemas.microsoft.com/office/drawing/2014/main" id="{09BA1C59-AB8D-4ACE-A4C9-3A97AB0B83E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A13F78D9-42B8-43DD-B9D4-11FA41011F45}" type="datetime1">
              <a:rPr lang="en-GB" smtClean="0"/>
              <a:t>04/05/2022</a:t>
            </a:fld>
            <a:endParaRPr lang="en-GB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BB368B35-1A95-4DB8-9489-9493B9DFE5D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617" y="6158174"/>
            <a:ext cx="2826826" cy="255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2586755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624417" y="1484315"/>
            <a:ext cx="10656160" cy="424973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733">
                <a:solidFill>
                  <a:schemeClr val="tx1"/>
                </a:solidFill>
              </a:defRPr>
            </a:lvl1pPr>
            <a:lvl2pPr>
              <a:defRPr sz="3200">
                <a:solidFill>
                  <a:schemeClr val="tx1"/>
                </a:solidFill>
              </a:defRPr>
            </a:lvl2pPr>
            <a:lvl3pPr>
              <a:defRPr sz="2667">
                <a:solidFill>
                  <a:schemeClr val="tx1"/>
                </a:solidFill>
              </a:defRPr>
            </a:lvl3pPr>
            <a:lvl4pPr>
              <a:defRPr sz="2400">
                <a:solidFill>
                  <a:schemeClr val="tx1"/>
                </a:solidFill>
              </a:defRPr>
            </a:lvl4pPr>
            <a:lvl5pPr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n-NO"/>
          </a:p>
        </p:txBody>
      </p:sp>
      <p:sp>
        <p:nvSpPr>
          <p:cNvPr id="11" name="Plassholder for dato 10"/>
          <p:cNvSpPr>
            <a:spLocks noGrp="1"/>
          </p:cNvSpPr>
          <p:nvPr>
            <p:ph type="dt" sz="half" idx="10"/>
          </p:nvPr>
        </p:nvSpPr>
        <p:spPr>
          <a:xfrm>
            <a:off x="1487488" y="6472256"/>
            <a:ext cx="1966915" cy="365125"/>
          </a:xfrm>
        </p:spPr>
        <p:txBody>
          <a:bodyPr/>
          <a:lstStyle/>
          <a:p>
            <a:endParaRPr lang="nn-NO"/>
          </a:p>
        </p:txBody>
      </p:sp>
      <p:sp>
        <p:nvSpPr>
          <p:cNvPr id="12" name="Plassholder for bunntekst 11"/>
          <p:cNvSpPr>
            <a:spLocks noGrp="1"/>
          </p:cNvSpPr>
          <p:nvPr>
            <p:ph type="ftr" sz="quarter" idx="11"/>
          </p:nvPr>
        </p:nvSpPr>
        <p:spPr>
          <a:xfrm>
            <a:off x="1487490" y="6472256"/>
            <a:ext cx="9264319" cy="365125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nn-NO"/>
          </a:p>
        </p:txBody>
      </p:sp>
      <p:sp>
        <p:nvSpPr>
          <p:cNvPr id="13" name="Plassholder for lysbildenummer 12"/>
          <p:cNvSpPr>
            <a:spLocks noGrp="1"/>
          </p:cNvSpPr>
          <p:nvPr>
            <p:ph type="sldNum" sz="quarter" idx="12"/>
          </p:nvPr>
        </p:nvSpPr>
        <p:spPr>
          <a:xfrm>
            <a:off x="10512491" y="6472256"/>
            <a:ext cx="768085" cy="365125"/>
          </a:xfrm>
        </p:spPr>
        <p:txBody>
          <a:bodyPr/>
          <a:lstStyle/>
          <a:p>
            <a:fld id="{3C3A6922-2C30-4BC5-B43E-BB12E61A9113}" type="slidenum">
              <a:rPr lang="nn-NO" smtClean="0"/>
              <a:pPr/>
              <a:t>‹#›</a:t>
            </a:fld>
            <a:endParaRPr lang="nn-NO"/>
          </a:p>
        </p:txBody>
      </p:sp>
      <p:sp>
        <p:nvSpPr>
          <p:cNvPr id="14" name="Tittel 1"/>
          <p:cNvSpPr>
            <a:spLocks noGrp="1"/>
          </p:cNvSpPr>
          <p:nvPr>
            <p:ph type="title" hasCustomPrompt="1"/>
          </p:nvPr>
        </p:nvSpPr>
        <p:spPr>
          <a:xfrm>
            <a:off x="608667" y="341314"/>
            <a:ext cx="9615791" cy="110582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733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n-NO"/>
          </a:p>
        </p:txBody>
      </p:sp>
    </p:spTree>
    <p:extLst>
      <p:ext uri="{BB962C8B-B14F-4D97-AF65-F5344CB8AC3E}">
        <p14:creationId xmlns:p14="http://schemas.microsoft.com/office/powerpoint/2010/main" val="2225561897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- Halv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"/>
            <a:ext cx="12191995" cy="6857996"/>
          </a:xfrm>
          <a:prstGeom prst="rect">
            <a:avLst/>
          </a:prstGeom>
        </p:spPr>
      </p:pic>
      <p:sp>
        <p:nvSpPr>
          <p:cNvPr id="8" name="Tittel 1"/>
          <p:cNvSpPr>
            <a:spLocks noGrp="1"/>
          </p:cNvSpPr>
          <p:nvPr>
            <p:ph type="ctrTitle"/>
          </p:nvPr>
        </p:nvSpPr>
        <p:spPr>
          <a:xfrm>
            <a:off x="624418" y="2180861"/>
            <a:ext cx="4799509" cy="1104123"/>
          </a:xfrm>
        </p:spPr>
        <p:txBody>
          <a:bodyPr anchor="b">
            <a:noAutofit/>
          </a:bodyPr>
          <a:lstStyle>
            <a:lvl1pPr algn="l">
              <a:defRPr sz="3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nn-NO"/>
          </a:p>
        </p:txBody>
      </p:sp>
      <p:sp>
        <p:nvSpPr>
          <p:cNvPr id="9" name="Plassholder for innhold 2"/>
          <p:cNvSpPr>
            <a:spLocks noGrp="1"/>
          </p:cNvSpPr>
          <p:nvPr>
            <p:ph idx="1"/>
          </p:nvPr>
        </p:nvSpPr>
        <p:spPr>
          <a:xfrm>
            <a:off x="624418" y="3428999"/>
            <a:ext cx="4799509" cy="2976333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133">
                <a:solidFill>
                  <a:schemeClr val="tx1"/>
                </a:solidFill>
              </a:defRPr>
            </a:lvl2pPr>
            <a:lvl3pPr>
              <a:defRPr sz="1867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n-NO"/>
          </a:p>
        </p:txBody>
      </p:sp>
    </p:spTree>
    <p:extLst>
      <p:ext uri="{BB962C8B-B14F-4D97-AF65-F5344CB8AC3E}">
        <p14:creationId xmlns:p14="http://schemas.microsoft.com/office/powerpoint/2010/main" val="322124381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tel 1"/>
          <p:cNvSpPr>
            <a:spLocks noGrp="1"/>
          </p:cNvSpPr>
          <p:nvPr>
            <p:ph type="ctrTitle"/>
          </p:nvPr>
        </p:nvSpPr>
        <p:spPr>
          <a:xfrm>
            <a:off x="624418" y="2376086"/>
            <a:ext cx="10944191" cy="13437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n-NO"/>
          </a:p>
        </p:txBody>
      </p:sp>
      <p:sp>
        <p:nvSpPr>
          <p:cNvPr id="14" name="Undertittel 2"/>
          <p:cNvSpPr>
            <a:spLocks noGrp="1"/>
          </p:cNvSpPr>
          <p:nvPr>
            <p:ph type="subTitle" idx="1"/>
          </p:nvPr>
        </p:nvSpPr>
        <p:spPr>
          <a:xfrm>
            <a:off x="624418" y="4130799"/>
            <a:ext cx="10944191" cy="160325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  <a:endParaRPr lang="nn-NO"/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n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>
          <a:xfrm>
            <a:off x="1487489" y="6472256"/>
            <a:ext cx="8833132" cy="365125"/>
          </a:xfrm>
        </p:spPr>
        <p:txBody>
          <a:bodyPr/>
          <a:lstStyle/>
          <a:p>
            <a:endParaRPr lang="nn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3A6922-2C30-4BC5-B43E-BB12E61A9113}" type="slidenum">
              <a:rPr lang="nn-NO" smtClean="0"/>
              <a:pPr/>
              <a:t>‹#›</a:t>
            </a:fld>
            <a:endParaRPr lang="nn-NO"/>
          </a:p>
        </p:txBody>
      </p:sp>
    </p:spTree>
    <p:extLst>
      <p:ext uri="{BB962C8B-B14F-4D97-AF65-F5344CB8AC3E}">
        <p14:creationId xmlns:p14="http://schemas.microsoft.com/office/powerpoint/2010/main" val="2688852490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658" y="4370123"/>
            <a:ext cx="10944951" cy="691059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defRPr sz="3733" b="1" cap="all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n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658" y="2869409"/>
            <a:ext cx="10944951" cy="1500716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8" name="Plassholder for dato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n-NO"/>
          </a:p>
        </p:txBody>
      </p:sp>
      <p:sp>
        <p:nvSpPr>
          <p:cNvPr id="9" name="Plassholder for bunntekst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n-NO"/>
          </a:p>
        </p:txBody>
      </p:sp>
      <p:sp>
        <p:nvSpPr>
          <p:cNvPr id="10" name="Plassholder for lysbilde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3A6922-2C30-4BC5-B43E-BB12E61A9113}" type="slidenum">
              <a:rPr lang="nn-NO" smtClean="0"/>
              <a:pPr/>
              <a:t>‹#›</a:t>
            </a:fld>
            <a:endParaRPr lang="nn-NO"/>
          </a:p>
        </p:txBody>
      </p:sp>
    </p:spTree>
    <p:extLst>
      <p:ext uri="{BB962C8B-B14F-4D97-AF65-F5344CB8AC3E}">
        <p14:creationId xmlns:p14="http://schemas.microsoft.com/office/powerpoint/2010/main" val="721236236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loverskrift - Halv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"/>
            <a:ext cx="12191995" cy="6857996"/>
          </a:xfrm>
          <a:prstGeom prst="rect">
            <a:avLst/>
          </a:prstGeom>
        </p:spPr>
      </p:pic>
      <p:sp>
        <p:nvSpPr>
          <p:cNvPr id="6" name="Tittel 1"/>
          <p:cNvSpPr>
            <a:spLocks noGrp="1"/>
          </p:cNvSpPr>
          <p:nvPr>
            <p:ph type="ctrTitle"/>
          </p:nvPr>
        </p:nvSpPr>
        <p:spPr>
          <a:xfrm>
            <a:off x="623392" y="3400197"/>
            <a:ext cx="4896544" cy="1512167"/>
          </a:xfrm>
        </p:spPr>
        <p:txBody>
          <a:bodyPr anchor="b">
            <a:normAutofit/>
          </a:bodyPr>
          <a:lstStyle>
            <a:lvl1pPr algn="ctr">
              <a:defRPr sz="3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nn-NO"/>
          </a:p>
        </p:txBody>
      </p:sp>
      <p:sp>
        <p:nvSpPr>
          <p:cNvPr id="9" name="Undertittel 2"/>
          <p:cNvSpPr>
            <a:spLocks noGrp="1"/>
          </p:cNvSpPr>
          <p:nvPr>
            <p:ph type="subTitle" idx="1"/>
          </p:nvPr>
        </p:nvSpPr>
        <p:spPr>
          <a:xfrm>
            <a:off x="623392" y="4912363"/>
            <a:ext cx="4896544" cy="820893"/>
          </a:xfrm>
        </p:spPr>
        <p:txBody>
          <a:bodyPr>
            <a:normAutofit/>
          </a:bodyPr>
          <a:lstStyle>
            <a:lvl1pPr marL="0" indent="0" algn="ctr">
              <a:buNone/>
              <a:defRPr sz="2133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  <a:endParaRPr lang="nn-NO"/>
          </a:p>
        </p:txBody>
      </p:sp>
    </p:spTree>
    <p:extLst>
      <p:ext uri="{BB962C8B-B14F-4D97-AF65-F5344CB8AC3E}">
        <p14:creationId xmlns:p14="http://schemas.microsoft.com/office/powerpoint/2010/main" val="1204087589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624419" y="275167"/>
            <a:ext cx="9408021" cy="1143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n-NO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24419" y="1600203"/>
            <a:ext cx="5375571" cy="4133848"/>
          </a:xfrm>
          <a:prstGeom prst="rect">
            <a:avLst/>
          </a:prstGeom>
        </p:spPr>
        <p:txBody>
          <a:bodyPr/>
          <a:lstStyle>
            <a:lvl1pPr>
              <a:defRPr sz="3733">
                <a:solidFill>
                  <a:schemeClr val="tx1"/>
                </a:solidFill>
              </a:defRPr>
            </a:lvl1pPr>
            <a:lvl2pPr>
              <a:defRPr sz="3200">
                <a:solidFill>
                  <a:schemeClr val="tx1"/>
                </a:solidFill>
              </a:defRPr>
            </a:lvl2pPr>
            <a:lvl3pPr>
              <a:defRPr sz="2667">
                <a:solidFill>
                  <a:schemeClr val="tx1"/>
                </a:solidFill>
              </a:defRPr>
            </a:lvl3pPr>
            <a:lvl4pPr>
              <a:defRPr sz="2400">
                <a:solidFill>
                  <a:schemeClr val="tx1"/>
                </a:solidFill>
              </a:defRPr>
            </a:lvl4pPr>
            <a:lvl5pPr>
              <a:defRPr sz="240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n-NO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n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n-NO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3A6922-2C30-4BC5-B43E-BB12E61A9113}" type="slidenum">
              <a:rPr lang="nn-NO" smtClean="0"/>
              <a:pPr/>
              <a:t>‹#›</a:t>
            </a:fld>
            <a:endParaRPr lang="nn-NO"/>
          </a:p>
        </p:txBody>
      </p:sp>
      <p:sp>
        <p:nvSpPr>
          <p:cNvPr id="8" name="Plassholder for innhold 2"/>
          <p:cNvSpPr>
            <a:spLocks noGrp="1"/>
          </p:cNvSpPr>
          <p:nvPr>
            <p:ph sz="half" idx="13"/>
          </p:nvPr>
        </p:nvSpPr>
        <p:spPr>
          <a:xfrm>
            <a:off x="6192011" y="1600203"/>
            <a:ext cx="5375571" cy="4133848"/>
          </a:xfrm>
          <a:prstGeom prst="rect">
            <a:avLst/>
          </a:prstGeom>
        </p:spPr>
        <p:txBody>
          <a:bodyPr/>
          <a:lstStyle>
            <a:lvl1pPr>
              <a:defRPr sz="3733">
                <a:solidFill>
                  <a:schemeClr val="tx1"/>
                </a:solidFill>
              </a:defRPr>
            </a:lvl1pPr>
            <a:lvl2pPr>
              <a:defRPr sz="3200">
                <a:solidFill>
                  <a:schemeClr val="tx1"/>
                </a:solidFill>
              </a:defRPr>
            </a:lvl2pPr>
            <a:lvl3pPr>
              <a:defRPr sz="2667">
                <a:solidFill>
                  <a:schemeClr val="tx1"/>
                </a:solidFill>
              </a:defRPr>
            </a:lvl3pPr>
            <a:lvl4pPr>
              <a:defRPr sz="2400">
                <a:solidFill>
                  <a:schemeClr val="tx1"/>
                </a:solidFill>
              </a:defRPr>
            </a:lvl4pPr>
            <a:lvl5pPr>
              <a:defRPr sz="240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n-NO"/>
          </a:p>
        </p:txBody>
      </p:sp>
    </p:spTree>
    <p:extLst>
      <p:ext uri="{BB962C8B-B14F-4D97-AF65-F5344CB8AC3E}">
        <p14:creationId xmlns:p14="http://schemas.microsoft.com/office/powerpoint/2010/main" val="283990430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624418" y="275167"/>
            <a:ext cx="9408023" cy="104159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n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4418" y="1412776"/>
            <a:ext cx="4991529" cy="86409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2667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23656" y="2276872"/>
            <a:ext cx="5520933" cy="3457179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  <a:lvl2pPr>
              <a:defRPr sz="2667">
                <a:solidFill>
                  <a:schemeClr val="tx1"/>
                </a:solidFill>
              </a:defRPr>
            </a:lvl2pPr>
            <a:lvl3pPr>
              <a:defRPr sz="2400">
                <a:solidFill>
                  <a:schemeClr val="tx1"/>
                </a:solidFill>
              </a:defRPr>
            </a:lvl3pPr>
            <a:lvl4pPr>
              <a:defRPr sz="2133">
                <a:solidFill>
                  <a:schemeClr val="tx1"/>
                </a:solidFill>
              </a:defRPr>
            </a:lvl4pPr>
            <a:lvl5pPr>
              <a:defRPr sz="2133">
                <a:solidFill>
                  <a:schemeClr val="tx1"/>
                </a:solidFill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n-NO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5663688" y="2276872"/>
            <a:ext cx="5424867" cy="3457179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  <a:lvl2pPr>
              <a:defRPr sz="2667">
                <a:solidFill>
                  <a:schemeClr val="tx1"/>
                </a:solidFill>
              </a:defRPr>
            </a:lvl2pPr>
            <a:lvl3pPr>
              <a:defRPr sz="2400">
                <a:solidFill>
                  <a:schemeClr val="tx1"/>
                </a:solidFill>
              </a:defRPr>
            </a:lvl3pPr>
            <a:lvl4pPr>
              <a:defRPr sz="2133">
                <a:solidFill>
                  <a:schemeClr val="tx1"/>
                </a:solidFill>
              </a:defRPr>
            </a:lvl4pPr>
            <a:lvl5pPr>
              <a:defRPr sz="2133">
                <a:solidFill>
                  <a:schemeClr val="tx1"/>
                </a:solidFill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n-NO"/>
          </a:p>
        </p:txBody>
      </p:sp>
      <p:sp>
        <p:nvSpPr>
          <p:cNvPr id="11" name="Plassholder for dato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n-NO"/>
          </a:p>
        </p:txBody>
      </p:sp>
      <p:sp>
        <p:nvSpPr>
          <p:cNvPr id="12" name="Plassholder for bunntekst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n-NO"/>
          </a:p>
        </p:txBody>
      </p:sp>
      <p:sp>
        <p:nvSpPr>
          <p:cNvPr id="13" name="Plassholder for lysbildenumm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3A6922-2C30-4BC5-B43E-BB12E61A9113}" type="slidenum">
              <a:rPr lang="nn-NO" smtClean="0"/>
              <a:pPr/>
              <a:t>‹#›</a:t>
            </a:fld>
            <a:endParaRPr lang="nn-NO"/>
          </a:p>
        </p:txBody>
      </p:sp>
      <p:sp>
        <p:nvSpPr>
          <p:cNvPr id="10" name="Plassholder for tekst 2"/>
          <p:cNvSpPr>
            <a:spLocks noGrp="1"/>
          </p:cNvSpPr>
          <p:nvPr>
            <p:ph type="body" idx="13"/>
          </p:nvPr>
        </p:nvSpPr>
        <p:spPr>
          <a:xfrm>
            <a:off x="6096001" y="1412776"/>
            <a:ext cx="4991529" cy="86409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2667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218393994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624418" y="275167"/>
            <a:ext cx="9408021" cy="1143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n-NO"/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n-NO"/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n-NO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3A6922-2C30-4BC5-B43E-BB12E61A9113}" type="slidenum">
              <a:rPr lang="nn-NO" smtClean="0"/>
              <a:pPr/>
              <a:t>‹#›</a:t>
            </a:fld>
            <a:endParaRPr lang="nn-NO"/>
          </a:p>
        </p:txBody>
      </p:sp>
    </p:spTree>
    <p:extLst>
      <p:ext uri="{BB962C8B-B14F-4D97-AF65-F5344CB8AC3E}">
        <p14:creationId xmlns:p14="http://schemas.microsoft.com/office/powerpoint/2010/main" val="3655891248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n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n-NO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3A6922-2C30-4BC5-B43E-BB12E61A9113}" type="slidenum">
              <a:rPr lang="nn-NO" smtClean="0"/>
              <a:pPr/>
              <a:t>‹#›</a:t>
            </a:fld>
            <a:endParaRPr lang="nn-NO"/>
          </a:p>
        </p:txBody>
      </p:sp>
    </p:spTree>
    <p:extLst>
      <p:ext uri="{BB962C8B-B14F-4D97-AF65-F5344CB8AC3E}">
        <p14:creationId xmlns:p14="http://schemas.microsoft.com/office/powerpoint/2010/main" val="1025200402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392" y="273054"/>
            <a:ext cx="3983371" cy="1100433"/>
          </a:xfrm>
          <a:prstGeom prst="rect">
            <a:avLst/>
          </a:prstGeom>
        </p:spPr>
        <p:txBody>
          <a:bodyPr anchor="b"/>
          <a:lstStyle>
            <a:lvl1pPr algn="l">
              <a:defRPr sz="2667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n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50779" y="273055"/>
            <a:ext cx="5281659" cy="5460996"/>
          </a:xfrm>
          <a:prstGeom prst="rect">
            <a:avLst/>
          </a:prstGeom>
        </p:spPr>
        <p:txBody>
          <a:bodyPr/>
          <a:lstStyle>
            <a:lvl1pPr>
              <a:defRPr sz="4267">
                <a:solidFill>
                  <a:schemeClr val="tx1"/>
                </a:solidFill>
              </a:defRPr>
            </a:lvl1pPr>
            <a:lvl2pPr>
              <a:defRPr sz="3733">
                <a:solidFill>
                  <a:schemeClr val="tx1"/>
                </a:solidFill>
              </a:defRPr>
            </a:lvl2pPr>
            <a:lvl3pPr>
              <a:defRPr sz="3200">
                <a:solidFill>
                  <a:schemeClr val="tx1"/>
                </a:solidFill>
              </a:defRPr>
            </a:lvl3pPr>
            <a:lvl4pPr>
              <a:defRPr sz="2667">
                <a:solidFill>
                  <a:schemeClr val="tx1"/>
                </a:solidFill>
              </a:defRPr>
            </a:lvl4pPr>
            <a:lvl5pPr>
              <a:defRPr sz="2667">
                <a:solidFill>
                  <a:schemeClr val="tx1"/>
                </a:solidFill>
              </a:defRPr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n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25278" y="1435100"/>
            <a:ext cx="3967693" cy="42989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>
                <a:solidFill>
                  <a:schemeClr val="tx1"/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n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n-NO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3A6922-2C30-4BC5-B43E-BB12E61A9113}" type="slidenum">
              <a:rPr lang="nn-NO" smtClean="0"/>
              <a:pPr/>
              <a:t>‹#›</a:t>
            </a:fld>
            <a:endParaRPr lang="nn-NO"/>
          </a:p>
        </p:txBody>
      </p:sp>
    </p:spTree>
    <p:extLst>
      <p:ext uri="{BB962C8B-B14F-4D97-AF65-F5344CB8AC3E}">
        <p14:creationId xmlns:p14="http://schemas.microsoft.com/office/powerpoint/2010/main" val="20138644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right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9">
            <a:extLst>
              <a:ext uri="{FF2B5EF4-FFF2-40B4-BE49-F238E27FC236}">
                <a16:creationId xmlns:a16="http://schemas.microsoft.com/office/drawing/2014/main" id="{645FE9CD-1ED4-4BAB-A2E6-81FAE97D5A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92000" cy="6858000"/>
          </a:xfrm>
          <a:noFill/>
          <a:ln>
            <a:noFill/>
          </a:ln>
        </p:spPr>
        <p:txBody>
          <a:bodyPr tIns="0" anchor="t" anchorCtr="0"/>
          <a:lstStyle>
            <a:lvl1pPr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13" name="FLD_PresentationTitle">
            <a:extLst>
              <a:ext uri="{FF2B5EF4-FFF2-40B4-BE49-F238E27FC236}">
                <a16:creationId xmlns:a16="http://schemas.microsoft.com/office/drawing/2014/main" id="{14D760D6-4511-4FB6-834E-914C8197AE9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8618" y="409474"/>
            <a:ext cx="9773923" cy="681390"/>
          </a:xfrm>
        </p:spPr>
        <p:txBody>
          <a:bodyPr tIns="0" anchor="t" anchorCtr="0"/>
          <a:lstStyle>
            <a:lvl1pPr>
              <a:defRPr sz="4799" cap="all" spc="-150" baseline="0" smtClean="0">
                <a:solidFill>
                  <a:schemeClr val="tx1"/>
                </a:solidFill>
                <a:latin typeface="Verdana" pitchFamily="34" charset="0"/>
              </a:defRPr>
            </a:lvl1pPr>
          </a:lstStyle>
          <a:p>
            <a:r>
              <a:rPr lang="en-GB" noProof="0"/>
              <a:t>Headline</a:t>
            </a:r>
          </a:p>
        </p:txBody>
      </p:sp>
      <p:sp>
        <p:nvSpPr>
          <p:cNvPr id="15" name="FLD_PresentationTitle_2">
            <a:extLst>
              <a:ext uri="{FF2B5EF4-FFF2-40B4-BE49-F238E27FC236}">
                <a16:creationId xmlns:a16="http://schemas.microsoft.com/office/drawing/2014/main" id="{97052B4B-9CE9-499F-8A38-BF912EBD1177}"/>
              </a:ext>
            </a:extLst>
          </p:cNvPr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798617" y="1139480"/>
            <a:ext cx="9773463" cy="1254272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4799" b="1" cap="all" spc="-150" baseline="0" smtClean="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GB" noProof="0"/>
              <a:t>Headline</a:t>
            </a:r>
          </a:p>
        </p:txBody>
      </p:sp>
      <p:sp>
        <p:nvSpPr>
          <p:cNvPr id="20" name="FLD_PresentationSubtitle">
            <a:extLst>
              <a:ext uri="{FF2B5EF4-FFF2-40B4-BE49-F238E27FC236}">
                <a16:creationId xmlns:a16="http://schemas.microsoft.com/office/drawing/2014/main" id="{735D5C9D-0ACC-4AA8-AD82-A264D57A9D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8618" y="5018936"/>
            <a:ext cx="8137938" cy="1084011"/>
          </a:xfrm>
        </p:spPr>
        <p:txBody>
          <a:bodyPr lIns="0"/>
          <a:lstStyle>
            <a:lvl1pPr marL="0" indent="0">
              <a:buFont typeface="Arial" panose="020B0604020202020204" pitchFamily="34" charset="0"/>
              <a:buChar char="​"/>
              <a:defRPr sz="1600"/>
            </a:lvl1pPr>
          </a:lstStyle>
          <a:p>
            <a:pPr lvl="0"/>
            <a:r>
              <a:rPr lang="en-GB"/>
              <a:t>Subtitle</a:t>
            </a:r>
          </a:p>
        </p:txBody>
      </p:sp>
      <p:sp>
        <p:nvSpPr>
          <p:cNvPr id="7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8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9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7" name="Footer Placeholder 4" hidden="1">
            <a:extLst>
              <a:ext uri="{FF2B5EF4-FFF2-40B4-BE49-F238E27FC236}">
                <a16:creationId xmlns:a16="http://schemas.microsoft.com/office/drawing/2014/main" id="{32F99A81-D9A2-4F30-8989-49FBFDFFBC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100" baseline="0">
                <a:noFill/>
              </a:defRPr>
            </a:lvl1pPr>
          </a:lstStyle>
          <a:p>
            <a:pPr algn="r"/>
            <a:endParaRPr lang="x-none"/>
          </a:p>
        </p:txBody>
      </p:sp>
      <p:sp>
        <p:nvSpPr>
          <p:cNvPr id="18" name="Date_DateCustomA">
            <a:extLst>
              <a:ext uri="{FF2B5EF4-FFF2-40B4-BE49-F238E27FC236}">
                <a16:creationId xmlns:a16="http://schemas.microsoft.com/office/drawing/2014/main" id="{4677BC5A-C865-45E8-BEA2-32CF74611B5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buNone/>
              <a:defRPr lang="en-GB" sz="100" smtClean="0">
                <a:noFill/>
              </a:defRPr>
            </a:lvl1pPr>
          </a:lstStyle>
          <a:p>
            <a:pPr algn="r"/>
            <a:endParaRPr lang="x-none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BCB23DC-9A5C-4856-B9D3-C9BA6C16682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8617" y="6158174"/>
            <a:ext cx="2826368" cy="255541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409068633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4418" y="4773150"/>
            <a:ext cx="10848180" cy="455031"/>
          </a:xfrm>
          <a:prstGeom prst="rect">
            <a:avLst/>
          </a:prstGeom>
        </p:spPr>
        <p:txBody>
          <a:bodyPr anchor="b"/>
          <a:lstStyle>
            <a:lvl1pPr algn="l">
              <a:defRPr sz="2667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n-NO"/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624418" y="1268762"/>
            <a:ext cx="10848180" cy="3384375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/>
          <a:lstStyle>
            <a:lvl1pPr marL="0" indent="0">
              <a:buNone/>
              <a:defRPr sz="4267">
                <a:solidFill>
                  <a:schemeClr val="tx1"/>
                </a:solidFill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nb-NO"/>
              <a:t>Klikk på ikonet for å legge til et bilde</a:t>
            </a:r>
            <a:endParaRPr lang="nn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24418" y="5367869"/>
            <a:ext cx="10848180" cy="3661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>
                <a:solidFill>
                  <a:schemeClr val="tx1"/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n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n-NO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3A6922-2C30-4BC5-B43E-BB12E61A9113}" type="slidenum">
              <a:rPr lang="nn-NO" smtClean="0"/>
              <a:pPr/>
              <a:t>‹#›</a:t>
            </a:fld>
            <a:endParaRPr lang="nn-NO"/>
          </a:p>
        </p:txBody>
      </p:sp>
    </p:spTree>
    <p:extLst>
      <p:ext uri="{BB962C8B-B14F-4D97-AF65-F5344CB8AC3E}">
        <p14:creationId xmlns:p14="http://schemas.microsoft.com/office/powerpoint/2010/main" val="3461080248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6A0826B-CED6-40B8-9C88-6D6DAA5797C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804F1C4C-A619-4283-B989-199652F692E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4D5054B-C924-4BAC-8A4C-2290300886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014241-BD6D-4EE8-B01E-1571C6CD0863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C321E652-BC74-4049-A44E-5EB86DA66B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F810B729-7282-4317-8DEC-A5161A8EAB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650AA2-4DDB-40E3-AAB0-B08A14F60CC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83909198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DEFFACE0-2B00-4BA7-B3ED-52A1E8C64E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8FD75D6A-5367-450F-99AB-B6FA7E1FC53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7DB799DD-976A-4AAF-8A19-0D6F686F50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014241-BD6D-4EE8-B01E-1571C6CD0863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EA25ABAE-9074-471E-A1A3-72A701B8A9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88637F1-4FBD-4731-BA5D-BE3A2A8609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650AA2-4DDB-40E3-AAB0-B08A14F60CC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14613687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D3B9BC0E-E4CD-45F0-9925-5EF703432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AA45BEA8-CFA9-40FE-9AA2-C4AE813391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15181624-B1AB-4086-8D92-42AE112FC0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014241-BD6D-4EE8-B01E-1571C6CD0863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63A234B6-D106-4CB9-94E8-B01505D05D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93085A7-52BC-42B2-827B-689483A162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650AA2-4DDB-40E3-AAB0-B08A14F60CC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40757249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D04C61E-35A3-4F93-A23F-164F4C607F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768C81BC-325A-4105-9643-32DED343616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9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5004F50B-AE95-4F66-B2F0-5B992E0694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9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C75FD8E7-BF1F-4DFD-A3F9-4B946DE7B7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014241-BD6D-4EE8-B01E-1571C6CD0863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69D83CB4-9BB2-4FE5-99D5-0ECFE5D7A8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9AF06739-9FC5-4234-93E7-244CAEC587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650AA2-4DDB-40E3-AAB0-B08A14F60CC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9447700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9232DA2-45AA-469A-9539-C99EC57028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E2C80A76-F951-47B0-ADEE-D661EE60D4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BB5ABF8A-D025-4503-BE62-29A6DD142D0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C88B54AB-72E2-4180-8DAF-8B619DA709D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B7F2CE2F-70DB-4650-898F-F1D8FAEBAD6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57B632DB-3002-44C6-B5EC-F938EA0779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014241-BD6D-4EE8-B01E-1571C6CD0863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2879DD48-6125-40C6-B27E-DE58FF67EB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E7C77D26-F909-4BC8-905F-BC85074357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650AA2-4DDB-40E3-AAB0-B08A14F60CC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42261511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C4D0EBB-99F2-4156-A2D1-30E9204827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DAF96105-7947-442E-9EA2-CFED7D601E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014241-BD6D-4EE8-B01E-1571C6CD0863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87E0450F-C404-4D9E-8F51-5905C2F5DF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C758C06D-3C9E-4909-AA8D-07210DECCA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650AA2-4DDB-40E3-AAB0-B08A14F60CC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30994311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CB12C29F-CDAB-4CF7-8187-019052C1E8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014241-BD6D-4EE8-B01E-1571C6CD0863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C8F00342-357D-4E1D-9E26-4E8658FACE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D6F1B2D7-9F62-408C-9658-13ED768969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650AA2-4DDB-40E3-AAB0-B08A14F60CC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63695433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41ACE6C-E68F-449A-8459-BB53293844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7663D7C-CD7C-4E8C-B11B-CA8AFA41A8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9787A768-EDC6-4719-A628-A9BAEB6444E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48475631-6CA4-4A6E-80F6-828EF12195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014241-BD6D-4EE8-B01E-1571C6CD0863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0E180907-FBE4-4BBA-8DE0-8AB209C7AF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0F30499F-6905-45F5-A630-44B2C9DAE6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650AA2-4DDB-40E3-AAB0-B08A14F60CC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20300427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CA9DA20-334A-4F45-BD7B-6B46A7673A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48DBACC3-FEB2-4D3A-9DE7-7AEE0A013C0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E1B7A8DB-ACBE-45F7-8503-30B2F28F787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D1461381-829B-4851-B263-1EDC78A54A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014241-BD6D-4EE8-B01E-1571C6CD0863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DBC8904D-CEF4-413C-BE19-C274626A6B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2A14339D-5AC8-403A-AE97-099DE776EE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650AA2-4DDB-40E3-AAB0-B08A14F60CC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3383386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dark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9">
            <a:extLst>
              <a:ext uri="{FF2B5EF4-FFF2-40B4-BE49-F238E27FC236}">
                <a16:creationId xmlns:a16="http://schemas.microsoft.com/office/drawing/2014/main" id="{645FE9CD-1ED4-4BAB-A2E6-81FAE97D5A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92000" cy="6858000"/>
          </a:xfrm>
          <a:solidFill>
            <a:srgbClr val="F6F6F4"/>
          </a:solidFill>
          <a:ln>
            <a:noFill/>
          </a:ln>
        </p:spPr>
        <p:txBody>
          <a:bodyPr tIns="0" anchor="t" anchorCtr="0"/>
          <a:lstStyle>
            <a:lvl1pPr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13" name="FLD_PresentationTitle">
            <a:extLst>
              <a:ext uri="{FF2B5EF4-FFF2-40B4-BE49-F238E27FC236}">
                <a16:creationId xmlns:a16="http://schemas.microsoft.com/office/drawing/2014/main" id="{14D760D6-4511-4FB6-834E-914C8197AE9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8617" y="409474"/>
            <a:ext cx="9774382" cy="681390"/>
          </a:xfrm>
        </p:spPr>
        <p:txBody>
          <a:bodyPr tIns="0" anchor="t" anchorCtr="0"/>
          <a:lstStyle>
            <a:lvl1pPr>
              <a:defRPr sz="4799" cap="all" spc="-150" baseline="0" smtClean="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GB" noProof="0"/>
              <a:t>Headline</a:t>
            </a:r>
          </a:p>
        </p:txBody>
      </p:sp>
      <p:sp>
        <p:nvSpPr>
          <p:cNvPr id="15" name="FLD_PresentationTitle_2">
            <a:extLst>
              <a:ext uri="{FF2B5EF4-FFF2-40B4-BE49-F238E27FC236}">
                <a16:creationId xmlns:a16="http://schemas.microsoft.com/office/drawing/2014/main" id="{97052B4B-9CE9-499F-8A38-BF912EBD1177}"/>
              </a:ext>
            </a:extLst>
          </p:cNvPr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798617" y="1139480"/>
            <a:ext cx="9773922" cy="1254272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4799" b="1" cap="all" spc="-150" baseline="0" smtClean="0">
                <a:solidFill>
                  <a:schemeClr val="bg1"/>
                </a:solidFill>
                <a:latin typeface="Verdana" pitchFamily="34" charset="0"/>
              </a:defRPr>
            </a:lvl1pPr>
          </a:lstStyle>
          <a:p>
            <a:r>
              <a:rPr lang="en-GB" noProof="0"/>
              <a:t>Headline</a:t>
            </a:r>
          </a:p>
        </p:txBody>
      </p:sp>
      <p:sp>
        <p:nvSpPr>
          <p:cNvPr id="20" name="FLD_PresentationSubtitle">
            <a:extLst>
              <a:ext uri="{FF2B5EF4-FFF2-40B4-BE49-F238E27FC236}">
                <a16:creationId xmlns:a16="http://schemas.microsoft.com/office/drawing/2014/main" id="{735D5C9D-0ACC-4AA8-AD82-A264D57A9D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8618" y="5018936"/>
            <a:ext cx="8137938" cy="1084011"/>
          </a:xfrm>
        </p:spPr>
        <p:txBody>
          <a:bodyPr lIns="0"/>
          <a:lstStyle>
            <a:lvl1pPr marL="0" indent="0">
              <a:buFont typeface="Arial" panose="020B0604020202020204" pitchFamily="34" charset="0"/>
              <a:buChar char="​"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</a:t>
            </a:r>
          </a:p>
        </p:txBody>
      </p:sp>
      <p:sp>
        <p:nvSpPr>
          <p:cNvPr id="7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8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9" name="Slide Number Placeholder 5" hidden="1">
            <a:extLst>
              <a:ext uri="{FF2B5EF4-FFF2-40B4-BE49-F238E27FC236}">
                <a16:creationId xmlns:a16="http://schemas.microsoft.com/office/drawing/2014/main" id="{F31626DF-C504-456C-BABA-F9E112AEAE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22" name="Footer Placeholder 4" hidden="1">
            <a:extLst>
              <a:ext uri="{FF2B5EF4-FFF2-40B4-BE49-F238E27FC236}">
                <a16:creationId xmlns:a16="http://schemas.microsoft.com/office/drawing/2014/main" id="{148EA343-9CD9-4A35-8E70-A9FAF3855B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100" baseline="0">
                <a:noFill/>
              </a:defRPr>
            </a:lvl1pPr>
          </a:lstStyle>
          <a:p>
            <a:pPr algn="r"/>
            <a:endParaRPr lang="x-none"/>
          </a:p>
        </p:txBody>
      </p:sp>
      <p:sp>
        <p:nvSpPr>
          <p:cNvPr id="23" name="Date_DateCustomA" hidden="1">
            <a:extLst>
              <a:ext uri="{FF2B5EF4-FFF2-40B4-BE49-F238E27FC236}">
                <a16:creationId xmlns:a16="http://schemas.microsoft.com/office/drawing/2014/main" id="{D46E539C-AF02-4268-B134-91B646ABB7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buNone/>
              <a:defRPr lang="en-GB" sz="100" smtClean="0">
                <a:noFill/>
              </a:defRPr>
            </a:lvl1pPr>
          </a:lstStyle>
          <a:p>
            <a:pPr algn="r"/>
            <a:endParaRPr lang="x-none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B71DD6B-2BD1-40F7-8209-3A56F244488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8617" y="6158174"/>
            <a:ext cx="2826368" cy="255541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73586197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A65EF64-6EFB-4B88-83F0-E057DE92B7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3B904C90-FA29-4ABB-847D-0D154B9FE78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1B1ECFED-E603-454A-9486-06C02915FE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014241-BD6D-4EE8-B01E-1571C6CD0863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16620D7A-9103-4CA6-BD72-5A02E3141E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2C49E8C4-258A-4FA9-AE29-1902DA9B67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650AA2-4DDB-40E3-AAB0-B08A14F60CC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72521631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>
            <a:extLst>
              <a:ext uri="{FF2B5EF4-FFF2-40B4-BE49-F238E27FC236}">
                <a16:creationId xmlns:a16="http://schemas.microsoft.com/office/drawing/2014/main" id="{FD1A77AE-F0A1-4CE7-937B-B6F81EB7724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1" y="365126"/>
            <a:ext cx="2628900" cy="5811839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04BCB623-1338-41F6-8A31-7461B64045A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1" y="365126"/>
            <a:ext cx="7734300" cy="5811839"/>
          </a:xfrm>
        </p:spPr>
        <p:txBody>
          <a:bodyPr vert="eaVert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4A98A35B-7B46-43C8-B00F-D0BE5D219A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014241-BD6D-4EE8-B01E-1571C6CD0863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60286CE4-346B-4780-A7AA-D71061F609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949BC345-3E5B-4D14-B66E-F0321A4FCD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650AA2-4DDB-40E3-AAB0-B08A14F60CC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51358268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">
            <a:extLst>
              <a:ext uri="{FF2B5EF4-FFF2-40B4-BE49-F238E27FC236}">
                <a16:creationId xmlns:a16="http://schemas.microsoft.com/office/drawing/2014/main" id="{E5DB2DA5-91A6-4816-9881-A8CE9E1045A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1253" y="6356350"/>
            <a:ext cx="303055" cy="311151"/>
            <a:chOff x="7110" y="4004"/>
            <a:chExt cx="191" cy="196"/>
          </a:xfrm>
        </p:grpSpPr>
        <p:sp>
          <p:nvSpPr>
            <p:cNvPr id="3" name="Freeform 5">
              <a:extLst>
                <a:ext uri="{FF2B5EF4-FFF2-40B4-BE49-F238E27FC236}">
                  <a16:creationId xmlns:a16="http://schemas.microsoft.com/office/drawing/2014/main" id="{716658EC-C39F-4928-9266-78429285A1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/>
            </a:p>
          </p:txBody>
        </p:sp>
        <p:sp>
          <p:nvSpPr>
            <p:cNvPr id="4" name="Freeform 6">
              <a:extLst>
                <a:ext uri="{FF2B5EF4-FFF2-40B4-BE49-F238E27FC236}">
                  <a16:creationId xmlns:a16="http://schemas.microsoft.com/office/drawing/2014/main" id="{8D949B96-8B90-43F8-B92A-17A7483C35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/>
            </a:p>
          </p:txBody>
        </p:sp>
        <p:sp>
          <p:nvSpPr>
            <p:cNvPr id="5" name="Freeform 7">
              <a:extLst>
                <a:ext uri="{FF2B5EF4-FFF2-40B4-BE49-F238E27FC236}">
                  <a16:creationId xmlns:a16="http://schemas.microsoft.com/office/drawing/2014/main" id="{5600A429-A837-4C7A-9BAB-C0526B0C25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/>
            </a:p>
          </p:txBody>
        </p:sp>
      </p:grp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301F39-8893-4186-9055-82E2A4CC2C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6902" y="6471244"/>
            <a:ext cx="662721" cy="180000"/>
          </a:xfrm>
          <a:prstGeom prst="rect">
            <a:avLst/>
          </a:prstGeom>
        </p:spPr>
        <p:txBody>
          <a:bodyPr/>
          <a:lstStyle>
            <a:lvl1pPr marL="0" algn="l" defTabSz="913464" rtl="0" eaLnBrk="1" latinLnBrk="0" hangingPunct="1">
              <a:defRPr lang="en-GB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nb-NO"/>
              <a:t>Side </a:t>
            </a:r>
            <a:fld id="{F1BC30E3-FFE5-4B91-AA19-87A149EBB9EE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52120032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Punktlista &amp; bild Vän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Shape 151"/>
          <p:cNvSpPr>
            <a:spLocks noGrp="1"/>
          </p:cNvSpPr>
          <p:nvPr>
            <p:ph type="pic" sz="half" idx="13"/>
          </p:nvPr>
        </p:nvSpPr>
        <p:spPr>
          <a:xfrm>
            <a:off x="12502" y="1052736"/>
            <a:ext cx="5423925" cy="5877275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52" name="Shape 152"/>
          <p:cNvSpPr>
            <a:spLocks noGrp="1"/>
          </p:cNvSpPr>
          <p:nvPr>
            <p:ph type="body" sz="quarter" idx="1"/>
          </p:nvPr>
        </p:nvSpPr>
        <p:spPr>
          <a:xfrm>
            <a:off x="5999991" y="1916184"/>
            <a:ext cx="5664635" cy="720731"/>
          </a:xfrm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53" name="Shape 153"/>
          <p:cNvSpPr>
            <a:spLocks noGrp="1"/>
          </p:cNvSpPr>
          <p:nvPr>
            <p:ph type="body" sz="quarter" idx="14"/>
          </p:nvPr>
        </p:nvSpPr>
        <p:spPr>
          <a:xfrm>
            <a:off x="6001016" y="2652784"/>
            <a:ext cx="5663573" cy="2592392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54" name="Shape 154"/>
          <p:cNvSpPr>
            <a:spLocks noGrp="1"/>
          </p:cNvSpPr>
          <p:nvPr>
            <p:ph type="body" sz="quarter" idx="15"/>
          </p:nvPr>
        </p:nvSpPr>
        <p:spPr>
          <a:xfrm>
            <a:off x="9168344" y="332657"/>
            <a:ext cx="2496281" cy="288927"/>
          </a:xfrm>
          <a:prstGeom prst="rect">
            <a:avLst/>
          </a:prstGeom>
        </p:spPr>
        <p:txBody>
          <a:bodyPr/>
          <a:lstStyle>
            <a:lvl1pPr defTabSz="408422">
              <a:spcBef>
                <a:spcPts val="400"/>
              </a:spcBef>
              <a:defRPr sz="1474"/>
            </a:lvl1pPr>
          </a:lstStyle>
          <a:p>
            <a:pPr defTabSz="306324">
              <a:spcBef>
                <a:spcPts val="300"/>
              </a:spcBef>
              <a:defRPr sz="1474"/>
            </a:pPr>
            <a:endParaRPr/>
          </a:p>
        </p:txBody>
      </p:sp>
      <p:sp>
        <p:nvSpPr>
          <p:cNvPr id="155" name="Shape 155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63959228"/>
      </p:ext>
    </p:extLst>
  </p:cSld>
  <p:clrMapOvr>
    <a:masterClrMapping/>
  </p:clrMapOvr>
  <p:transition spd="med"/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5E6538D-7309-48C5-8F2D-C3D189B29C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5E6538D-7309-48C5-8F2D-C3D189B29C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3F1CBA5-61D5-47D7-A71C-36A1FDE99F5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668" cy="158751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nb-NO" sz="2999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7856" y="795663"/>
            <a:ext cx="4927845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799" noProof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101" y="1954222"/>
            <a:ext cx="4326679" cy="979703"/>
          </a:xfr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nb-NO"/>
              <a:t>Click to edit Master title sty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101" y="3046159"/>
            <a:ext cx="4326679" cy="1046323"/>
          </a:xfr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19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8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8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7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7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6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6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5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Click to edit Master subtitle sty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2492" y="5709060"/>
            <a:ext cx="8117873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745" y="5605200"/>
            <a:ext cx="1044529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nb-NO" sz="120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2491" y="6019189"/>
            <a:ext cx="3087667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Name Surname</a:t>
            </a:r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2491" y="6216807"/>
            <a:ext cx="3087667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Job Title</a:t>
            </a:r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743" y="5914643"/>
            <a:ext cx="5757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9"/>
            <a:ext cx="1224912" cy="1435100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/>
            </a:p>
          </p:txBody>
        </p:sp>
      </p:grpSp>
    </p:spTree>
    <p:extLst>
      <p:ext uri="{BB962C8B-B14F-4D97-AF65-F5344CB8AC3E}">
        <p14:creationId xmlns:p14="http://schemas.microsoft.com/office/powerpoint/2010/main" val="31221894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29720C4-F356-424B-91D2-E0BB5F2928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29720C4-F356-424B-91D2-E0BB5F2928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FF46D89-72E3-4149-8798-7C34E7DBF7E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668" cy="158751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nb-NO" sz="2999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7857" y="5826613"/>
            <a:ext cx="3876004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389" y="2158329"/>
            <a:ext cx="3998353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nb-NO" noProof="0"/>
              <a:t>Click to edit Master title style</a:t>
            </a:r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4581" y="3200330"/>
            <a:ext cx="4018535" cy="64574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8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8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7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7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6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6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5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Click to edit Master subtitle style</a:t>
            </a:r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 userDrawn="1"/>
        </p:nvGrpSpPr>
        <p:grpSpPr>
          <a:xfrm>
            <a:off x="489112" y="876059"/>
            <a:ext cx="4852768" cy="3374475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1799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1799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1799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1799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9"/>
            <a:ext cx="1224912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/>
            </a:p>
          </p:txBody>
        </p:sp>
      </p:grpSp>
    </p:spTree>
    <p:extLst>
      <p:ext uri="{BB962C8B-B14F-4D97-AF65-F5344CB8AC3E}">
        <p14:creationId xmlns:p14="http://schemas.microsoft.com/office/powerpoint/2010/main" val="33369560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273DB69-7D99-4643-ACD3-8717AC1B2B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273DB69-7D99-4643-ACD3-8717AC1B2B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C41F949-68D6-47FE-8316-E72C5BF917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668" cy="158751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nb-NO" sz="2399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nb-NO" noProof="0"/>
              <a:t>Click to edit Master title style</a:t>
            </a:r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1"/>
            <a:ext cx="10974284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sz="1799" noProof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Side </a:t>
            </a:r>
            <a:fld id="{F1BC30E3-FFE5-4B91-AA19-87A149EBB9EE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22513439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F3A31A3-7E63-42AE-9531-68DDB1157DA5}"/>
              </a:ext>
            </a:extLst>
          </p:cNvPr>
          <p:cNvSpPr/>
          <p:nvPr userDrawn="1"/>
        </p:nvSpPr>
        <p:spPr>
          <a:xfrm>
            <a:off x="0" y="0"/>
            <a:ext cx="5874040" cy="6858000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273DB69-7D99-4643-ACD3-8717AC1B2B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273DB69-7D99-4643-ACD3-8717AC1B2B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C41F949-68D6-47FE-8316-E72C5BF917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668" cy="158751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nb-NO" sz="2399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85887"/>
            <a:ext cx="4475139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nb-NO" noProof="0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98664" y="1137920"/>
            <a:ext cx="5583736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Side </a:t>
            </a:r>
            <a:fld id="{F1BC30E3-FFE5-4B91-AA19-87A149EBB9EE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66119907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F3A31A3-7E63-42AE-9531-68DDB1157DA5}"/>
              </a:ext>
            </a:extLst>
          </p:cNvPr>
          <p:cNvSpPr/>
          <p:nvPr userDrawn="1"/>
        </p:nvSpPr>
        <p:spPr>
          <a:xfrm>
            <a:off x="0" y="0"/>
            <a:ext cx="5874040" cy="6858000"/>
          </a:xfrm>
          <a:prstGeom prst="rect">
            <a:avLst/>
          </a:prstGeom>
          <a:solidFill>
            <a:schemeClr val="tx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273DB69-7D99-4643-ACD3-8717AC1B2B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273DB69-7D99-4643-ACD3-8717AC1B2B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C41F949-68D6-47FE-8316-E72C5BF917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668" cy="158751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nb-NO" sz="2399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85887"/>
            <a:ext cx="4475139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nb-NO" noProof="0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98664" y="1137920"/>
            <a:ext cx="5583736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Side </a:t>
            </a:r>
            <a:fld id="{F1BC30E3-FFE5-4B91-AA19-87A149EBB9EE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58420363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">
            <a:extLst>
              <a:ext uri="{FF2B5EF4-FFF2-40B4-BE49-F238E27FC236}">
                <a16:creationId xmlns:a16="http://schemas.microsoft.com/office/drawing/2014/main" id="{E5DB2DA5-91A6-4816-9881-A8CE9E1045A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1251" y="6356350"/>
            <a:ext cx="303055" cy="311151"/>
            <a:chOff x="7110" y="4004"/>
            <a:chExt cx="191" cy="196"/>
          </a:xfrm>
        </p:grpSpPr>
        <p:sp>
          <p:nvSpPr>
            <p:cNvPr id="3" name="Freeform 5">
              <a:extLst>
                <a:ext uri="{FF2B5EF4-FFF2-40B4-BE49-F238E27FC236}">
                  <a16:creationId xmlns:a16="http://schemas.microsoft.com/office/drawing/2014/main" id="{716658EC-C39F-4928-9266-78429285A1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/>
            </a:p>
          </p:txBody>
        </p:sp>
        <p:sp>
          <p:nvSpPr>
            <p:cNvPr id="4" name="Freeform 6">
              <a:extLst>
                <a:ext uri="{FF2B5EF4-FFF2-40B4-BE49-F238E27FC236}">
                  <a16:creationId xmlns:a16="http://schemas.microsoft.com/office/drawing/2014/main" id="{8D949B96-8B90-43F8-B92A-17A7483C35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/>
            </a:p>
          </p:txBody>
        </p:sp>
        <p:sp>
          <p:nvSpPr>
            <p:cNvPr id="5" name="Freeform 7">
              <a:extLst>
                <a:ext uri="{FF2B5EF4-FFF2-40B4-BE49-F238E27FC236}">
                  <a16:creationId xmlns:a16="http://schemas.microsoft.com/office/drawing/2014/main" id="{5600A429-A837-4C7A-9BAB-C0526B0C25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/>
            </a:p>
          </p:txBody>
        </p:sp>
      </p:grp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301F39-8893-4186-9055-82E2A4CC2C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6901" y="6471244"/>
            <a:ext cx="662721" cy="180000"/>
          </a:xfrm>
          <a:prstGeom prst="rect">
            <a:avLst/>
          </a:prstGeom>
        </p:spPr>
        <p:txBody>
          <a:bodyPr/>
          <a:lstStyle>
            <a:lvl1pPr marL="0" algn="l" defTabSz="913889" rtl="0" eaLnBrk="1" latinLnBrk="0" hangingPunct="1">
              <a:defRPr lang="en-GB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nb-NO"/>
              <a:t>Side </a:t>
            </a:r>
            <a:fld id="{F1BC30E3-FFE5-4B91-AA19-87A149EBB9EE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2344396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7" tIns="45708" rIns="91417" bIns="45708" rtlCol="0" anchor="ctr"/>
          <a:lstStyle/>
          <a:p>
            <a:pPr algn="ctr"/>
            <a:endParaRPr lang="en-GB" sz="1800" noProof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205C9348-6845-4A4F-958A-4A052BC8ED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8618" y="452438"/>
            <a:ext cx="7330441" cy="5254627"/>
          </a:xfrm>
        </p:spPr>
        <p:txBody>
          <a:bodyPr/>
          <a:lstStyle>
            <a:lvl1pPr>
              <a:defRPr sz="4799">
                <a:solidFill>
                  <a:schemeClr val="bg1"/>
                </a:solidFill>
              </a:defRPr>
            </a:lvl1pPr>
          </a:lstStyle>
          <a:p>
            <a:r>
              <a:rPr lang="en-GB"/>
              <a:t>Breaker text</a:t>
            </a:r>
          </a:p>
        </p:txBody>
      </p:sp>
      <p:sp>
        <p:nvSpPr>
          <p:cNvPr id="12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19783461-93EA-4162-AC89-71558EC415F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98617" y="6158174"/>
            <a:ext cx="1219359" cy="257114"/>
          </a:xfrm>
          <a:custGeom>
            <a:avLst/>
            <a:gdLst>
              <a:gd name="T0" fmla="*/ 545 w 1071"/>
              <a:gd name="T1" fmla="*/ 142 h 223"/>
              <a:gd name="T2" fmla="*/ 572 w 1071"/>
              <a:gd name="T3" fmla="*/ 118 h 223"/>
              <a:gd name="T4" fmla="*/ 132 w 1071"/>
              <a:gd name="T5" fmla="*/ 108 h 223"/>
              <a:gd name="T6" fmla="*/ 173 w 1071"/>
              <a:gd name="T7" fmla="*/ 92 h 223"/>
              <a:gd name="T8" fmla="*/ 568 w 1071"/>
              <a:gd name="T9" fmla="*/ 76 h 223"/>
              <a:gd name="T10" fmla="*/ 567 w 1071"/>
              <a:gd name="T11" fmla="*/ 99 h 223"/>
              <a:gd name="T12" fmla="*/ 296 w 1071"/>
              <a:gd name="T13" fmla="*/ 118 h 223"/>
              <a:gd name="T14" fmla="*/ 305 w 1071"/>
              <a:gd name="T15" fmla="*/ 138 h 223"/>
              <a:gd name="T16" fmla="*/ 240 w 1071"/>
              <a:gd name="T17" fmla="*/ 163 h 223"/>
              <a:gd name="T18" fmla="*/ 267 w 1071"/>
              <a:gd name="T19" fmla="*/ 63 h 223"/>
              <a:gd name="T20" fmla="*/ 333 w 1071"/>
              <a:gd name="T21" fmla="*/ 147 h 223"/>
              <a:gd name="T22" fmla="*/ 312 w 1071"/>
              <a:gd name="T23" fmla="*/ 156 h 223"/>
              <a:gd name="T24" fmla="*/ 1071 w 1071"/>
              <a:gd name="T25" fmla="*/ 177 h 223"/>
              <a:gd name="T26" fmla="*/ 799 w 1071"/>
              <a:gd name="T27" fmla="*/ 0 h 223"/>
              <a:gd name="T28" fmla="*/ 707 w 1071"/>
              <a:gd name="T29" fmla="*/ 76 h 223"/>
              <a:gd name="T30" fmla="*/ 670 w 1071"/>
              <a:gd name="T31" fmla="*/ 109 h 223"/>
              <a:gd name="T32" fmla="*/ 735 w 1071"/>
              <a:gd name="T33" fmla="*/ 109 h 223"/>
              <a:gd name="T34" fmla="*/ 759 w 1071"/>
              <a:gd name="T35" fmla="*/ 109 h 223"/>
              <a:gd name="T36" fmla="*/ 646 w 1071"/>
              <a:gd name="T37" fmla="*/ 109 h 223"/>
              <a:gd name="T38" fmla="*/ 712 w 1071"/>
              <a:gd name="T39" fmla="*/ 55 h 223"/>
              <a:gd name="T40" fmla="*/ 0 w 1071"/>
              <a:gd name="T41" fmla="*/ 46 h 223"/>
              <a:gd name="T42" fmla="*/ 1026 w 1071"/>
              <a:gd name="T43" fmla="*/ 223 h 223"/>
              <a:gd name="T44" fmla="*/ 453 w 1071"/>
              <a:gd name="T45" fmla="*/ 151 h 223"/>
              <a:gd name="T46" fmla="*/ 423 w 1071"/>
              <a:gd name="T47" fmla="*/ 136 h 223"/>
              <a:gd name="T48" fmla="*/ 393 w 1071"/>
              <a:gd name="T49" fmla="*/ 151 h 223"/>
              <a:gd name="T50" fmla="*/ 370 w 1071"/>
              <a:gd name="T51" fmla="*/ 66 h 223"/>
              <a:gd name="T52" fmla="*/ 424 w 1071"/>
              <a:gd name="T53" fmla="*/ 107 h 223"/>
              <a:gd name="T54" fmla="*/ 477 w 1071"/>
              <a:gd name="T55" fmla="*/ 66 h 223"/>
              <a:gd name="T56" fmla="*/ 600 w 1071"/>
              <a:gd name="T57" fmla="*/ 65 h 223"/>
              <a:gd name="T58" fmla="*/ 613 w 1071"/>
              <a:gd name="T59" fmla="*/ 133 h 223"/>
              <a:gd name="T60" fmla="*/ 522 w 1071"/>
              <a:gd name="T61" fmla="*/ 150 h 223"/>
              <a:gd name="T62" fmla="*/ 572 w 1071"/>
              <a:gd name="T63" fmla="*/ 56 h 223"/>
              <a:gd name="T64" fmla="*/ 157 w 1071"/>
              <a:gd name="T65" fmla="*/ 56 h 223"/>
              <a:gd name="T66" fmla="*/ 197 w 1071"/>
              <a:gd name="T67" fmla="*/ 91 h 223"/>
              <a:gd name="T68" fmla="*/ 196 w 1071"/>
              <a:gd name="T69" fmla="*/ 152 h 223"/>
              <a:gd name="T70" fmla="*/ 150 w 1071"/>
              <a:gd name="T71" fmla="*/ 128 h 223"/>
              <a:gd name="T72" fmla="*/ 120 w 1071"/>
              <a:gd name="T73" fmla="*/ 163 h 223"/>
              <a:gd name="T74" fmla="*/ 811 w 1071"/>
              <a:gd name="T75" fmla="*/ 162 h 223"/>
              <a:gd name="T76" fmla="*/ 811 w 1071"/>
              <a:gd name="T77" fmla="*/ 55 h 223"/>
              <a:gd name="T78" fmla="*/ 866 w 1071"/>
              <a:gd name="T79" fmla="*/ 141 h 223"/>
              <a:gd name="T80" fmla="*/ 811 w 1071"/>
              <a:gd name="T81" fmla="*/ 162 h 223"/>
              <a:gd name="T82" fmla="*/ 908 w 1071"/>
              <a:gd name="T83" fmla="*/ 67 h 223"/>
              <a:gd name="T84" fmla="*/ 931 w 1071"/>
              <a:gd name="T85" fmla="*/ 141 h 223"/>
              <a:gd name="T86" fmla="*/ 975 w 1071"/>
              <a:gd name="T87" fmla="*/ 162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071" h="223">
                <a:moveTo>
                  <a:pt x="572" y="118"/>
                </a:moveTo>
                <a:cubicBezTo>
                  <a:pt x="545" y="118"/>
                  <a:pt x="545" y="118"/>
                  <a:pt x="545" y="118"/>
                </a:cubicBezTo>
                <a:cubicBezTo>
                  <a:pt x="545" y="142"/>
                  <a:pt x="545" y="142"/>
                  <a:pt x="545" y="142"/>
                </a:cubicBezTo>
                <a:cubicBezTo>
                  <a:pt x="573" y="142"/>
                  <a:pt x="573" y="142"/>
                  <a:pt x="573" y="142"/>
                </a:cubicBezTo>
                <a:cubicBezTo>
                  <a:pt x="583" y="142"/>
                  <a:pt x="590" y="138"/>
                  <a:pt x="590" y="130"/>
                </a:cubicBezTo>
                <a:cubicBezTo>
                  <a:pt x="590" y="123"/>
                  <a:pt x="584" y="118"/>
                  <a:pt x="572" y="118"/>
                </a:cubicBezTo>
                <a:moveTo>
                  <a:pt x="155" y="77"/>
                </a:moveTo>
                <a:cubicBezTo>
                  <a:pt x="132" y="77"/>
                  <a:pt x="132" y="77"/>
                  <a:pt x="132" y="77"/>
                </a:cubicBezTo>
                <a:cubicBezTo>
                  <a:pt x="132" y="108"/>
                  <a:pt x="132" y="108"/>
                  <a:pt x="132" y="108"/>
                </a:cubicBezTo>
                <a:cubicBezTo>
                  <a:pt x="155" y="108"/>
                  <a:pt x="155" y="108"/>
                  <a:pt x="155" y="108"/>
                </a:cubicBezTo>
                <a:cubicBezTo>
                  <a:pt x="167" y="108"/>
                  <a:pt x="173" y="101"/>
                  <a:pt x="173" y="92"/>
                </a:cubicBezTo>
                <a:cubicBezTo>
                  <a:pt x="173" y="92"/>
                  <a:pt x="173" y="92"/>
                  <a:pt x="173" y="92"/>
                </a:cubicBezTo>
                <a:cubicBezTo>
                  <a:pt x="173" y="82"/>
                  <a:pt x="166" y="77"/>
                  <a:pt x="155" y="77"/>
                </a:cubicBezTo>
                <a:moveTo>
                  <a:pt x="584" y="88"/>
                </a:moveTo>
                <a:cubicBezTo>
                  <a:pt x="584" y="80"/>
                  <a:pt x="578" y="76"/>
                  <a:pt x="568" y="76"/>
                </a:cubicBezTo>
                <a:cubicBezTo>
                  <a:pt x="545" y="76"/>
                  <a:pt x="545" y="76"/>
                  <a:pt x="545" y="76"/>
                </a:cubicBezTo>
                <a:cubicBezTo>
                  <a:pt x="545" y="99"/>
                  <a:pt x="545" y="99"/>
                  <a:pt x="545" y="99"/>
                </a:cubicBezTo>
                <a:cubicBezTo>
                  <a:pt x="567" y="99"/>
                  <a:pt x="567" y="99"/>
                  <a:pt x="567" y="99"/>
                </a:cubicBezTo>
                <a:cubicBezTo>
                  <a:pt x="577" y="99"/>
                  <a:pt x="584" y="96"/>
                  <a:pt x="584" y="88"/>
                </a:cubicBezTo>
                <a:moveTo>
                  <a:pt x="266" y="118"/>
                </a:moveTo>
                <a:cubicBezTo>
                  <a:pt x="296" y="118"/>
                  <a:pt x="296" y="118"/>
                  <a:pt x="296" y="118"/>
                </a:cubicBezTo>
                <a:cubicBezTo>
                  <a:pt x="281" y="83"/>
                  <a:pt x="281" y="83"/>
                  <a:pt x="281" y="83"/>
                </a:cubicBezTo>
                <a:lnTo>
                  <a:pt x="266" y="118"/>
                </a:lnTo>
                <a:close/>
                <a:moveTo>
                  <a:pt x="305" y="138"/>
                </a:moveTo>
                <a:cubicBezTo>
                  <a:pt x="258" y="138"/>
                  <a:pt x="258" y="138"/>
                  <a:pt x="258" y="138"/>
                </a:cubicBezTo>
                <a:cubicBezTo>
                  <a:pt x="250" y="156"/>
                  <a:pt x="250" y="156"/>
                  <a:pt x="250" y="156"/>
                </a:cubicBezTo>
                <a:cubicBezTo>
                  <a:pt x="248" y="161"/>
                  <a:pt x="245" y="163"/>
                  <a:pt x="240" y="163"/>
                </a:cubicBezTo>
                <a:cubicBezTo>
                  <a:pt x="234" y="163"/>
                  <a:pt x="229" y="159"/>
                  <a:pt x="229" y="153"/>
                </a:cubicBezTo>
                <a:cubicBezTo>
                  <a:pt x="229" y="151"/>
                  <a:pt x="229" y="149"/>
                  <a:pt x="230" y="147"/>
                </a:cubicBezTo>
                <a:cubicBezTo>
                  <a:pt x="267" y="63"/>
                  <a:pt x="267" y="63"/>
                  <a:pt x="267" y="63"/>
                </a:cubicBezTo>
                <a:cubicBezTo>
                  <a:pt x="270" y="58"/>
                  <a:pt x="274" y="54"/>
                  <a:pt x="282" y="54"/>
                </a:cubicBezTo>
                <a:cubicBezTo>
                  <a:pt x="289" y="54"/>
                  <a:pt x="293" y="58"/>
                  <a:pt x="296" y="63"/>
                </a:cubicBezTo>
                <a:cubicBezTo>
                  <a:pt x="333" y="147"/>
                  <a:pt x="333" y="147"/>
                  <a:pt x="333" y="147"/>
                </a:cubicBezTo>
                <a:cubicBezTo>
                  <a:pt x="334" y="149"/>
                  <a:pt x="334" y="151"/>
                  <a:pt x="334" y="153"/>
                </a:cubicBezTo>
                <a:cubicBezTo>
                  <a:pt x="334" y="159"/>
                  <a:pt x="329" y="163"/>
                  <a:pt x="323" y="163"/>
                </a:cubicBezTo>
                <a:cubicBezTo>
                  <a:pt x="318" y="163"/>
                  <a:pt x="314" y="161"/>
                  <a:pt x="312" y="156"/>
                </a:cubicBezTo>
                <a:lnTo>
                  <a:pt x="305" y="138"/>
                </a:lnTo>
                <a:close/>
                <a:moveTo>
                  <a:pt x="1026" y="223"/>
                </a:moveTo>
                <a:cubicBezTo>
                  <a:pt x="1058" y="223"/>
                  <a:pt x="1071" y="209"/>
                  <a:pt x="1071" y="177"/>
                </a:cubicBezTo>
                <a:cubicBezTo>
                  <a:pt x="1071" y="46"/>
                  <a:pt x="1071" y="46"/>
                  <a:pt x="1071" y="46"/>
                </a:cubicBezTo>
                <a:cubicBezTo>
                  <a:pt x="1071" y="14"/>
                  <a:pt x="1058" y="0"/>
                  <a:pt x="1026" y="0"/>
                </a:cubicBezTo>
                <a:cubicBezTo>
                  <a:pt x="799" y="0"/>
                  <a:pt x="799" y="0"/>
                  <a:pt x="799" y="0"/>
                </a:cubicBezTo>
                <a:cubicBezTo>
                  <a:pt x="701" y="118"/>
                  <a:pt x="701" y="118"/>
                  <a:pt x="701" y="118"/>
                </a:cubicBezTo>
                <a:cubicBezTo>
                  <a:pt x="698" y="116"/>
                  <a:pt x="698" y="116"/>
                  <a:pt x="698" y="116"/>
                </a:cubicBezTo>
                <a:cubicBezTo>
                  <a:pt x="707" y="76"/>
                  <a:pt x="707" y="76"/>
                  <a:pt x="707" y="76"/>
                </a:cubicBezTo>
                <a:cubicBezTo>
                  <a:pt x="705" y="76"/>
                  <a:pt x="704" y="76"/>
                  <a:pt x="702" y="76"/>
                </a:cubicBezTo>
                <a:cubicBezTo>
                  <a:pt x="683" y="76"/>
                  <a:pt x="670" y="91"/>
                  <a:pt x="670" y="109"/>
                </a:cubicBezTo>
                <a:cubicBezTo>
                  <a:pt x="670" y="109"/>
                  <a:pt x="670" y="109"/>
                  <a:pt x="670" y="109"/>
                </a:cubicBezTo>
                <a:cubicBezTo>
                  <a:pt x="670" y="127"/>
                  <a:pt x="684" y="142"/>
                  <a:pt x="703" y="142"/>
                </a:cubicBezTo>
                <a:cubicBezTo>
                  <a:pt x="722" y="142"/>
                  <a:pt x="735" y="128"/>
                  <a:pt x="735" y="109"/>
                </a:cubicBezTo>
                <a:cubicBezTo>
                  <a:pt x="735" y="109"/>
                  <a:pt x="735" y="109"/>
                  <a:pt x="735" y="109"/>
                </a:cubicBezTo>
                <a:cubicBezTo>
                  <a:pt x="735" y="106"/>
                  <a:pt x="734" y="102"/>
                  <a:pt x="733" y="99"/>
                </a:cubicBezTo>
                <a:cubicBezTo>
                  <a:pt x="753" y="84"/>
                  <a:pt x="753" y="84"/>
                  <a:pt x="753" y="84"/>
                </a:cubicBezTo>
                <a:cubicBezTo>
                  <a:pt x="757" y="91"/>
                  <a:pt x="759" y="100"/>
                  <a:pt x="759" y="109"/>
                </a:cubicBezTo>
                <a:cubicBezTo>
                  <a:pt x="759" y="109"/>
                  <a:pt x="759" y="109"/>
                  <a:pt x="759" y="109"/>
                </a:cubicBezTo>
                <a:cubicBezTo>
                  <a:pt x="759" y="139"/>
                  <a:pt x="735" y="164"/>
                  <a:pt x="702" y="164"/>
                </a:cubicBezTo>
                <a:cubicBezTo>
                  <a:pt x="669" y="164"/>
                  <a:pt x="646" y="140"/>
                  <a:pt x="646" y="109"/>
                </a:cubicBezTo>
                <a:cubicBezTo>
                  <a:pt x="646" y="109"/>
                  <a:pt x="646" y="109"/>
                  <a:pt x="646" y="109"/>
                </a:cubicBezTo>
                <a:cubicBezTo>
                  <a:pt x="646" y="79"/>
                  <a:pt x="670" y="54"/>
                  <a:pt x="703" y="54"/>
                </a:cubicBezTo>
                <a:cubicBezTo>
                  <a:pt x="706" y="54"/>
                  <a:pt x="709" y="54"/>
                  <a:pt x="712" y="55"/>
                </a:cubicBezTo>
                <a:cubicBezTo>
                  <a:pt x="724" y="0"/>
                  <a:pt x="724" y="0"/>
                  <a:pt x="724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13" y="0"/>
                  <a:pt x="0" y="14"/>
                  <a:pt x="0" y="46"/>
                </a:cubicBezTo>
                <a:cubicBezTo>
                  <a:pt x="0" y="177"/>
                  <a:pt x="0" y="177"/>
                  <a:pt x="0" y="177"/>
                </a:cubicBezTo>
                <a:cubicBezTo>
                  <a:pt x="0" y="209"/>
                  <a:pt x="13" y="223"/>
                  <a:pt x="45" y="223"/>
                </a:cubicBezTo>
                <a:lnTo>
                  <a:pt x="1026" y="223"/>
                </a:lnTo>
                <a:close/>
                <a:moveTo>
                  <a:pt x="477" y="151"/>
                </a:moveTo>
                <a:cubicBezTo>
                  <a:pt x="477" y="159"/>
                  <a:pt x="472" y="163"/>
                  <a:pt x="465" y="163"/>
                </a:cubicBezTo>
                <a:cubicBezTo>
                  <a:pt x="458" y="163"/>
                  <a:pt x="453" y="159"/>
                  <a:pt x="453" y="151"/>
                </a:cubicBezTo>
                <a:cubicBezTo>
                  <a:pt x="453" y="98"/>
                  <a:pt x="453" y="98"/>
                  <a:pt x="453" y="98"/>
                </a:cubicBezTo>
                <a:cubicBezTo>
                  <a:pt x="433" y="130"/>
                  <a:pt x="433" y="130"/>
                  <a:pt x="433" y="130"/>
                </a:cubicBezTo>
                <a:cubicBezTo>
                  <a:pt x="431" y="134"/>
                  <a:pt x="428" y="136"/>
                  <a:pt x="423" y="136"/>
                </a:cubicBezTo>
                <a:cubicBezTo>
                  <a:pt x="419" y="136"/>
                  <a:pt x="416" y="134"/>
                  <a:pt x="413" y="130"/>
                </a:cubicBezTo>
                <a:cubicBezTo>
                  <a:pt x="393" y="99"/>
                  <a:pt x="393" y="99"/>
                  <a:pt x="393" y="99"/>
                </a:cubicBezTo>
                <a:cubicBezTo>
                  <a:pt x="393" y="151"/>
                  <a:pt x="393" y="151"/>
                  <a:pt x="393" y="151"/>
                </a:cubicBezTo>
                <a:cubicBezTo>
                  <a:pt x="393" y="159"/>
                  <a:pt x="388" y="163"/>
                  <a:pt x="382" y="163"/>
                </a:cubicBezTo>
                <a:cubicBezTo>
                  <a:pt x="375" y="163"/>
                  <a:pt x="370" y="159"/>
                  <a:pt x="370" y="151"/>
                </a:cubicBezTo>
                <a:cubicBezTo>
                  <a:pt x="370" y="66"/>
                  <a:pt x="370" y="66"/>
                  <a:pt x="370" y="66"/>
                </a:cubicBezTo>
                <a:cubicBezTo>
                  <a:pt x="370" y="59"/>
                  <a:pt x="377" y="55"/>
                  <a:pt x="383" y="55"/>
                </a:cubicBezTo>
                <a:cubicBezTo>
                  <a:pt x="389" y="55"/>
                  <a:pt x="393" y="57"/>
                  <a:pt x="396" y="62"/>
                </a:cubicBezTo>
                <a:cubicBezTo>
                  <a:pt x="424" y="107"/>
                  <a:pt x="424" y="107"/>
                  <a:pt x="424" y="107"/>
                </a:cubicBezTo>
                <a:cubicBezTo>
                  <a:pt x="451" y="62"/>
                  <a:pt x="451" y="62"/>
                  <a:pt x="451" y="62"/>
                </a:cubicBezTo>
                <a:cubicBezTo>
                  <a:pt x="454" y="57"/>
                  <a:pt x="458" y="55"/>
                  <a:pt x="464" y="55"/>
                </a:cubicBezTo>
                <a:cubicBezTo>
                  <a:pt x="470" y="55"/>
                  <a:pt x="477" y="59"/>
                  <a:pt x="477" y="66"/>
                </a:cubicBezTo>
                <a:lnTo>
                  <a:pt x="477" y="151"/>
                </a:lnTo>
                <a:close/>
                <a:moveTo>
                  <a:pt x="572" y="56"/>
                </a:moveTo>
                <a:cubicBezTo>
                  <a:pt x="584" y="56"/>
                  <a:pt x="594" y="59"/>
                  <a:pt x="600" y="65"/>
                </a:cubicBezTo>
                <a:cubicBezTo>
                  <a:pt x="605" y="70"/>
                  <a:pt x="607" y="76"/>
                  <a:pt x="607" y="83"/>
                </a:cubicBezTo>
                <a:cubicBezTo>
                  <a:pt x="607" y="96"/>
                  <a:pt x="601" y="102"/>
                  <a:pt x="593" y="107"/>
                </a:cubicBezTo>
                <a:cubicBezTo>
                  <a:pt x="605" y="111"/>
                  <a:pt x="613" y="118"/>
                  <a:pt x="613" y="133"/>
                </a:cubicBezTo>
                <a:cubicBezTo>
                  <a:pt x="613" y="153"/>
                  <a:pt x="597" y="162"/>
                  <a:pt x="573" y="162"/>
                </a:cubicBezTo>
                <a:cubicBezTo>
                  <a:pt x="534" y="162"/>
                  <a:pt x="534" y="162"/>
                  <a:pt x="534" y="162"/>
                </a:cubicBezTo>
                <a:cubicBezTo>
                  <a:pt x="527" y="162"/>
                  <a:pt x="522" y="158"/>
                  <a:pt x="522" y="150"/>
                </a:cubicBezTo>
                <a:cubicBezTo>
                  <a:pt x="522" y="68"/>
                  <a:pt x="522" y="68"/>
                  <a:pt x="522" y="68"/>
                </a:cubicBezTo>
                <a:cubicBezTo>
                  <a:pt x="522" y="60"/>
                  <a:pt x="527" y="56"/>
                  <a:pt x="534" y="56"/>
                </a:cubicBezTo>
                <a:lnTo>
                  <a:pt x="572" y="56"/>
                </a:lnTo>
                <a:close/>
                <a:moveTo>
                  <a:pt x="108" y="68"/>
                </a:moveTo>
                <a:cubicBezTo>
                  <a:pt x="108" y="60"/>
                  <a:pt x="113" y="56"/>
                  <a:pt x="120" y="56"/>
                </a:cubicBezTo>
                <a:cubicBezTo>
                  <a:pt x="157" y="56"/>
                  <a:pt x="157" y="56"/>
                  <a:pt x="157" y="56"/>
                </a:cubicBezTo>
                <a:cubicBezTo>
                  <a:pt x="171" y="56"/>
                  <a:pt x="181" y="60"/>
                  <a:pt x="188" y="67"/>
                </a:cubicBezTo>
                <a:cubicBezTo>
                  <a:pt x="194" y="73"/>
                  <a:pt x="197" y="81"/>
                  <a:pt x="197" y="91"/>
                </a:cubicBezTo>
                <a:cubicBezTo>
                  <a:pt x="197" y="91"/>
                  <a:pt x="197" y="91"/>
                  <a:pt x="197" y="91"/>
                </a:cubicBezTo>
                <a:cubicBezTo>
                  <a:pt x="197" y="108"/>
                  <a:pt x="189" y="118"/>
                  <a:pt x="176" y="124"/>
                </a:cubicBezTo>
                <a:cubicBezTo>
                  <a:pt x="192" y="143"/>
                  <a:pt x="192" y="143"/>
                  <a:pt x="192" y="143"/>
                </a:cubicBezTo>
                <a:cubicBezTo>
                  <a:pt x="194" y="146"/>
                  <a:pt x="196" y="148"/>
                  <a:pt x="196" y="152"/>
                </a:cubicBezTo>
                <a:cubicBezTo>
                  <a:pt x="196" y="158"/>
                  <a:pt x="190" y="163"/>
                  <a:pt x="184" y="163"/>
                </a:cubicBezTo>
                <a:cubicBezTo>
                  <a:pt x="179" y="163"/>
                  <a:pt x="176" y="161"/>
                  <a:pt x="173" y="157"/>
                </a:cubicBezTo>
                <a:cubicBezTo>
                  <a:pt x="150" y="128"/>
                  <a:pt x="150" y="128"/>
                  <a:pt x="150" y="128"/>
                </a:cubicBezTo>
                <a:cubicBezTo>
                  <a:pt x="132" y="128"/>
                  <a:pt x="132" y="128"/>
                  <a:pt x="132" y="128"/>
                </a:cubicBezTo>
                <a:cubicBezTo>
                  <a:pt x="132" y="151"/>
                  <a:pt x="132" y="151"/>
                  <a:pt x="132" y="151"/>
                </a:cubicBezTo>
                <a:cubicBezTo>
                  <a:pt x="132" y="159"/>
                  <a:pt x="127" y="163"/>
                  <a:pt x="120" y="163"/>
                </a:cubicBezTo>
                <a:cubicBezTo>
                  <a:pt x="113" y="163"/>
                  <a:pt x="108" y="159"/>
                  <a:pt x="108" y="151"/>
                </a:cubicBezTo>
                <a:lnTo>
                  <a:pt x="108" y="68"/>
                </a:lnTo>
                <a:close/>
                <a:moveTo>
                  <a:pt x="811" y="162"/>
                </a:moveTo>
                <a:cubicBezTo>
                  <a:pt x="804" y="162"/>
                  <a:pt x="799" y="158"/>
                  <a:pt x="799" y="150"/>
                </a:cubicBezTo>
                <a:cubicBezTo>
                  <a:pt x="799" y="67"/>
                  <a:pt x="799" y="67"/>
                  <a:pt x="799" y="67"/>
                </a:cubicBezTo>
                <a:cubicBezTo>
                  <a:pt x="799" y="59"/>
                  <a:pt x="804" y="55"/>
                  <a:pt x="811" y="55"/>
                </a:cubicBezTo>
                <a:cubicBezTo>
                  <a:pt x="818" y="55"/>
                  <a:pt x="823" y="59"/>
                  <a:pt x="823" y="67"/>
                </a:cubicBezTo>
                <a:cubicBezTo>
                  <a:pt x="823" y="141"/>
                  <a:pt x="823" y="141"/>
                  <a:pt x="823" y="141"/>
                </a:cubicBezTo>
                <a:cubicBezTo>
                  <a:pt x="866" y="141"/>
                  <a:pt x="866" y="141"/>
                  <a:pt x="866" y="141"/>
                </a:cubicBezTo>
                <a:cubicBezTo>
                  <a:pt x="872" y="141"/>
                  <a:pt x="877" y="145"/>
                  <a:pt x="877" y="152"/>
                </a:cubicBezTo>
                <a:cubicBezTo>
                  <a:pt x="877" y="158"/>
                  <a:pt x="872" y="162"/>
                  <a:pt x="866" y="162"/>
                </a:cubicBezTo>
                <a:lnTo>
                  <a:pt x="811" y="162"/>
                </a:lnTo>
                <a:close/>
                <a:moveTo>
                  <a:pt x="919" y="162"/>
                </a:moveTo>
                <a:cubicBezTo>
                  <a:pt x="913" y="162"/>
                  <a:pt x="908" y="158"/>
                  <a:pt x="908" y="150"/>
                </a:cubicBezTo>
                <a:cubicBezTo>
                  <a:pt x="908" y="67"/>
                  <a:pt x="908" y="67"/>
                  <a:pt x="908" y="67"/>
                </a:cubicBezTo>
                <a:cubicBezTo>
                  <a:pt x="908" y="59"/>
                  <a:pt x="913" y="55"/>
                  <a:pt x="919" y="55"/>
                </a:cubicBezTo>
                <a:cubicBezTo>
                  <a:pt x="926" y="55"/>
                  <a:pt x="931" y="59"/>
                  <a:pt x="931" y="67"/>
                </a:cubicBezTo>
                <a:cubicBezTo>
                  <a:pt x="931" y="141"/>
                  <a:pt x="931" y="141"/>
                  <a:pt x="931" y="141"/>
                </a:cubicBezTo>
                <a:cubicBezTo>
                  <a:pt x="975" y="141"/>
                  <a:pt x="975" y="141"/>
                  <a:pt x="975" y="141"/>
                </a:cubicBezTo>
                <a:cubicBezTo>
                  <a:pt x="981" y="141"/>
                  <a:pt x="985" y="145"/>
                  <a:pt x="985" y="152"/>
                </a:cubicBezTo>
                <a:cubicBezTo>
                  <a:pt x="985" y="158"/>
                  <a:pt x="981" y="162"/>
                  <a:pt x="975" y="162"/>
                </a:cubicBezTo>
                <a:lnTo>
                  <a:pt x="919" y="1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EE38BD6-B0DE-4974-8C0E-549D4DF8AD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>
                <a:solidFill>
                  <a:schemeClr val="bg1"/>
                </a:solidFill>
              </a:defRPr>
            </a:lvl1pPr>
          </a:lstStyle>
          <a:p>
            <a:pPr algn="r"/>
            <a:endParaRPr lang="en-GB"/>
          </a:p>
        </p:txBody>
      </p:sp>
      <p:sp>
        <p:nvSpPr>
          <p:cNvPr id="15" name="Date_DateCustomA">
            <a:extLst>
              <a:ext uri="{FF2B5EF4-FFF2-40B4-BE49-F238E27FC236}">
                <a16:creationId xmlns:a16="http://schemas.microsoft.com/office/drawing/2014/main" id="{4F117C74-452F-4005-AE59-9EDC236F06C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bg1"/>
                </a:solidFill>
              </a:defRPr>
            </a:lvl1pPr>
          </a:lstStyle>
          <a:p>
            <a:pPr algn="r"/>
            <a:fld id="{39E358D6-2C07-4588-BB20-50FD0000CCEB}" type="datetime1">
              <a:rPr lang="en-GB" smtClean="0"/>
              <a:t>04/05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07147314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DF912F4-A8CC-47BC-9514-290EFCA5B768}"/>
              </a:ext>
            </a:extLst>
          </p:cNvPr>
          <p:cNvSpPr/>
          <p:nvPr userDrawn="1"/>
        </p:nvSpPr>
        <p:spPr>
          <a:xfrm>
            <a:off x="0" y="352668"/>
            <a:ext cx="9524085" cy="744312"/>
          </a:xfrm>
          <a:prstGeom prst="rect">
            <a:avLst/>
          </a:prstGeom>
          <a:solidFill>
            <a:schemeClr val="accent2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29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97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0D637BE-1CBC-4F35-9805-E10DE7899621}"/>
              </a:ext>
            </a:extLst>
          </p:cNvPr>
          <p:cNvSpPr txBox="1"/>
          <p:nvPr userDrawn="1"/>
        </p:nvSpPr>
        <p:spPr>
          <a:xfrm>
            <a:off x="351692" y="465303"/>
            <a:ext cx="2657381" cy="63248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2976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27ACAA"/>
              </a:buClr>
              <a:buSzPct val="70000"/>
              <a:buFontTx/>
              <a:buNone/>
              <a:tabLst/>
              <a:defRPr/>
            </a:pPr>
            <a:r>
              <a:rPr kumimoji="0" lang="nb-NO" sz="4793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Innhold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D6D8592-A4DD-4B75-9686-6AEDCF5CEF81}"/>
              </a:ext>
            </a:extLst>
          </p:cNvPr>
          <p:cNvGrpSpPr/>
          <p:nvPr userDrawn="1"/>
        </p:nvGrpSpPr>
        <p:grpSpPr>
          <a:xfrm>
            <a:off x="9524089" y="352667"/>
            <a:ext cx="2661569" cy="744312"/>
            <a:chOff x="9532620" y="112048"/>
            <a:chExt cx="2665730" cy="745088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D2ADA928-AA3C-427A-A9FC-EE44853B5882}"/>
                </a:ext>
              </a:extLst>
            </p:cNvPr>
            <p:cNvSpPr/>
            <p:nvPr/>
          </p:nvSpPr>
          <p:spPr>
            <a:xfrm>
              <a:off x="9532620" y="112048"/>
              <a:ext cx="2665730" cy="745088"/>
            </a:xfrm>
            <a:prstGeom prst="rect">
              <a:avLst/>
            </a:prstGeom>
            <a:solidFill>
              <a:srgbClr val="F2F2F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ctr" defTabSz="9129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7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grpSp>
          <p:nvGrpSpPr>
            <p:cNvPr id="6" name="Group 4">
              <a:extLst>
                <a:ext uri="{FF2B5EF4-FFF2-40B4-BE49-F238E27FC236}">
                  <a16:creationId xmlns:a16="http://schemas.microsoft.com/office/drawing/2014/main" id="{6C3CD795-40FC-4D50-AFE8-23252E933072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1302119" y="141719"/>
              <a:ext cx="585615" cy="685745"/>
              <a:chOff x="6529" y="3125"/>
              <a:chExt cx="772" cy="904"/>
            </a:xfrm>
          </p:grpSpPr>
          <p:sp>
            <p:nvSpPr>
              <p:cNvPr id="8" name="Freeform 5">
                <a:extLst>
                  <a:ext uri="{FF2B5EF4-FFF2-40B4-BE49-F238E27FC236}">
                    <a16:creationId xmlns:a16="http://schemas.microsoft.com/office/drawing/2014/main" id="{92D5A6CB-3EB5-4EF7-829F-41C908D22DC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29" y="3125"/>
                <a:ext cx="619" cy="226"/>
              </a:xfrm>
              <a:custGeom>
                <a:avLst/>
                <a:gdLst>
                  <a:gd name="T0" fmla="*/ 2473 w 2473"/>
                  <a:gd name="T1" fmla="*/ 0 h 902"/>
                  <a:gd name="T2" fmla="*/ 0 w 2473"/>
                  <a:gd name="T3" fmla="*/ 902 h 902"/>
                  <a:gd name="T4" fmla="*/ 2473 w 2473"/>
                  <a:gd name="T5" fmla="*/ 466 h 902"/>
                  <a:gd name="T6" fmla="*/ 2473 w 2473"/>
                  <a:gd name="T7" fmla="*/ 0 h 9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73" h="902">
                    <a:moveTo>
                      <a:pt x="2473" y="0"/>
                    </a:moveTo>
                    <a:lnTo>
                      <a:pt x="0" y="902"/>
                    </a:lnTo>
                    <a:lnTo>
                      <a:pt x="2473" y="466"/>
                    </a:lnTo>
                    <a:lnTo>
                      <a:pt x="2473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44" tIns="45672" rIns="91344" bIns="4567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297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97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endParaRPr>
              </a:p>
            </p:txBody>
          </p:sp>
          <p:sp>
            <p:nvSpPr>
              <p:cNvPr id="9" name="Freeform 6">
                <a:extLst>
                  <a:ext uri="{FF2B5EF4-FFF2-40B4-BE49-F238E27FC236}">
                    <a16:creationId xmlns:a16="http://schemas.microsoft.com/office/drawing/2014/main" id="{700B2B41-C3FF-43C3-8CE8-B09C5180C76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529" y="3444"/>
                <a:ext cx="772" cy="585"/>
              </a:xfrm>
              <a:custGeom>
                <a:avLst/>
                <a:gdLst>
                  <a:gd name="T0" fmla="*/ 233 w 3088"/>
                  <a:gd name="T1" fmla="*/ 1588 h 2339"/>
                  <a:gd name="T2" fmla="*/ 253 w 3088"/>
                  <a:gd name="T3" fmla="*/ 1795 h 2339"/>
                  <a:gd name="T4" fmla="*/ 151 w 3088"/>
                  <a:gd name="T5" fmla="*/ 1810 h 2339"/>
                  <a:gd name="T6" fmla="*/ 351 w 3088"/>
                  <a:gd name="T7" fmla="*/ 1761 h 2339"/>
                  <a:gd name="T8" fmla="*/ 416 w 3088"/>
                  <a:gd name="T9" fmla="*/ 1857 h 2339"/>
                  <a:gd name="T10" fmla="*/ 1140 w 3088"/>
                  <a:gd name="T11" fmla="*/ 1652 h 2339"/>
                  <a:gd name="T12" fmla="*/ 1216 w 3088"/>
                  <a:gd name="T13" fmla="*/ 1738 h 2339"/>
                  <a:gd name="T14" fmla="*/ 696 w 3088"/>
                  <a:gd name="T15" fmla="*/ 1546 h 2339"/>
                  <a:gd name="T16" fmla="*/ 738 w 3088"/>
                  <a:gd name="T17" fmla="*/ 1710 h 2339"/>
                  <a:gd name="T18" fmla="*/ 860 w 3088"/>
                  <a:gd name="T19" fmla="*/ 1854 h 2339"/>
                  <a:gd name="T20" fmla="*/ 832 w 3088"/>
                  <a:gd name="T21" fmla="*/ 1684 h 2339"/>
                  <a:gd name="T22" fmla="*/ 2021 w 3088"/>
                  <a:gd name="T23" fmla="*/ 1860 h 2339"/>
                  <a:gd name="T24" fmla="*/ 2158 w 3088"/>
                  <a:gd name="T25" fmla="*/ 1747 h 2339"/>
                  <a:gd name="T26" fmla="*/ 2100 w 3088"/>
                  <a:gd name="T27" fmla="*/ 1730 h 2339"/>
                  <a:gd name="T28" fmla="*/ 2059 w 3088"/>
                  <a:gd name="T29" fmla="*/ 1684 h 2339"/>
                  <a:gd name="T30" fmla="*/ 1309 w 3088"/>
                  <a:gd name="T31" fmla="*/ 1734 h 2339"/>
                  <a:gd name="T32" fmla="*/ 1445 w 3088"/>
                  <a:gd name="T33" fmla="*/ 1844 h 2339"/>
                  <a:gd name="T34" fmla="*/ 1473 w 3088"/>
                  <a:gd name="T35" fmla="*/ 1923 h 2339"/>
                  <a:gd name="T36" fmla="*/ 1369 w 3088"/>
                  <a:gd name="T37" fmla="*/ 1781 h 2339"/>
                  <a:gd name="T38" fmla="*/ 1727 w 3088"/>
                  <a:gd name="T39" fmla="*/ 1677 h 2339"/>
                  <a:gd name="T40" fmla="*/ 1632 w 3088"/>
                  <a:gd name="T41" fmla="*/ 1778 h 2339"/>
                  <a:gd name="T42" fmla="*/ 1822 w 3088"/>
                  <a:gd name="T43" fmla="*/ 1710 h 2339"/>
                  <a:gd name="T44" fmla="*/ 1686 w 3088"/>
                  <a:gd name="T45" fmla="*/ 1786 h 2339"/>
                  <a:gd name="T46" fmla="*/ 1708 w 3088"/>
                  <a:gd name="T47" fmla="*/ 1817 h 2339"/>
                  <a:gd name="T48" fmla="*/ 2240 w 3088"/>
                  <a:gd name="T49" fmla="*/ 1766 h 2339"/>
                  <a:gd name="T50" fmla="*/ 2227 w 3088"/>
                  <a:gd name="T51" fmla="*/ 1653 h 2339"/>
                  <a:gd name="T52" fmla="*/ 2290 w 3088"/>
                  <a:gd name="T53" fmla="*/ 1866 h 2339"/>
                  <a:gd name="T54" fmla="*/ 2321 w 3088"/>
                  <a:gd name="T55" fmla="*/ 1709 h 2339"/>
                  <a:gd name="T56" fmla="*/ 2908 w 3088"/>
                  <a:gd name="T57" fmla="*/ 1750 h 2339"/>
                  <a:gd name="T58" fmla="*/ 2730 w 3088"/>
                  <a:gd name="T59" fmla="*/ 1683 h 2339"/>
                  <a:gd name="T60" fmla="*/ 2852 w 3088"/>
                  <a:gd name="T61" fmla="*/ 1860 h 2339"/>
                  <a:gd name="T62" fmla="*/ 2639 w 3088"/>
                  <a:gd name="T63" fmla="*/ 1783 h 2339"/>
                  <a:gd name="T64" fmla="*/ 2605 w 3088"/>
                  <a:gd name="T65" fmla="*/ 1853 h 2339"/>
                  <a:gd name="T66" fmla="*/ 2464 w 3088"/>
                  <a:gd name="T67" fmla="*/ 1861 h 2339"/>
                  <a:gd name="T68" fmla="*/ 2495 w 3088"/>
                  <a:gd name="T69" fmla="*/ 1812 h 2339"/>
                  <a:gd name="T70" fmla="*/ 2998 w 3088"/>
                  <a:gd name="T71" fmla="*/ 1639 h 2339"/>
                  <a:gd name="T72" fmla="*/ 975 w 3088"/>
                  <a:gd name="T73" fmla="*/ 1860 h 2339"/>
                  <a:gd name="T74" fmla="*/ 2416 w 3088"/>
                  <a:gd name="T75" fmla="*/ 2069 h 2339"/>
                  <a:gd name="T76" fmla="*/ 2510 w 3088"/>
                  <a:gd name="T77" fmla="*/ 2251 h 2339"/>
                  <a:gd name="T78" fmla="*/ 2485 w 3088"/>
                  <a:gd name="T79" fmla="*/ 2074 h 2339"/>
                  <a:gd name="T80" fmla="*/ 627 w 3088"/>
                  <a:gd name="T81" fmla="*/ 2078 h 2339"/>
                  <a:gd name="T82" fmla="*/ 672 w 3088"/>
                  <a:gd name="T83" fmla="*/ 2089 h 2339"/>
                  <a:gd name="T84" fmla="*/ 202 w 3088"/>
                  <a:gd name="T85" fmla="*/ 2135 h 2339"/>
                  <a:gd name="T86" fmla="*/ 310 w 3088"/>
                  <a:gd name="T87" fmla="*/ 2174 h 2339"/>
                  <a:gd name="T88" fmla="*/ 503 w 3088"/>
                  <a:gd name="T89" fmla="*/ 2174 h 2339"/>
                  <a:gd name="T90" fmla="*/ 374 w 3088"/>
                  <a:gd name="T91" fmla="*/ 2185 h 2339"/>
                  <a:gd name="T92" fmla="*/ 439 w 3088"/>
                  <a:gd name="T93" fmla="*/ 2185 h 2339"/>
                  <a:gd name="T94" fmla="*/ 2197 w 3088"/>
                  <a:gd name="T95" fmla="*/ 2040 h 2339"/>
                  <a:gd name="T96" fmla="*/ 1597 w 3088"/>
                  <a:gd name="T97" fmla="*/ 2027 h 2339"/>
                  <a:gd name="T98" fmla="*/ 1937 w 3088"/>
                  <a:gd name="T99" fmla="*/ 2047 h 2339"/>
                  <a:gd name="T100" fmla="*/ 2002 w 3088"/>
                  <a:gd name="T101" fmla="*/ 2254 h 2339"/>
                  <a:gd name="T102" fmla="*/ 2061 w 3088"/>
                  <a:gd name="T103" fmla="*/ 2041 h 2339"/>
                  <a:gd name="T104" fmla="*/ 2002 w 3088"/>
                  <a:gd name="T105" fmla="*/ 2073 h 2339"/>
                  <a:gd name="T106" fmla="*/ 767 w 3088"/>
                  <a:gd name="T107" fmla="*/ 1934 h 2339"/>
                  <a:gd name="T108" fmla="*/ 1202 w 3088"/>
                  <a:gd name="T109" fmla="*/ 2037 h 2339"/>
                  <a:gd name="T110" fmla="*/ 1108 w 3088"/>
                  <a:gd name="T111" fmla="*/ 2086 h 2339"/>
                  <a:gd name="T112" fmla="*/ 1280 w 3088"/>
                  <a:gd name="T113" fmla="*/ 2078 h 2339"/>
                  <a:gd name="T114" fmla="*/ 1385 w 3088"/>
                  <a:gd name="T115" fmla="*/ 2249 h 2339"/>
                  <a:gd name="T116" fmla="*/ 1403 w 3088"/>
                  <a:gd name="T117" fmla="*/ 2332 h 2339"/>
                  <a:gd name="T118" fmla="*/ 1354 w 3088"/>
                  <a:gd name="T119" fmla="*/ 2200 h 2339"/>
                  <a:gd name="T120" fmla="*/ 993 w 3088"/>
                  <a:gd name="T121" fmla="*/ 2123 h 2339"/>
                  <a:gd name="T122" fmla="*/ 397 w 3088"/>
                  <a:gd name="T123" fmla="*/ 963 h 23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088" h="2339">
                    <a:moveTo>
                      <a:pt x="257" y="1763"/>
                    </a:moveTo>
                    <a:lnTo>
                      <a:pt x="257" y="1763"/>
                    </a:lnTo>
                    <a:lnTo>
                      <a:pt x="257" y="1755"/>
                    </a:lnTo>
                    <a:lnTo>
                      <a:pt x="256" y="1749"/>
                    </a:lnTo>
                    <a:lnTo>
                      <a:pt x="253" y="1736"/>
                    </a:lnTo>
                    <a:lnTo>
                      <a:pt x="247" y="1725"/>
                    </a:lnTo>
                    <a:lnTo>
                      <a:pt x="241" y="1716"/>
                    </a:lnTo>
                    <a:lnTo>
                      <a:pt x="233" y="1709"/>
                    </a:lnTo>
                    <a:lnTo>
                      <a:pt x="225" y="1704"/>
                    </a:lnTo>
                    <a:lnTo>
                      <a:pt x="219" y="1699"/>
                    </a:lnTo>
                    <a:lnTo>
                      <a:pt x="212" y="1696"/>
                    </a:lnTo>
                    <a:lnTo>
                      <a:pt x="212" y="1696"/>
                    </a:lnTo>
                    <a:lnTo>
                      <a:pt x="220" y="1690"/>
                    </a:lnTo>
                    <a:lnTo>
                      <a:pt x="226" y="1685"/>
                    </a:lnTo>
                    <a:lnTo>
                      <a:pt x="232" y="1678"/>
                    </a:lnTo>
                    <a:lnTo>
                      <a:pt x="237" y="1671"/>
                    </a:lnTo>
                    <a:lnTo>
                      <a:pt x="242" y="1663"/>
                    </a:lnTo>
                    <a:lnTo>
                      <a:pt x="244" y="1654"/>
                    </a:lnTo>
                    <a:lnTo>
                      <a:pt x="246" y="1645"/>
                    </a:lnTo>
                    <a:lnTo>
                      <a:pt x="246" y="1635"/>
                    </a:lnTo>
                    <a:lnTo>
                      <a:pt x="246" y="1635"/>
                    </a:lnTo>
                    <a:lnTo>
                      <a:pt x="246" y="1626"/>
                    </a:lnTo>
                    <a:lnTo>
                      <a:pt x="245" y="1618"/>
                    </a:lnTo>
                    <a:lnTo>
                      <a:pt x="243" y="1610"/>
                    </a:lnTo>
                    <a:lnTo>
                      <a:pt x="241" y="1602"/>
                    </a:lnTo>
                    <a:lnTo>
                      <a:pt x="237" y="1594"/>
                    </a:lnTo>
                    <a:lnTo>
                      <a:pt x="233" y="1588"/>
                    </a:lnTo>
                    <a:lnTo>
                      <a:pt x="227" y="1582"/>
                    </a:lnTo>
                    <a:lnTo>
                      <a:pt x="222" y="1577"/>
                    </a:lnTo>
                    <a:lnTo>
                      <a:pt x="215" y="1572"/>
                    </a:lnTo>
                    <a:lnTo>
                      <a:pt x="209" y="1568"/>
                    </a:lnTo>
                    <a:lnTo>
                      <a:pt x="201" y="1565"/>
                    </a:lnTo>
                    <a:lnTo>
                      <a:pt x="192" y="1561"/>
                    </a:lnTo>
                    <a:lnTo>
                      <a:pt x="183" y="1559"/>
                    </a:lnTo>
                    <a:lnTo>
                      <a:pt x="173" y="1557"/>
                    </a:lnTo>
                    <a:lnTo>
                      <a:pt x="163" y="1557"/>
                    </a:lnTo>
                    <a:lnTo>
                      <a:pt x="152" y="1556"/>
                    </a:lnTo>
                    <a:lnTo>
                      <a:pt x="22" y="1556"/>
                    </a:lnTo>
                    <a:lnTo>
                      <a:pt x="22" y="1860"/>
                    </a:lnTo>
                    <a:lnTo>
                      <a:pt x="151" y="1860"/>
                    </a:lnTo>
                    <a:lnTo>
                      <a:pt x="151" y="1860"/>
                    </a:lnTo>
                    <a:lnTo>
                      <a:pt x="163" y="1860"/>
                    </a:lnTo>
                    <a:lnTo>
                      <a:pt x="174" y="1859"/>
                    </a:lnTo>
                    <a:lnTo>
                      <a:pt x="185" y="1857"/>
                    </a:lnTo>
                    <a:lnTo>
                      <a:pt x="195" y="1854"/>
                    </a:lnTo>
                    <a:lnTo>
                      <a:pt x="205" y="1850"/>
                    </a:lnTo>
                    <a:lnTo>
                      <a:pt x="214" y="1846"/>
                    </a:lnTo>
                    <a:lnTo>
                      <a:pt x="222" y="1840"/>
                    </a:lnTo>
                    <a:lnTo>
                      <a:pt x="228" y="1835"/>
                    </a:lnTo>
                    <a:lnTo>
                      <a:pt x="235" y="1828"/>
                    </a:lnTo>
                    <a:lnTo>
                      <a:pt x="241" y="1821"/>
                    </a:lnTo>
                    <a:lnTo>
                      <a:pt x="246" y="1813"/>
                    </a:lnTo>
                    <a:lnTo>
                      <a:pt x="249" y="1804"/>
                    </a:lnTo>
                    <a:lnTo>
                      <a:pt x="253" y="1795"/>
                    </a:lnTo>
                    <a:lnTo>
                      <a:pt x="255" y="1785"/>
                    </a:lnTo>
                    <a:lnTo>
                      <a:pt x="256" y="1774"/>
                    </a:lnTo>
                    <a:lnTo>
                      <a:pt x="257" y="1763"/>
                    </a:lnTo>
                    <a:lnTo>
                      <a:pt x="257" y="1763"/>
                    </a:lnTo>
                    <a:close/>
                    <a:moveTo>
                      <a:pt x="151" y="1810"/>
                    </a:moveTo>
                    <a:lnTo>
                      <a:pt x="78" y="1810"/>
                    </a:lnTo>
                    <a:lnTo>
                      <a:pt x="78" y="1722"/>
                    </a:lnTo>
                    <a:lnTo>
                      <a:pt x="151" y="1722"/>
                    </a:lnTo>
                    <a:lnTo>
                      <a:pt x="151" y="1722"/>
                    </a:lnTo>
                    <a:lnTo>
                      <a:pt x="162" y="1723"/>
                    </a:lnTo>
                    <a:lnTo>
                      <a:pt x="171" y="1725"/>
                    </a:lnTo>
                    <a:lnTo>
                      <a:pt x="179" y="1728"/>
                    </a:lnTo>
                    <a:lnTo>
                      <a:pt x="185" y="1733"/>
                    </a:lnTo>
                    <a:lnTo>
                      <a:pt x="191" y="1739"/>
                    </a:lnTo>
                    <a:lnTo>
                      <a:pt x="194" y="1747"/>
                    </a:lnTo>
                    <a:lnTo>
                      <a:pt x="196" y="1755"/>
                    </a:lnTo>
                    <a:lnTo>
                      <a:pt x="198" y="1765"/>
                    </a:lnTo>
                    <a:lnTo>
                      <a:pt x="198" y="1765"/>
                    </a:lnTo>
                    <a:lnTo>
                      <a:pt x="196" y="1775"/>
                    </a:lnTo>
                    <a:lnTo>
                      <a:pt x="194" y="1784"/>
                    </a:lnTo>
                    <a:lnTo>
                      <a:pt x="190" y="1792"/>
                    </a:lnTo>
                    <a:lnTo>
                      <a:pt x="185" y="1797"/>
                    </a:lnTo>
                    <a:lnTo>
                      <a:pt x="179" y="1803"/>
                    </a:lnTo>
                    <a:lnTo>
                      <a:pt x="171" y="1806"/>
                    </a:lnTo>
                    <a:lnTo>
                      <a:pt x="161" y="1808"/>
                    </a:lnTo>
                    <a:lnTo>
                      <a:pt x="151" y="1810"/>
                    </a:lnTo>
                    <a:lnTo>
                      <a:pt x="151" y="1810"/>
                    </a:lnTo>
                    <a:close/>
                    <a:moveTo>
                      <a:pt x="150" y="1673"/>
                    </a:moveTo>
                    <a:lnTo>
                      <a:pt x="78" y="1673"/>
                    </a:lnTo>
                    <a:lnTo>
                      <a:pt x="78" y="1608"/>
                    </a:lnTo>
                    <a:lnTo>
                      <a:pt x="148" y="1608"/>
                    </a:lnTo>
                    <a:lnTo>
                      <a:pt x="148" y="1608"/>
                    </a:lnTo>
                    <a:lnTo>
                      <a:pt x="157" y="1609"/>
                    </a:lnTo>
                    <a:lnTo>
                      <a:pt x="166" y="1610"/>
                    </a:lnTo>
                    <a:lnTo>
                      <a:pt x="172" y="1612"/>
                    </a:lnTo>
                    <a:lnTo>
                      <a:pt x="178" y="1615"/>
                    </a:lnTo>
                    <a:lnTo>
                      <a:pt x="182" y="1621"/>
                    </a:lnTo>
                    <a:lnTo>
                      <a:pt x="185" y="1626"/>
                    </a:lnTo>
                    <a:lnTo>
                      <a:pt x="187" y="1633"/>
                    </a:lnTo>
                    <a:lnTo>
                      <a:pt x="188" y="1641"/>
                    </a:lnTo>
                    <a:lnTo>
                      <a:pt x="188" y="1641"/>
                    </a:lnTo>
                    <a:lnTo>
                      <a:pt x="188" y="1646"/>
                    </a:lnTo>
                    <a:lnTo>
                      <a:pt x="187" y="1652"/>
                    </a:lnTo>
                    <a:lnTo>
                      <a:pt x="184" y="1657"/>
                    </a:lnTo>
                    <a:lnTo>
                      <a:pt x="181" y="1662"/>
                    </a:lnTo>
                    <a:lnTo>
                      <a:pt x="175" y="1666"/>
                    </a:lnTo>
                    <a:lnTo>
                      <a:pt x="169" y="1669"/>
                    </a:lnTo>
                    <a:lnTo>
                      <a:pt x="161" y="1672"/>
                    </a:lnTo>
                    <a:lnTo>
                      <a:pt x="150" y="1673"/>
                    </a:lnTo>
                    <a:lnTo>
                      <a:pt x="150" y="1673"/>
                    </a:lnTo>
                    <a:close/>
                    <a:moveTo>
                      <a:pt x="296" y="1764"/>
                    </a:moveTo>
                    <a:lnTo>
                      <a:pt x="296" y="1639"/>
                    </a:lnTo>
                    <a:lnTo>
                      <a:pt x="351" y="1639"/>
                    </a:lnTo>
                    <a:lnTo>
                      <a:pt x="351" y="1761"/>
                    </a:lnTo>
                    <a:lnTo>
                      <a:pt x="351" y="1761"/>
                    </a:lnTo>
                    <a:lnTo>
                      <a:pt x="351" y="1773"/>
                    </a:lnTo>
                    <a:lnTo>
                      <a:pt x="353" y="1785"/>
                    </a:lnTo>
                    <a:lnTo>
                      <a:pt x="356" y="1794"/>
                    </a:lnTo>
                    <a:lnTo>
                      <a:pt x="361" y="1802"/>
                    </a:lnTo>
                    <a:lnTo>
                      <a:pt x="366" y="1807"/>
                    </a:lnTo>
                    <a:lnTo>
                      <a:pt x="373" y="1812"/>
                    </a:lnTo>
                    <a:lnTo>
                      <a:pt x="382" y="1814"/>
                    </a:lnTo>
                    <a:lnTo>
                      <a:pt x="392" y="1815"/>
                    </a:lnTo>
                    <a:lnTo>
                      <a:pt x="392" y="1815"/>
                    </a:lnTo>
                    <a:lnTo>
                      <a:pt x="402" y="1814"/>
                    </a:lnTo>
                    <a:lnTo>
                      <a:pt x="409" y="1812"/>
                    </a:lnTo>
                    <a:lnTo>
                      <a:pt x="417" y="1807"/>
                    </a:lnTo>
                    <a:lnTo>
                      <a:pt x="423" y="1802"/>
                    </a:lnTo>
                    <a:lnTo>
                      <a:pt x="427" y="1794"/>
                    </a:lnTo>
                    <a:lnTo>
                      <a:pt x="430" y="1784"/>
                    </a:lnTo>
                    <a:lnTo>
                      <a:pt x="433" y="1773"/>
                    </a:lnTo>
                    <a:lnTo>
                      <a:pt x="433" y="1761"/>
                    </a:lnTo>
                    <a:lnTo>
                      <a:pt x="433" y="1639"/>
                    </a:lnTo>
                    <a:lnTo>
                      <a:pt x="488" y="1639"/>
                    </a:lnTo>
                    <a:lnTo>
                      <a:pt x="488" y="1860"/>
                    </a:lnTo>
                    <a:lnTo>
                      <a:pt x="433" y="1860"/>
                    </a:lnTo>
                    <a:lnTo>
                      <a:pt x="433" y="1843"/>
                    </a:lnTo>
                    <a:lnTo>
                      <a:pt x="433" y="1843"/>
                    </a:lnTo>
                    <a:lnTo>
                      <a:pt x="428" y="1848"/>
                    </a:lnTo>
                    <a:lnTo>
                      <a:pt x="422" y="1853"/>
                    </a:lnTo>
                    <a:lnTo>
                      <a:pt x="416" y="1857"/>
                    </a:lnTo>
                    <a:lnTo>
                      <a:pt x="409" y="1859"/>
                    </a:lnTo>
                    <a:lnTo>
                      <a:pt x="403" y="1862"/>
                    </a:lnTo>
                    <a:lnTo>
                      <a:pt x="395" y="1864"/>
                    </a:lnTo>
                    <a:lnTo>
                      <a:pt x="387" y="1865"/>
                    </a:lnTo>
                    <a:lnTo>
                      <a:pt x="380" y="1866"/>
                    </a:lnTo>
                    <a:lnTo>
                      <a:pt x="380" y="1866"/>
                    </a:lnTo>
                    <a:lnTo>
                      <a:pt x="366" y="1865"/>
                    </a:lnTo>
                    <a:lnTo>
                      <a:pt x="355" y="1862"/>
                    </a:lnTo>
                    <a:lnTo>
                      <a:pt x="345" y="1859"/>
                    </a:lnTo>
                    <a:lnTo>
                      <a:pt x="336" y="1855"/>
                    </a:lnTo>
                    <a:lnTo>
                      <a:pt x="328" y="1849"/>
                    </a:lnTo>
                    <a:lnTo>
                      <a:pt x="321" y="1844"/>
                    </a:lnTo>
                    <a:lnTo>
                      <a:pt x="316" y="1836"/>
                    </a:lnTo>
                    <a:lnTo>
                      <a:pt x="310" y="1828"/>
                    </a:lnTo>
                    <a:lnTo>
                      <a:pt x="307" y="1821"/>
                    </a:lnTo>
                    <a:lnTo>
                      <a:pt x="304" y="1813"/>
                    </a:lnTo>
                    <a:lnTo>
                      <a:pt x="299" y="1795"/>
                    </a:lnTo>
                    <a:lnTo>
                      <a:pt x="297" y="1779"/>
                    </a:lnTo>
                    <a:lnTo>
                      <a:pt x="296" y="1764"/>
                    </a:lnTo>
                    <a:lnTo>
                      <a:pt x="296" y="1764"/>
                    </a:lnTo>
                    <a:close/>
                    <a:moveTo>
                      <a:pt x="1135" y="1860"/>
                    </a:moveTo>
                    <a:lnTo>
                      <a:pt x="1079" y="1860"/>
                    </a:lnTo>
                    <a:lnTo>
                      <a:pt x="1079" y="1639"/>
                    </a:lnTo>
                    <a:lnTo>
                      <a:pt x="1135" y="1639"/>
                    </a:lnTo>
                    <a:lnTo>
                      <a:pt x="1135" y="1657"/>
                    </a:lnTo>
                    <a:lnTo>
                      <a:pt x="1135" y="1657"/>
                    </a:lnTo>
                    <a:lnTo>
                      <a:pt x="1140" y="1652"/>
                    </a:lnTo>
                    <a:lnTo>
                      <a:pt x="1146" y="1646"/>
                    </a:lnTo>
                    <a:lnTo>
                      <a:pt x="1152" y="1643"/>
                    </a:lnTo>
                    <a:lnTo>
                      <a:pt x="1159" y="1640"/>
                    </a:lnTo>
                    <a:lnTo>
                      <a:pt x="1167" y="1636"/>
                    </a:lnTo>
                    <a:lnTo>
                      <a:pt x="1173" y="1635"/>
                    </a:lnTo>
                    <a:lnTo>
                      <a:pt x="1182" y="1634"/>
                    </a:lnTo>
                    <a:lnTo>
                      <a:pt x="1190" y="1633"/>
                    </a:lnTo>
                    <a:lnTo>
                      <a:pt x="1190" y="1633"/>
                    </a:lnTo>
                    <a:lnTo>
                      <a:pt x="1200" y="1634"/>
                    </a:lnTo>
                    <a:lnTo>
                      <a:pt x="1208" y="1635"/>
                    </a:lnTo>
                    <a:lnTo>
                      <a:pt x="1217" y="1637"/>
                    </a:lnTo>
                    <a:lnTo>
                      <a:pt x="1225" y="1640"/>
                    </a:lnTo>
                    <a:lnTo>
                      <a:pt x="1233" y="1643"/>
                    </a:lnTo>
                    <a:lnTo>
                      <a:pt x="1239" y="1648"/>
                    </a:lnTo>
                    <a:lnTo>
                      <a:pt x="1245" y="1653"/>
                    </a:lnTo>
                    <a:lnTo>
                      <a:pt x="1250" y="1659"/>
                    </a:lnTo>
                    <a:lnTo>
                      <a:pt x="1256" y="1666"/>
                    </a:lnTo>
                    <a:lnTo>
                      <a:pt x="1259" y="1674"/>
                    </a:lnTo>
                    <a:lnTo>
                      <a:pt x="1264" y="1682"/>
                    </a:lnTo>
                    <a:lnTo>
                      <a:pt x="1266" y="1690"/>
                    </a:lnTo>
                    <a:lnTo>
                      <a:pt x="1268" y="1700"/>
                    </a:lnTo>
                    <a:lnTo>
                      <a:pt x="1270" y="1711"/>
                    </a:lnTo>
                    <a:lnTo>
                      <a:pt x="1271" y="1722"/>
                    </a:lnTo>
                    <a:lnTo>
                      <a:pt x="1271" y="1734"/>
                    </a:lnTo>
                    <a:lnTo>
                      <a:pt x="1271" y="1860"/>
                    </a:lnTo>
                    <a:lnTo>
                      <a:pt x="1216" y="1860"/>
                    </a:lnTo>
                    <a:lnTo>
                      <a:pt x="1216" y="1738"/>
                    </a:lnTo>
                    <a:lnTo>
                      <a:pt x="1216" y="1738"/>
                    </a:lnTo>
                    <a:lnTo>
                      <a:pt x="1216" y="1725"/>
                    </a:lnTo>
                    <a:lnTo>
                      <a:pt x="1214" y="1714"/>
                    </a:lnTo>
                    <a:lnTo>
                      <a:pt x="1211" y="1705"/>
                    </a:lnTo>
                    <a:lnTo>
                      <a:pt x="1206" y="1697"/>
                    </a:lnTo>
                    <a:lnTo>
                      <a:pt x="1201" y="1691"/>
                    </a:lnTo>
                    <a:lnTo>
                      <a:pt x="1194" y="1687"/>
                    </a:lnTo>
                    <a:lnTo>
                      <a:pt x="1186" y="1685"/>
                    </a:lnTo>
                    <a:lnTo>
                      <a:pt x="1176" y="1684"/>
                    </a:lnTo>
                    <a:lnTo>
                      <a:pt x="1176" y="1684"/>
                    </a:lnTo>
                    <a:lnTo>
                      <a:pt x="1167" y="1685"/>
                    </a:lnTo>
                    <a:lnTo>
                      <a:pt x="1158" y="1687"/>
                    </a:lnTo>
                    <a:lnTo>
                      <a:pt x="1151" y="1691"/>
                    </a:lnTo>
                    <a:lnTo>
                      <a:pt x="1146" y="1697"/>
                    </a:lnTo>
                    <a:lnTo>
                      <a:pt x="1140" y="1705"/>
                    </a:lnTo>
                    <a:lnTo>
                      <a:pt x="1137" y="1715"/>
                    </a:lnTo>
                    <a:lnTo>
                      <a:pt x="1135" y="1726"/>
                    </a:lnTo>
                    <a:lnTo>
                      <a:pt x="1135" y="1738"/>
                    </a:lnTo>
                    <a:lnTo>
                      <a:pt x="1135" y="1860"/>
                    </a:lnTo>
                    <a:close/>
                    <a:moveTo>
                      <a:pt x="593" y="1742"/>
                    </a:moveTo>
                    <a:lnTo>
                      <a:pt x="593" y="1860"/>
                    </a:lnTo>
                    <a:lnTo>
                      <a:pt x="537" y="1860"/>
                    </a:lnTo>
                    <a:lnTo>
                      <a:pt x="537" y="1639"/>
                    </a:lnTo>
                    <a:lnTo>
                      <a:pt x="593" y="1639"/>
                    </a:lnTo>
                    <a:lnTo>
                      <a:pt x="593" y="1742"/>
                    </a:lnTo>
                    <a:close/>
                    <a:moveTo>
                      <a:pt x="641" y="1573"/>
                    </a:moveTo>
                    <a:lnTo>
                      <a:pt x="696" y="1546"/>
                    </a:lnTo>
                    <a:lnTo>
                      <a:pt x="696" y="1747"/>
                    </a:lnTo>
                    <a:lnTo>
                      <a:pt x="696" y="1860"/>
                    </a:lnTo>
                    <a:lnTo>
                      <a:pt x="641" y="1860"/>
                    </a:lnTo>
                    <a:lnTo>
                      <a:pt x="641" y="1573"/>
                    </a:lnTo>
                    <a:close/>
                    <a:moveTo>
                      <a:pt x="871" y="1654"/>
                    </a:moveTo>
                    <a:lnTo>
                      <a:pt x="871" y="1654"/>
                    </a:lnTo>
                    <a:lnTo>
                      <a:pt x="866" y="1648"/>
                    </a:lnTo>
                    <a:lnTo>
                      <a:pt x="861" y="1645"/>
                    </a:lnTo>
                    <a:lnTo>
                      <a:pt x="854" y="1641"/>
                    </a:lnTo>
                    <a:lnTo>
                      <a:pt x="849" y="1639"/>
                    </a:lnTo>
                    <a:lnTo>
                      <a:pt x="842" y="1636"/>
                    </a:lnTo>
                    <a:lnTo>
                      <a:pt x="835" y="1634"/>
                    </a:lnTo>
                    <a:lnTo>
                      <a:pt x="822" y="1633"/>
                    </a:lnTo>
                    <a:lnTo>
                      <a:pt x="822" y="1633"/>
                    </a:lnTo>
                    <a:lnTo>
                      <a:pt x="812" y="1634"/>
                    </a:lnTo>
                    <a:lnTo>
                      <a:pt x="802" y="1635"/>
                    </a:lnTo>
                    <a:lnTo>
                      <a:pt x="794" y="1637"/>
                    </a:lnTo>
                    <a:lnTo>
                      <a:pt x="786" y="1641"/>
                    </a:lnTo>
                    <a:lnTo>
                      <a:pt x="778" y="1645"/>
                    </a:lnTo>
                    <a:lnTo>
                      <a:pt x="770" y="1651"/>
                    </a:lnTo>
                    <a:lnTo>
                      <a:pt x="764" y="1657"/>
                    </a:lnTo>
                    <a:lnTo>
                      <a:pt x="758" y="1664"/>
                    </a:lnTo>
                    <a:lnTo>
                      <a:pt x="753" y="1672"/>
                    </a:lnTo>
                    <a:lnTo>
                      <a:pt x="748" y="1680"/>
                    </a:lnTo>
                    <a:lnTo>
                      <a:pt x="744" y="1689"/>
                    </a:lnTo>
                    <a:lnTo>
                      <a:pt x="741" y="1699"/>
                    </a:lnTo>
                    <a:lnTo>
                      <a:pt x="738" y="1710"/>
                    </a:lnTo>
                    <a:lnTo>
                      <a:pt x="736" y="1722"/>
                    </a:lnTo>
                    <a:lnTo>
                      <a:pt x="735" y="1734"/>
                    </a:lnTo>
                    <a:lnTo>
                      <a:pt x="735" y="1747"/>
                    </a:lnTo>
                    <a:lnTo>
                      <a:pt x="735" y="1747"/>
                    </a:lnTo>
                    <a:lnTo>
                      <a:pt x="735" y="1761"/>
                    </a:lnTo>
                    <a:lnTo>
                      <a:pt x="736" y="1773"/>
                    </a:lnTo>
                    <a:lnTo>
                      <a:pt x="738" y="1785"/>
                    </a:lnTo>
                    <a:lnTo>
                      <a:pt x="741" y="1796"/>
                    </a:lnTo>
                    <a:lnTo>
                      <a:pt x="744" y="1807"/>
                    </a:lnTo>
                    <a:lnTo>
                      <a:pt x="747" y="1817"/>
                    </a:lnTo>
                    <a:lnTo>
                      <a:pt x="752" y="1826"/>
                    </a:lnTo>
                    <a:lnTo>
                      <a:pt x="757" y="1834"/>
                    </a:lnTo>
                    <a:lnTo>
                      <a:pt x="764" y="1841"/>
                    </a:lnTo>
                    <a:lnTo>
                      <a:pt x="769" y="1847"/>
                    </a:lnTo>
                    <a:lnTo>
                      <a:pt x="777" y="1853"/>
                    </a:lnTo>
                    <a:lnTo>
                      <a:pt x="785" y="1857"/>
                    </a:lnTo>
                    <a:lnTo>
                      <a:pt x="792" y="1860"/>
                    </a:lnTo>
                    <a:lnTo>
                      <a:pt x="801" y="1864"/>
                    </a:lnTo>
                    <a:lnTo>
                      <a:pt x="811" y="1865"/>
                    </a:lnTo>
                    <a:lnTo>
                      <a:pt x="821" y="1866"/>
                    </a:lnTo>
                    <a:lnTo>
                      <a:pt x="821" y="1866"/>
                    </a:lnTo>
                    <a:lnTo>
                      <a:pt x="828" y="1865"/>
                    </a:lnTo>
                    <a:lnTo>
                      <a:pt x="834" y="1864"/>
                    </a:lnTo>
                    <a:lnTo>
                      <a:pt x="841" y="1862"/>
                    </a:lnTo>
                    <a:lnTo>
                      <a:pt x="848" y="1860"/>
                    </a:lnTo>
                    <a:lnTo>
                      <a:pt x="853" y="1857"/>
                    </a:lnTo>
                    <a:lnTo>
                      <a:pt x="860" y="1854"/>
                    </a:lnTo>
                    <a:lnTo>
                      <a:pt x="865" y="1849"/>
                    </a:lnTo>
                    <a:lnTo>
                      <a:pt x="871" y="1844"/>
                    </a:lnTo>
                    <a:lnTo>
                      <a:pt x="871" y="1860"/>
                    </a:lnTo>
                    <a:lnTo>
                      <a:pt x="926" y="1860"/>
                    </a:lnTo>
                    <a:lnTo>
                      <a:pt x="926" y="1546"/>
                    </a:lnTo>
                    <a:lnTo>
                      <a:pt x="871" y="1573"/>
                    </a:lnTo>
                    <a:lnTo>
                      <a:pt x="871" y="1654"/>
                    </a:lnTo>
                    <a:close/>
                    <a:moveTo>
                      <a:pt x="832" y="1815"/>
                    </a:moveTo>
                    <a:lnTo>
                      <a:pt x="832" y="1815"/>
                    </a:lnTo>
                    <a:lnTo>
                      <a:pt x="826" y="1814"/>
                    </a:lnTo>
                    <a:lnTo>
                      <a:pt x="818" y="1812"/>
                    </a:lnTo>
                    <a:lnTo>
                      <a:pt x="811" y="1808"/>
                    </a:lnTo>
                    <a:lnTo>
                      <a:pt x="805" y="1802"/>
                    </a:lnTo>
                    <a:lnTo>
                      <a:pt x="799" y="1793"/>
                    </a:lnTo>
                    <a:lnTo>
                      <a:pt x="795" y="1781"/>
                    </a:lnTo>
                    <a:lnTo>
                      <a:pt x="791" y="1765"/>
                    </a:lnTo>
                    <a:lnTo>
                      <a:pt x="790" y="1746"/>
                    </a:lnTo>
                    <a:lnTo>
                      <a:pt x="790" y="1746"/>
                    </a:lnTo>
                    <a:lnTo>
                      <a:pt x="791" y="1728"/>
                    </a:lnTo>
                    <a:lnTo>
                      <a:pt x="795" y="1715"/>
                    </a:lnTo>
                    <a:lnTo>
                      <a:pt x="799" y="1704"/>
                    </a:lnTo>
                    <a:lnTo>
                      <a:pt x="805" y="1696"/>
                    </a:lnTo>
                    <a:lnTo>
                      <a:pt x="810" y="1689"/>
                    </a:lnTo>
                    <a:lnTo>
                      <a:pt x="818" y="1686"/>
                    </a:lnTo>
                    <a:lnTo>
                      <a:pt x="824" y="1684"/>
                    </a:lnTo>
                    <a:lnTo>
                      <a:pt x="832" y="1684"/>
                    </a:lnTo>
                    <a:lnTo>
                      <a:pt x="832" y="1684"/>
                    </a:lnTo>
                    <a:lnTo>
                      <a:pt x="839" y="1684"/>
                    </a:lnTo>
                    <a:lnTo>
                      <a:pt x="845" y="1686"/>
                    </a:lnTo>
                    <a:lnTo>
                      <a:pt x="852" y="1688"/>
                    </a:lnTo>
                    <a:lnTo>
                      <a:pt x="856" y="1691"/>
                    </a:lnTo>
                    <a:lnTo>
                      <a:pt x="861" y="1695"/>
                    </a:lnTo>
                    <a:lnTo>
                      <a:pt x="865" y="1698"/>
                    </a:lnTo>
                    <a:lnTo>
                      <a:pt x="871" y="1706"/>
                    </a:lnTo>
                    <a:lnTo>
                      <a:pt x="871" y="1793"/>
                    </a:lnTo>
                    <a:lnTo>
                      <a:pt x="871" y="1793"/>
                    </a:lnTo>
                    <a:lnTo>
                      <a:pt x="864" y="1801"/>
                    </a:lnTo>
                    <a:lnTo>
                      <a:pt x="856" y="1807"/>
                    </a:lnTo>
                    <a:lnTo>
                      <a:pt x="852" y="1811"/>
                    </a:lnTo>
                    <a:lnTo>
                      <a:pt x="845" y="1813"/>
                    </a:lnTo>
                    <a:lnTo>
                      <a:pt x="840" y="1814"/>
                    </a:lnTo>
                    <a:lnTo>
                      <a:pt x="832" y="1815"/>
                    </a:lnTo>
                    <a:lnTo>
                      <a:pt x="832" y="1815"/>
                    </a:lnTo>
                    <a:close/>
                    <a:moveTo>
                      <a:pt x="2069" y="1633"/>
                    </a:moveTo>
                    <a:lnTo>
                      <a:pt x="2069" y="1633"/>
                    </a:lnTo>
                    <a:lnTo>
                      <a:pt x="2064" y="1634"/>
                    </a:lnTo>
                    <a:lnTo>
                      <a:pt x="2057" y="1635"/>
                    </a:lnTo>
                    <a:lnTo>
                      <a:pt x="2044" y="1639"/>
                    </a:lnTo>
                    <a:lnTo>
                      <a:pt x="2032" y="1645"/>
                    </a:lnTo>
                    <a:lnTo>
                      <a:pt x="2021" y="1654"/>
                    </a:lnTo>
                    <a:lnTo>
                      <a:pt x="2021" y="1551"/>
                    </a:lnTo>
                    <a:lnTo>
                      <a:pt x="1966" y="1579"/>
                    </a:lnTo>
                    <a:lnTo>
                      <a:pt x="1966" y="1860"/>
                    </a:lnTo>
                    <a:lnTo>
                      <a:pt x="2021" y="1860"/>
                    </a:lnTo>
                    <a:lnTo>
                      <a:pt x="2021" y="1844"/>
                    </a:lnTo>
                    <a:lnTo>
                      <a:pt x="2021" y="1844"/>
                    </a:lnTo>
                    <a:lnTo>
                      <a:pt x="2025" y="1849"/>
                    </a:lnTo>
                    <a:lnTo>
                      <a:pt x="2032" y="1854"/>
                    </a:lnTo>
                    <a:lnTo>
                      <a:pt x="2037" y="1857"/>
                    </a:lnTo>
                    <a:lnTo>
                      <a:pt x="2044" y="1860"/>
                    </a:lnTo>
                    <a:lnTo>
                      <a:pt x="2049" y="1862"/>
                    </a:lnTo>
                    <a:lnTo>
                      <a:pt x="2057" y="1864"/>
                    </a:lnTo>
                    <a:lnTo>
                      <a:pt x="2064" y="1865"/>
                    </a:lnTo>
                    <a:lnTo>
                      <a:pt x="2070" y="1866"/>
                    </a:lnTo>
                    <a:lnTo>
                      <a:pt x="2070" y="1866"/>
                    </a:lnTo>
                    <a:lnTo>
                      <a:pt x="2080" y="1865"/>
                    </a:lnTo>
                    <a:lnTo>
                      <a:pt x="2090" y="1864"/>
                    </a:lnTo>
                    <a:lnTo>
                      <a:pt x="2099" y="1861"/>
                    </a:lnTo>
                    <a:lnTo>
                      <a:pt x="2108" y="1857"/>
                    </a:lnTo>
                    <a:lnTo>
                      <a:pt x="2116" y="1853"/>
                    </a:lnTo>
                    <a:lnTo>
                      <a:pt x="2122" y="1848"/>
                    </a:lnTo>
                    <a:lnTo>
                      <a:pt x="2129" y="1841"/>
                    </a:lnTo>
                    <a:lnTo>
                      <a:pt x="2134" y="1835"/>
                    </a:lnTo>
                    <a:lnTo>
                      <a:pt x="2140" y="1826"/>
                    </a:lnTo>
                    <a:lnTo>
                      <a:pt x="2144" y="1817"/>
                    </a:lnTo>
                    <a:lnTo>
                      <a:pt x="2148" y="1807"/>
                    </a:lnTo>
                    <a:lnTo>
                      <a:pt x="2151" y="1797"/>
                    </a:lnTo>
                    <a:lnTo>
                      <a:pt x="2154" y="1786"/>
                    </a:lnTo>
                    <a:lnTo>
                      <a:pt x="2155" y="1774"/>
                    </a:lnTo>
                    <a:lnTo>
                      <a:pt x="2157" y="1761"/>
                    </a:lnTo>
                    <a:lnTo>
                      <a:pt x="2158" y="1747"/>
                    </a:lnTo>
                    <a:lnTo>
                      <a:pt x="2158" y="1747"/>
                    </a:lnTo>
                    <a:lnTo>
                      <a:pt x="2157" y="1734"/>
                    </a:lnTo>
                    <a:lnTo>
                      <a:pt x="2155" y="1722"/>
                    </a:lnTo>
                    <a:lnTo>
                      <a:pt x="2153" y="1710"/>
                    </a:lnTo>
                    <a:lnTo>
                      <a:pt x="2151" y="1699"/>
                    </a:lnTo>
                    <a:lnTo>
                      <a:pt x="2148" y="1689"/>
                    </a:lnTo>
                    <a:lnTo>
                      <a:pt x="2143" y="1680"/>
                    </a:lnTo>
                    <a:lnTo>
                      <a:pt x="2139" y="1672"/>
                    </a:lnTo>
                    <a:lnTo>
                      <a:pt x="2133" y="1664"/>
                    </a:lnTo>
                    <a:lnTo>
                      <a:pt x="2128" y="1657"/>
                    </a:lnTo>
                    <a:lnTo>
                      <a:pt x="2121" y="1651"/>
                    </a:lnTo>
                    <a:lnTo>
                      <a:pt x="2113" y="1645"/>
                    </a:lnTo>
                    <a:lnTo>
                      <a:pt x="2106" y="1641"/>
                    </a:lnTo>
                    <a:lnTo>
                      <a:pt x="2098" y="1637"/>
                    </a:lnTo>
                    <a:lnTo>
                      <a:pt x="2089" y="1635"/>
                    </a:lnTo>
                    <a:lnTo>
                      <a:pt x="2079" y="1634"/>
                    </a:lnTo>
                    <a:lnTo>
                      <a:pt x="2069" y="1633"/>
                    </a:lnTo>
                    <a:lnTo>
                      <a:pt x="2069" y="1633"/>
                    </a:lnTo>
                    <a:close/>
                    <a:moveTo>
                      <a:pt x="2059" y="1684"/>
                    </a:moveTo>
                    <a:lnTo>
                      <a:pt x="2059" y="1684"/>
                    </a:lnTo>
                    <a:lnTo>
                      <a:pt x="2067" y="1685"/>
                    </a:lnTo>
                    <a:lnTo>
                      <a:pt x="2075" y="1687"/>
                    </a:lnTo>
                    <a:lnTo>
                      <a:pt x="2081" y="1691"/>
                    </a:lnTo>
                    <a:lnTo>
                      <a:pt x="2088" y="1698"/>
                    </a:lnTo>
                    <a:lnTo>
                      <a:pt x="2094" y="1706"/>
                    </a:lnTo>
                    <a:lnTo>
                      <a:pt x="2097" y="1717"/>
                    </a:lnTo>
                    <a:lnTo>
                      <a:pt x="2100" y="1730"/>
                    </a:lnTo>
                    <a:lnTo>
                      <a:pt x="2101" y="1746"/>
                    </a:lnTo>
                    <a:lnTo>
                      <a:pt x="2101" y="1746"/>
                    </a:lnTo>
                    <a:lnTo>
                      <a:pt x="2100" y="1762"/>
                    </a:lnTo>
                    <a:lnTo>
                      <a:pt x="2098" y="1776"/>
                    </a:lnTo>
                    <a:lnTo>
                      <a:pt x="2096" y="1787"/>
                    </a:lnTo>
                    <a:lnTo>
                      <a:pt x="2091" y="1797"/>
                    </a:lnTo>
                    <a:lnTo>
                      <a:pt x="2085" y="1805"/>
                    </a:lnTo>
                    <a:lnTo>
                      <a:pt x="2078" y="1811"/>
                    </a:lnTo>
                    <a:lnTo>
                      <a:pt x="2070" y="1814"/>
                    </a:lnTo>
                    <a:lnTo>
                      <a:pt x="2061" y="1815"/>
                    </a:lnTo>
                    <a:lnTo>
                      <a:pt x="2061" y="1815"/>
                    </a:lnTo>
                    <a:lnTo>
                      <a:pt x="2053" y="1814"/>
                    </a:lnTo>
                    <a:lnTo>
                      <a:pt x="2046" y="1813"/>
                    </a:lnTo>
                    <a:lnTo>
                      <a:pt x="2041" y="1810"/>
                    </a:lnTo>
                    <a:lnTo>
                      <a:pt x="2035" y="1807"/>
                    </a:lnTo>
                    <a:lnTo>
                      <a:pt x="2026" y="1800"/>
                    </a:lnTo>
                    <a:lnTo>
                      <a:pt x="2021" y="1794"/>
                    </a:lnTo>
                    <a:lnTo>
                      <a:pt x="2021" y="1706"/>
                    </a:lnTo>
                    <a:lnTo>
                      <a:pt x="2021" y="1706"/>
                    </a:lnTo>
                    <a:lnTo>
                      <a:pt x="2024" y="1701"/>
                    </a:lnTo>
                    <a:lnTo>
                      <a:pt x="2029" y="1697"/>
                    </a:lnTo>
                    <a:lnTo>
                      <a:pt x="2033" y="1693"/>
                    </a:lnTo>
                    <a:lnTo>
                      <a:pt x="2037" y="1689"/>
                    </a:lnTo>
                    <a:lnTo>
                      <a:pt x="2043" y="1687"/>
                    </a:lnTo>
                    <a:lnTo>
                      <a:pt x="2048" y="1685"/>
                    </a:lnTo>
                    <a:lnTo>
                      <a:pt x="2054" y="1684"/>
                    </a:lnTo>
                    <a:lnTo>
                      <a:pt x="2059" y="1684"/>
                    </a:lnTo>
                    <a:lnTo>
                      <a:pt x="2059" y="1684"/>
                    </a:lnTo>
                    <a:close/>
                    <a:moveTo>
                      <a:pt x="1445" y="1654"/>
                    </a:moveTo>
                    <a:lnTo>
                      <a:pt x="1445" y="1654"/>
                    </a:lnTo>
                    <a:lnTo>
                      <a:pt x="1440" y="1650"/>
                    </a:lnTo>
                    <a:lnTo>
                      <a:pt x="1435" y="1645"/>
                    </a:lnTo>
                    <a:lnTo>
                      <a:pt x="1428" y="1642"/>
                    </a:lnTo>
                    <a:lnTo>
                      <a:pt x="1423" y="1639"/>
                    </a:lnTo>
                    <a:lnTo>
                      <a:pt x="1416" y="1636"/>
                    </a:lnTo>
                    <a:lnTo>
                      <a:pt x="1409" y="1634"/>
                    </a:lnTo>
                    <a:lnTo>
                      <a:pt x="1403" y="1634"/>
                    </a:lnTo>
                    <a:lnTo>
                      <a:pt x="1396" y="1633"/>
                    </a:lnTo>
                    <a:lnTo>
                      <a:pt x="1396" y="1633"/>
                    </a:lnTo>
                    <a:lnTo>
                      <a:pt x="1386" y="1634"/>
                    </a:lnTo>
                    <a:lnTo>
                      <a:pt x="1376" y="1635"/>
                    </a:lnTo>
                    <a:lnTo>
                      <a:pt x="1367" y="1637"/>
                    </a:lnTo>
                    <a:lnTo>
                      <a:pt x="1360" y="1641"/>
                    </a:lnTo>
                    <a:lnTo>
                      <a:pt x="1352" y="1645"/>
                    </a:lnTo>
                    <a:lnTo>
                      <a:pt x="1344" y="1651"/>
                    </a:lnTo>
                    <a:lnTo>
                      <a:pt x="1338" y="1657"/>
                    </a:lnTo>
                    <a:lnTo>
                      <a:pt x="1332" y="1664"/>
                    </a:lnTo>
                    <a:lnTo>
                      <a:pt x="1327" y="1672"/>
                    </a:lnTo>
                    <a:lnTo>
                      <a:pt x="1322" y="1680"/>
                    </a:lnTo>
                    <a:lnTo>
                      <a:pt x="1318" y="1689"/>
                    </a:lnTo>
                    <a:lnTo>
                      <a:pt x="1314" y="1699"/>
                    </a:lnTo>
                    <a:lnTo>
                      <a:pt x="1312" y="1710"/>
                    </a:lnTo>
                    <a:lnTo>
                      <a:pt x="1310" y="1722"/>
                    </a:lnTo>
                    <a:lnTo>
                      <a:pt x="1309" y="1734"/>
                    </a:lnTo>
                    <a:lnTo>
                      <a:pt x="1309" y="1747"/>
                    </a:lnTo>
                    <a:lnTo>
                      <a:pt x="1309" y="1747"/>
                    </a:lnTo>
                    <a:lnTo>
                      <a:pt x="1309" y="1761"/>
                    </a:lnTo>
                    <a:lnTo>
                      <a:pt x="1310" y="1773"/>
                    </a:lnTo>
                    <a:lnTo>
                      <a:pt x="1312" y="1785"/>
                    </a:lnTo>
                    <a:lnTo>
                      <a:pt x="1314" y="1796"/>
                    </a:lnTo>
                    <a:lnTo>
                      <a:pt x="1318" y="1807"/>
                    </a:lnTo>
                    <a:lnTo>
                      <a:pt x="1321" y="1817"/>
                    </a:lnTo>
                    <a:lnTo>
                      <a:pt x="1327" y="1826"/>
                    </a:lnTo>
                    <a:lnTo>
                      <a:pt x="1331" y="1834"/>
                    </a:lnTo>
                    <a:lnTo>
                      <a:pt x="1338" y="1841"/>
                    </a:lnTo>
                    <a:lnTo>
                      <a:pt x="1343" y="1847"/>
                    </a:lnTo>
                    <a:lnTo>
                      <a:pt x="1351" y="1853"/>
                    </a:lnTo>
                    <a:lnTo>
                      <a:pt x="1359" y="1857"/>
                    </a:lnTo>
                    <a:lnTo>
                      <a:pt x="1366" y="1860"/>
                    </a:lnTo>
                    <a:lnTo>
                      <a:pt x="1375" y="1864"/>
                    </a:lnTo>
                    <a:lnTo>
                      <a:pt x="1385" y="1865"/>
                    </a:lnTo>
                    <a:lnTo>
                      <a:pt x="1395" y="1865"/>
                    </a:lnTo>
                    <a:lnTo>
                      <a:pt x="1395" y="1865"/>
                    </a:lnTo>
                    <a:lnTo>
                      <a:pt x="1402" y="1865"/>
                    </a:lnTo>
                    <a:lnTo>
                      <a:pt x="1408" y="1864"/>
                    </a:lnTo>
                    <a:lnTo>
                      <a:pt x="1415" y="1862"/>
                    </a:lnTo>
                    <a:lnTo>
                      <a:pt x="1421" y="1860"/>
                    </a:lnTo>
                    <a:lnTo>
                      <a:pt x="1428" y="1857"/>
                    </a:lnTo>
                    <a:lnTo>
                      <a:pt x="1434" y="1853"/>
                    </a:lnTo>
                    <a:lnTo>
                      <a:pt x="1439" y="1849"/>
                    </a:lnTo>
                    <a:lnTo>
                      <a:pt x="1445" y="1844"/>
                    </a:lnTo>
                    <a:lnTo>
                      <a:pt x="1445" y="1849"/>
                    </a:lnTo>
                    <a:lnTo>
                      <a:pt x="1445" y="1849"/>
                    </a:lnTo>
                    <a:lnTo>
                      <a:pt x="1445" y="1858"/>
                    </a:lnTo>
                    <a:lnTo>
                      <a:pt x="1444" y="1868"/>
                    </a:lnTo>
                    <a:lnTo>
                      <a:pt x="1441" y="1878"/>
                    </a:lnTo>
                    <a:lnTo>
                      <a:pt x="1439" y="1882"/>
                    </a:lnTo>
                    <a:lnTo>
                      <a:pt x="1436" y="1887"/>
                    </a:lnTo>
                    <a:lnTo>
                      <a:pt x="1433" y="1891"/>
                    </a:lnTo>
                    <a:lnTo>
                      <a:pt x="1428" y="1896"/>
                    </a:lnTo>
                    <a:lnTo>
                      <a:pt x="1421" y="1899"/>
                    </a:lnTo>
                    <a:lnTo>
                      <a:pt x="1415" y="1901"/>
                    </a:lnTo>
                    <a:lnTo>
                      <a:pt x="1407" y="1904"/>
                    </a:lnTo>
                    <a:lnTo>
                      <a:pt x="1397" y="1905"/>
                    </a:lnTo>
                    <a:lnTo>
                      <a:pt x="1386" y="1908"/>
                    </a:lnTo>
                    <a:lnTo>
                      <a:pt x="1374" y="1908"/>
                    </a:lnTo>
                    <a:lnTo>
                      <a:pt x="1372" y="1908"/>
                    </a:lnTo>
                    <a:lnTo>
                      <a:pt x="1391" y="1951"/>
                    </a:lnTo>
                    <a:lnTo>
                      <a:pt x="1392" y="1951"/>
                    </a:lnTo>
                    <a:lnTo>
                      <a:pt x="1392" y="1951"/>
                    </a:lnTo>
                    <a:lnTo>
                      <a:pt x="1405" y="1951"/>
                    </a:lnTo>
                    <a:lnTo>
                      <a:pt x="1417" y="1948"/>
                    </a:lnTo>
                    <a:lnTo>
                      <a:pt x="1429" y="1946"/>
                    </a:lnTo>
                    <a:lnTo>
                      <a:pt x="1439" y="1943"/>
                    </a:lnTo>
                    <a:lnTo>
                      <a:pt x="1449" y="1940"/>
                    </a:lnTo>
                    <a:lnTo>
                      <a:pt x="1458" y="1935"/>
                    </a:lnTo>
                    <a:lnTo>
                      <a:pt x="1466" y="1929"/>
                    </a:lnTo>
                    <a:lnTo>
                      <a:pt x="1473" y="1923"/>
                    </a:lnTo>
                    <a:lnTo>
                      <a:pt x="1480" y="1915"/>
                    </a:lnTo>
                    <a:lnTo>
                      <a:pt x="1484" y="1907"/>
                    </a:lnTo>
                    <a:lnTo>
                      <a:pt x="1490" y="1898"/>
                    </a:lnTo>
                    <a:lnTo>
                      <a:pt x="1493" y="1888"/>
                    </a:lnTo>
                    <a:lnTo>
                      <a:pt x="1497" y="1877"/>
                    </a:lnTo>
                    <a:lnTo>
                      <a:pt x="1499" y="1866"/>
                    </a:lnTo>
                    <a:lnTo>
                      <a:pt x="1500" y="1854"/>
                    </a:lnTo>
                    <a:lnTo>
                      <a:pt x="1500" y="1839"/>
                    </a:lnTo>
                    <a:lnTo>
                      <a:pt x="1500" y="1639"/>
                    </a:lnTo>
                    <a:lnTo>
                      <a:pt x="1445" y="1639"/>
                    </a:lnTo>
                    <a:lnTo>
                      <a:pt x="1445" y="1654"/>
                    </a:lnTo>
                    <a:close/>
                    <a:moveTo>
                      <a:pt x="1445" y="1706"/>
                    </a:moveTo>
                    <a:lnTo>
                      <a:pt x="1445" y="1793"/>
                    </a:lnTo>
                    <a:lnTo>
                      <a:pt x="1445" y="1793"/>
                    </a:lnTo>
                    <a:lnTo>
                      <a:pt x="1438" y="1801"/>
                    </a:lnTo>
                    <a:lnTo>
                      <a:pt x="1429" y="1808"/>
                    </a:lnTo>
                    <a:lnTo>
                      <a:pt x="1425" y="1811"/>
                    </a:lnTo>
                    <a:lnTo>
                      <a:pt x="1419" y="1813"/>
                    </a:lnTo>
                    <a:lnTo>
                      <a:pt x="1413" y="1814"/>
                    </a:lnTo>
                    <a:lnTo>
                      <a:pt x="1406" y="1815"/>
                    </a:lnTo>
                    <a:lnTo>
                      <a:pt x="1406" y="1815"/>
                    </a:lnTo>
                    <a:lnTo>
                      <a:pt x="1398" y="1814"/>
                    </a:lnTo>
                    <a:lnTo>
                      <a:pt x="1392" y="1812"/>
                    </a:lnTo>
                    <a:lnTo>
                      <a:pt x="1384" y="1807"/>
                    </a:lnTo>
                    <a:lnTo>
                      <a:pt x="1378" y="1802"/>
                    </a:lnTo>
                    <a:lnTo>
                      <a:pt x="1373" y="1793"/>
                    </a:lnTo>
                    <a:lnTo>
                      <a:pt x="1369" y="1781"/>
                    </a:lnTo>
                    <a:lnTo>
                      <a:pt x="1365" y="1765"/>
                    </a:lnTo>
                    <a:lnTo>
                      <a:pt x="1364" y="1746"/>
                    </a:lnTo>
                    <a:lnTo>
                      <a:pt x="1364" y="1746"/>
                    </a:lnTo>
                    <a:lnTo>
                      <a:pt x="1365" y="1728"/>
                    </a:lnTo>
                    <a:lnTo>
                      <a:pt x="1369" y="1715"/>
                    </a:lnTo>
                    <a:lnTo>
                      <a:pt x="1373" y="1704"/>
                    </a:lnTo>
                    <a:lnTo>
                      <a:pt x="1378" y="1696"/>
                    </a:lnTo>
                    <a:lnTo>
                      <a:pt x="1384" y="1689"/>
                    </a:lnTo>
                    <a:lnTo>
                      <a:pt x="1392" y="1686"/>
                    </a:lnTo>
                    <a:lnTo>
                      <a:pt x="1398" y="1684"/>
                    </a:lnTo>
                    <a:lnTo>
                      <a:pt x="1406" y="1684"/>
                    </a:lnTo>
                    <a:lnTo>
                      <a:pt x="1406" y="1684"/>
                    </a:lnTo>
                    <a:lnTo>
                      <a:pt x="1413" y="1684"/>
                    </a:lnTo>
                    <a:lnTo>
                      <a:pt x="1419" y="1686"/>
                    </a:lnTo>
                    <a:lnTo>
                      <a:pt x="1426" y="1688"/>
                    </a:lnTo>
                    <a:lnTo>
                      <a:pt x="1430" y="1690"/>
                    </a:lnTo>
                    <a:lnTo>
                      <a:pt x="1435" y="1695"/>
                    </a:lnTo>
                    <a:lnTo>
                      <a:pt x="1439" y="1698"/>
                    </a:lnTo>
                    <a:lnTo>
                      <a:pt x="1445" y="1706"/>
                    </a:lnTo>
                    <a:lnTo>
                      <a:pt x="1445" y="1706"/>
                    </a:lnTo>
                    <a:close/>
                    <a:moveTo>
                      <a:pt x="1671" y="1693"/>
                    </a:moveTo>
                    <a:lnTo>
                      <a:pt x="1671" y="1693"/>
                    </a:lnTo>
                    <a:lnTo>
                      <a:pt x="1684" y="1686"/>
                    </a:lnTo>
                    <a:lnTo>
                      <a:pt x="1697" y="1682"/>
                    </a:lnTo>
                    <a:lnTo>
                      <a:pt x="1712" y="1678"/>
                    </a:lnTo>
                    <a:lnTo>
                      <a:pt x="1727" y="1677"/>
                    </a:lnTo>
                    <a:lnTo>
                      <a:pt x="1727" y="1677"/>
                    </a:lnTo>
                    <a:lnTo>
                      <a:pt x="1737" y="1678"/>
                    </a:lnTo>
                    <a:lnTo>
                      <a:pt x="1745" y="1679"/>
                    </a:lnTo>
                    <a:lnTo>
                      <a:pt x="1751" y="1682"/>
                    </a:lnTo>
                    <a:lnTo>
                      <a:pt x="1757" y="1686"/>
                    </a:lnTo>
                    <a:lnTo>
                      <a:pt x="1761" y="1690"/>
                    </a:lnTo>
                    <a:lnTo>
                      <a:pt x="1765" y="1696"/>
                    </a:lnTo>
                    <a:lnTo>
                      <a:pt x="1767" y="1701"/>
                    </a:lnTo>
                    <a:lnTo>
                      <a:pt x="1767" y="1709"/>
                    </a:lnTo>
                    <a:lnTo>
                      <a:pt x="1767" y="1725"/>
                    </a:lnTo>
                    <a:lnTo>
                      <a:pt x="1767" y="1725"/>
                    </a:lnTo>
                    <a:lnTo>
                      <a:pt x="1757" y="1720"/>
                    </a:lnTo>
                    <a:lnTo>
                      <a:pt x="1745" y="1717"/>
                    </a:lnTo>
                    <a:lnTo>
                      <a:pt x="1733" y="1715"/>
                    </a:lnTo>
                    <a:lnTo>
                      <a:pt x="1719" y="1714"/>
                    </a:lnTo>
                    <a:lnTo>
                      <a:pt x="1719" y="1714"/>
                    </a:lnTo>
                    <a:lnTo>
                      <a:pt x="1704" y="1715"/>
                    </a:lnTo>
                    <a:lnTo>
                      <a:pt x="1689" y="1718"/>
                    </a:lnTo>
                    <a:lnTo>
                      <a:pt x="1674" y="1722"/>
                    </a:lnTo>
                    <a:lnTo>
                      <a:pt x="1667" y="1726"/>
                    </a:lnTo>
                    <a:lnTo>
                      <a:pt x="1660" y="1730"/>
                    </a:lnTo>
                    <a:lnTo>
                      <a:pt x="1654" y="1734"/>
                    </a:lnTo>
                    <a:lnTo>
                      <a:pt x="1649" y="1740"/>
                    </a:lnTo>
                    <a:lnTo>
                      <a:pt x="1643" y="1746"/>
                    </a:lnTo>
                    <a:lnTo>
                      <a:pt x="1639" y="1752"/>
                    </a:lnTo>
                    <a:lnTo>
                      <a:pt x="1636" y="1760"/>
                    </a:lnTo>
                    <a:lnTo>
                      <a:pt x="1633" y="1769"/>
                    </a:lnTo>
                    <a:lnTo>
                      <a:pt x="1632" y="1778"/>
                    </a:lnTo>
                    <a:lnTo>
                      <a:pt x="1631" y="1786"/>
                    </a:lnTo>
                    <a:lnTo>
                      <a:pt x="1631" y="1786"/>
                    </a:lnTo>
                    <a:lnTo>
                      <a:pt x="1632" y="1797"/>
                    </a:lnTo>
                    <a:lnTo>
                      <a:pt x="1633" y="1807"/>
                    </a:lnTo>
                    <a:lnTo>
                      <a:pt x="1636" y="1815"/>
                    </a:lnTo>
                    <a:lnTo>
                      <a:pt x="1639" y="1824"/>
                    </a:lnTo>
                    <a:lnTo>
                      <a:pt x="1642" y="1830"/>
                    </a:lnTo>
                    <a:lnTo>
                      <a:pt x="1648" y="1837"/>
                    </a:lnTo>
                    <a:lnTo>
                      <a:pt x="1652" y="1843"/>
                    </a:lnTo>
                    <a:lnTo>
                      <a:pt x="1659" y="1848"/>
                    </a:lnTo>
                    <a:lnTo>
                      <a:pt x="1664" y="1853"/>
                    </a:lnTo>
                    <a:lnTo>
                      <a:pt x="1671" y="1856"/>
                    </a:lnTo>
                    <a:lnTo>
                      <a:pt x="1685" y="1861"/>
                    </a:lnTo>
                    <a:lnTo>
                      <a:pt x="1700" y="1865"/>
                    </a:lnTo>
                    <a:lnTo>
                      <a:pt x="1714" y="1866"/>
                    </a:lnTo>
                    <a:lnTo>
                      <a:pt x="1714" y="1866"/>
                    </a:lnTo>
                    <a:lnTo>
                      <a:pt x="1726" y="1864"/>
                    </a:lnTo>
                    <a:lnTo>
                      <a:pt x="1734" y="1862"/>
                    </a:lnTo>
                    <a:lnTo>
                      <a:pt x="1740" y="1860"/>
                    </a:lnTo>
                    <a:lnTo>
                      <a:pt x="1748" y="1857"/>
                    </a:lnTo>
                    <a:lnTo>
                      <a:pt x="1755" y="1853"/>
                    </a:lnTo>
                    <a:lnTo>
                      <a:pt x="1761" y="1848"/>
                    </a:lnTo>
                    <a:lnTo>
                      <a:pt x="1767" y="1843"/>
                    </a:lnTo>
                    <a:lnTo>
                      <a:pt x="1767" y="1860"/>
                    </a:lnTo>
                    <a:lnTo>
                      <a:pt x="1822" y="1860"/>
                    </a:lnTo>
                    <a:lnTo>
                      <a:pt x="1822" y="1710"/>
                    </a:lnTo>
                    <a:lnTo>
                      <a:pt x="1822" y="1710"/>
                    </a:lnTo>
                    <a:lnTo>
                      <a:pt x="1822" y="1701"/>
                    </a:lnTo>
                    <a:lnTo>
                      <a:pt x="1821" y="1694"/>
                    </a:lnTo>
                    <a:lnTo>
                      <a:pt x="1819" y="1686"/>
                    </a:lnTo>
                    <a:lnTo>
                      <a:pt x="1817" y="1678"/>
                    </a:lnTo>
                    <a:lnTo>
                      <a:pt x="1812" y="1672"/>
                    </a:lnTo>
                    <a:lnTo>
                      <a:pt x="1809" y="1665"/>
                    </a:lnTo>
                    <a:lnTo>
                      <a:pt x="1803" y="1659"/>
                    </a:lnTo>
                    <a:lnTo>
                      <a:pt x="1798" y="1654"/>
                    </a:lnTo>
                    <a:lnTo>
                      <a:pt x="1792" y="1650"/>
                    </a:lnTo>
                    <a:lnTo>
                      <a:pt x="1786" y="1645"/>
                    </a:lnTo>
                    <a:lnTo>
                      <a:pt x="1778" y="1642"/>
                    </a:lnTo>
                    <a:lnTo>
                      <a:pt x="1770" y="1639"/>
                    </a:lnTo>
                    <a:lnTo>
                      <a:pt x="1761" y="1636"/>
                    </a:lnTo>
                    <a:lnTo>
                      <a:pt x="1753" y="1635"/>
                    </a:lnTo>
                    <a:lnTo>
                      <a:pt x="1743" y="1634"/>
                    </a:lnTo>
                    <a:lnTo>
                      <a:pt x="1733" y="1633"/>
                    </a:lnTo>
                    <a:lnTo>
                      <a:pt x="1733" y="1633"/>
                    </a:lnTo>
                    <a:lnTo>
                      <a:pt x="1721" y="1634"/>
                    </a:lnTo>
                    <a:lnTo>
                      <a:pt x="1711" y="1634"/>
                    </a:lnTo>
                    <a:lnTo>
                      <a:pt x="1700" y="1636"/>
                    </a:lnTo>
                    <a:lnTo>
                      <a:pt x="1689" y="1639"/>
                    </a:lnTo>
                    <a:lnTo>
                      <a:pt x="1679" y="1642"/>
                    </a:lnTo>
                    <a:lnTo>
                      <a:pt x="1669" y="1645"/>
                    </a:lnTo>
                    <a:lnTo>
                      <a:pt x="1659" y="1650"/>
                    </a:lnTo>
                    <a:lnTo>
                      <a:pt x="1649" y="1655"/>
                    </a:lnTo>
                    <a:lnTo>
                      <a:pt x="1671" y="1693"/>
                    </a:lnTo>
                    <a:close/>
                    <a:moveTo>
                      <a:pt x="1686" y="1786"/>
                    </a:moveTo>
                    <a:lnTo>
                      <a:pt x="1686" y="1786"/>
                    </a:lnTo>
                    <a:lnTo>
                      <a:pt x="1686" y="1780"/>
                    </a:lnTo>
                    <a:lnTo>
                      <a:pt x="1689" y="1773"/>
                    </a:lnTo>
                    <a:lnTo>
                      <a:pt x="1692" y="1768"/>
                    </a:lnTo>
                    <a:lnTo>
                      <a:pt x="1696" y="1763"/>
                    </a:lnTo>
                    <a:lnTo>
                      <a:pt x="1702" y="1760"/>
                    </a:lnTo>
                    <a:lnTo>
                      <a:pt x="1708" y="1758"/>
                    </a:lnTo>
                    <a:lnTo>
                      <a:pt x="1716" y="1755"/>
                    </a:lnTo>
                    <a:lnTo>
                      <a:pt x="1724" y="1755"/>
                    </a:lnTo>
                    <a:lnTo>
                      <a:pt x="1724" y="1755"/>
                    </a:lnTo>
                    <a:lnTo>
                      <a:pt x="1736" y="1755"/>
                    </a:lnTo>
                    <a:lnTo>
                      <a:pt x="1747" y="1758"/>
                    </a:lnTo>
                    <a:lnTo>
                      <a:pt x="1757" y="1761"/>
                    </a:lnTo>
                    <a:lnTo>
                      <a:pt x="1767" y="1766"/>
                    </a:lnTo>
                    <a:lnTo>
                      <a:pt x="1767" y="1796"/>
                    </a:lnTo>
                    <a:lnTo>
                      <a:pt x="1767" y="1796"/>
                    </a:lnTo>
                    <a:lnTo>
                      <a:pt x="1765" y="1801"/>
                    </a:lnTo>
                    <a:lnTo>
                      <a:pt x="1760" y="1805"/>
                    </a:lnTo>
                    <a:lnTo>
                      <a:pt x="1756" y="1810"/>
                    </a:lnTo>
                    <a:lnTo>
                      <a:pt x="1750" y="1813"/>
                    </a:lnTo>
                    <a:lnTo>
                      <a:pt x="1745" y="1816"/>
                    </a:lnTo>
                    <a:lnTo>
                      <a:pt x="1738" y="1818"/>
                    </a:lnTo>
                    <a:lnTo>
                      <a:pt x="1732" y="1819"/>
                    </a:lnTo>
                    <a:lnTo>
                      <a:pt x="1724" y="1821"/>
                    </a:lnTo>
                    <a:lnTo>
                      <a:pt x="1724" y="1821"/>
                    </a:lnTo>
                    <a:lnTo>
                      <a:pt x="1716" y="1819"/>
                    </a:lnTo>
                    <a:lnTo>
                      <a:pt x="1708" y="1817"/>
                    </a:lnTo>
                    <a:lnTo>
                      <a:pt x="1702" y="1815"/>
                    </a:lnTo>
                    <a:lnTo>
                      <a:pt x="1696" y="1811"/>
                    </a:lnTo>
                    <a:lnTo>
                      <a:pt x="1692" y="1806"/>
                    </a:lnTo>
                    <a:lnTo>
                      <a:pt x="1689" y="1801"/>
                    </a:lnTo>
                    <a:lnTo>
                      <a:pt x="1687" y="1794"/>
                    </a:lnTo>
                    <a:lnTo>
                      <a:pt x="1686" y="1786"/>
                    </a:lnTo>
                    <a:lnTo>
                      <a:pt x="1686" y="1786"/>
                    </a:lnTo>
                    <a:close/>
                    <a:moveTo>
                      <a:pt x="2333" y="1796"/>
                    </a:moveTo>
                    <a:lnTo>
                      <a:pt x="2333" y="1796"/>
                    </a:lnTo>
                    <a:lnTo>
                      <a:pt x="2325" y="1803"/>
                    </a:lnTo>
                    <a:lnTo>
                      <a:pt x="2315" y="1808"/>
                    </a:lnTo>
                    <a:lnTo>
                      <a:pt x="2310" y="1811"/>
                    </a:lnTo>
                    <a:lnTo>
                      <a:pt x="2303" y="1813"/>
                    </a:lnTo>
                    <a:lnTo>
                      <a:pt x="2297" y="1814"/>
                    </a:lnTo>
                    <a:lnTo>
                      <a:pt x="2290" y="1815"/>
                    </a:lnTo>
                    <a:lnTo>
                      <a:pt x="2290" y="1815"/>
                    </a:lnTo>
                    <a:lnTo>
                      <a:pt x="2285" y="1814"/>
                    </a:lnTo>
                    <a:lnTo>
                      <a:pt x="2278" y="1814"/>
                    </a:lnTo>
                    <a:lnTo>
                      <a:pt x="2270" y="1812"/>
                    </a:lnTo>
                    <a:lnTo>
                      <a:pt x="2261" y="1807"/>
                    </a:lnTo>
                    <a:lnTo>
                      <a:pt x="2254" y="1802"/>
                    </a:lnTo>
                    <a:lnTo>
                      <a:pt x="2250" y="1797"/>
                    </a:lnTo>
                    <a:lnTo>
                      <a:pt x="2247" y="1793"/>
                    </a:lnTo>
                    <a:lnTo>
                      <a:pt x="2245" y="1787"/>
                    </a:lnTo>
                    <a:lnTo>
                      <a:pt x="2243" y="1781"/>
                    </a:lnTo>
                    <a:lnTo>
                      <a:pt x="2242" y="1774"/>
                    </a:lnTo>
                    <a:lnTo>
                      <a:pt x="2240" y="1766"/>
                    </a:lnTo>
                    <a:lnTo>
                      <a:pt x="2376" y="1766"/>
                    </a:lnTo>
                    <a:lnTo>
                      <a:pt x="2376" y="1766"/>
                    </a:lnTo>
                    <a:lnTo>
                      <a:pt x="2377" y="1750"/>
                    </a:lnTo>
                    <a:lnTo>
                      <a:pt x="2377" y="1750"/>
                    </a:lnTo>
                    <a:lnTo>
                      <a:pt x="2377" y="1737"/>
                    </a:lnTo>
                    <a:lnTo>
                      <a:pt x="2375" y="1725"/>
                    </a:lnTo>
                    <a:lnTo>
                      <a:pt x="2374" y="1712"/>
                    </a:lnTo>
                    <a:lnTo>
                      <a:pt x="2371" y="1701"/>
                    </a:lnTo>
                    <a:lnTo>
                      <a:pt x="2367" y="1691"/>
                    </a:lnTo>
                    <a:lnTo>
                      <a:pt x="2363" y="1682"/>
                    </a:lnTo>
                    <a:lnTo>
                      <a:pt x="2357" y="1673"/>
                    </a:lnTo>
                    <a:lnTo>
                      <a:pt x="2352" y="1665"/>
                    </a:lnTo>
                    <a:lnTo>
                      <a:pt x="2345" y="1657"/>
                    </a:lnTo>
                    <a:lnTo>
                      <a:pt x="2339" y="1652"/>
                    </a:lnTo>
                    <a:lnTo>
                      <a:pt x="2331" y="1646"/>
                    </a:lnTo>
                    <a:lnTo>
                      <a:pt x="2322" y="1642"/>
                    </a:lnTo>
                    <a:lnTo>
                      <a:pt x="2313" y="1639"/>
                    </a:lnTo>
                    <a:lnTo>
                      <a:pt x="2304" y="1635"/>
                    </a:lnTo>
                    <a:lnTo>
                      <a:pt x="2294" y="1634"/>
                    </a:lnTo>
                    <a:lnTo>
                      <a:pt x="2283" y="1633"/>
                    </a:lnTo>
                    <a:lnTo>
                      <a:pt x="2283" y="1633"/>
                    </a:lnTo>
                    <a:lnTo>
                      <a:pt x="2274" y="1634"/>
                    </a:lnTo>
                    <a:lnTo>
                      <a:pt x="2264" y="1635"/>
                    </a:lnTo>
                    <a:lnTo>
                      <a:pt x="2254" y="1639"/>
                    </a:lnTo>
                    <a:lnTo>
                      <a:pt x="2244" y="1642"/>
                    </a:lnTo>
                    <a:lnTo>
                      <a:pt x="2235" y="1646"/>
                    </a:lnTo>
                    <a:lnTo>
                      <a:pt x="2227" y="1653"/>
                    </a:lnTo>
                    <a:lnTo>
                      <a:pt x="2219" y="1658"/>
                    </a:lnTo>
                    <a:lnTo>
                      <a:pt x="2213" y="1666"/>
                    </a:lnTo>
                    <a:lnTo>
                      <a:pt x="2206" y="1674"/>
                    </a:lnTo>
                    <a:lnTo>
                      <a:pt x="2201" y="1683"/>
                    </a:lnTo>
                    <a:lnTo>
                      <a:pt x="2196" y="1693"/>
                    </a:lnTo>
                    <a:lnTo>
                      <a:pt x="2192" y="1703"/>
                    </a:lnTo>
                    <a:lnTo>
                      <a:pt x="2189" y="1714"/>
                    </a:lnTo>
                    <a:lnTo>
                      <a:pt x="2186" y="1726"/>
                    </a:lnTo>
                    <a:lnTo>
                      <a:pt x="2185" y="1737"/>
                    </a:lnTo>
                    <a:lnTo>
                      <a:pt x="2184" y="1750"/>
                    </a:lnTo>
                    <a:lnTo>
                      <a:pt x="2184" y="1750"/>
                    </a:lnTo>
                    <a:lnTo>
                      <a:pt x="2185" y="1762"/>
                    </a:lnTo>
                    <a:lnTo>
                      <a:pt x="2186" y="1774"/>
                    </a:lnTo>
                    <a:lnTo>
                      <a:pt x="2189" y="1786"/>
                    </a:lnTo>
                    <a:lnTo>
                      <a:pt x="2192" y="1797"/>
                    </a:lnTo>
                    <a:lnTo>
                      <a:pt x="2196" y="1807"/>
                    </a:lnTo>
                    <a:lnTo>
                      <a:pt x="2201" y="1817"/>
                    </a:lnTo>
                    <a:lnTo>
                      <a:pt x="2206" y="1826"/>
                    </a:lnTo>
                    <a:lnTo>
                      <a:pt x="2213" y="1834"/>
                    </a:lnTo>
                    <a:lnTo>
                      <a:pt x="2221" y="1840"/>
                    </a:lnTo>
                    <a:lnTo>
                      <a:pt x="2228" y="1847"/>
                    </a:lnTo>
                    <a:lnTo>
                      <a:pt x="2237" y="1853"/>
                    </a:lnTo>
                    <a:lnTo>
                      <a:pt x="2246" y="1857"/>
                    </a:lnTo>
                    <a:lnTo>
                      <a:pt x="2256" y="1860"/>
                    </a:lnTo>
                    <a:lnTo>
                      <a:pt x="2267" y="1864"/>
                    </a:lnTo>
                    <a:lnTo>
                      <a:pt x="2278" y="1865"/>
                    </a:lnTo>
                    <a:lnTo>
                      <a:pt x="2290" y="1866"/>
                    </a:lnTo>
                    <a:lnTo>
                      <a:pt x="2290" y="1866"/>
                    </a:lnTo>
                    <a:lnTo>
                      <a:pt x="2301" y="1865"/>
                    </a:lnTo>
                    <a:lnTo>
                      <a:pt x="2311" y="1864"/>
                    </a:lnTo>
                    <a:lnTo>
                      <a:pt x="2322" y="1860"/>
                    </a:lnTo>
                    <a:lnTo>
                      <a:pt x="2332" y="1857"/>
                    </a:lnTo>
                    <a:lnTo>
                      <a:pt x="2342" y="1851"/>
                    </a:lnTo>
                    <a:lnTo>
                      <a:pt x="2351" y="1846"/>
                    </a:lnTo>
                    <a:lnTo>
                      <a:pt x="2360" y="1838"/>
                    </a:lnTo>
                    <a:lnTo>
                      <a:pt x="2368" y="1830"/>
                    </a:lnTo>
                    <a:lnTo>
                      <a:pt x="2333" y="1796"/>
                    </a:lnTo>
                    <a:close/>
                    <a:moveTo>
                      <a:pt x="2242" y="1726"/>
                    </a:moveTo>
                    <a:lnTo>
                      <a:pt x="2242" y="1726"/>
                    </a:lnTo>
                    <a:lnTo>
                      <a:pt x="2243" y="1716"/>
                    </a:lnTo>
                    <a:lnTo>
                      <a:pt x="2245" y="1707"/>
                    </a:lnTo>
                    <a:lnTo>
                      <a:pt x="2248" y="1699"/>
                    </a:lnTo>
                    <a:lnTo>
                      <a:pt x="2254" y="1693"/>
                    </a:lnTo>
                    <a:lnTo>
                      <a:pt x="2259" y="1687"/>
                    </a:lnTo>
                    <a:lnTo>
                      <a:pt x="2266" y="1684"/>
                    </a:lnTo>
                    <a:lnTo>
                      <a:pt x="2274" y="1680"/>
                    </a:lnTo>
                    <a:lnTo>
                      <a:pt x="2282" y="1680"/>
                    </a:lnTo>
                    <a:lnTo>
                      <a:pt x="2282" y="1680"/>
                    </a:lnTo>
                    <a:lnTo>
                      <a:pt x="2292" y="1682"/>
                    </a:lnTo>
                    <a:lnTo>
                      <a:pt x="2301" y="1684"/>
                    </a:lnTo>
                    <a:lnTo>
                      <a:pt x="2308" y="1688"/>
                    </a:lnTo>
                    <a:lnTo>
                      <a:pt x="2313" y="1695"/>
                    </a:lnTo>
                    <a:lnTo>
                      <a:pt x="2318" y="1701"/>
                    </a:lnTo>
                    <a:lnTo>
                      <a:pt x="2321" y="1709"/>
                    </a:lnTo>
                    <a:lnTo>
                      <a:pt x="2323" y="1718"/>
                    </a:lnTo>
                    <a:lnTo>
                      <a:pt x="2324" y="1726"/>
                    </a:lnTo>
                    <a:lnTo>
                      <a:pt x="2242" y="1726"/>
                    </a:lnTo>
                    <a:close/>
                    <a:moveTo>
                      <a:pt x="2864" y="1796"/>
                    </a:moveTo>
                    <a:lnTo>
                      <a:pt x="2864" y="1796"/>
                    </a:lnTo>
                    <a:lnTo>
                      <a:pt x="2855" y="1803"/>
                    </a:lnTo>
                    <a:lnTo>
                      <a:pt x="2846" y="1808"/>
                    </a:lnTo>
                    <a:lnTo>
                      <a:pt x="2840" y="1811"/>
                    </a:lnTo>
                    <a:lnTo>
                      <a:pt x="2834" y="1813"/>
                    </a:lnTo>
                    <a:lnTo>
                      <a:pt x="2828" y="1814"/>
                    </a:lnTo>
                    <a:lnTo>
                      <a:pt x="2820" y="1815"/>
                    </a:lnTo>
                    <a:lnTo>
                      <a:pt x="2820" y="1815"/>
                    </a:lnTo>
                    <a:lnTo>
                      <a:pt x="2814" y="1814"/>
                    </a:lnTo>
                    <a:lnTo>
                      <a:pt x="2808" y="1814"/>
                    </a:lnTo>
                    <a:lnTo>
                      <a:pt x="2800" y="1812"/>
                    </a:lnTo>
                    <a:lnTo>
                      <a:pt x="2792" y="1807"/>
                    </a:lnTo>
                    <a:lnTo>
                      <a:pt x="2784" y="1802"/>
                    </a:lnTo>
                    <a:lnTo>
                      <a:pt x="2781" y="1797"/>
                    </a:lnTo>
                    <a:lnTo>
                      <a:pt x="2778" y="1793"/>
                    </a:lnTo>
                    <a:lnTo>
                      <a:pt x="2776" y="1787"/>
                    </a:lnTo>
                    <a:lnTo>
                      <a:pt x="2773" y="1781"/>
                    </a:lnTo>
                    <a:lnTo>
                      <a:pt x="2771" y="1774"/>
                    </a:lnTo>
                    <a:lnTo>
                      <a:pt x="2770" y="1766"/>
                    </a:lnTo>
                    <a:lnTo>
                      <a:pt x="2907" y="1766"/>
                    </a:lnTo>
                    <a:lnTo>
                      <a:pt x="2907" y="1766"/>
                    </a:lnTo>
                    <a:lnTo>
                      <a:pt x="2908" y="1750"/>
                    </a:lnTo>
                    <a:lnTo>
                      <a:pt x="2908" y="1750"/>
                    </a:lnTo>
                    <a:lnTo>
                      <a:pt x="2907" y="1737"/>
                    </a:lnTo>
                    <a:lnTo>
                      <a:pt x="2906" y="1725"/>
                    </a:lnTo>
                    <a:lnTo>
                      <a:pt x="2904" y="1712"/>
                    </a:lnTo>
                    <a:lnTo>
                      <a:pt x="2901" y="1701"/>
                    </a:lnTo>
                    <a:lnTo>
                      <a:pt x="2897" y="1691"/>
                    </a:lnTo>
                    <a:lnTo>
                      <a:pt x="2893" y="1682"/>
                    </a:lnTo>
                    <a:lnTo>
                      <a:pt x="2888" y="1673"/>
                    </a:lnTo>
                    <a:lnTo>
                      <a:pt x="2883" y="1665"/>
                    </a:lnTo>
                    <a:lnTo>
                      <a:pt x="2876" y="1657"/>
                    </a:lnTo>
                    <a:lnTo>
                      <a:pt x="2868" y="1652"/>
                    </a:lnTo>
                    <a:lnTo>
                      <a:pt x="2861" y="1646"/>
                    </a:lnTo>
                    <a:lnTo>
                      <a:pt x="2853" y="1642"/>
                    </a:lnTo>
                    <a:lnTo>
                      <a:pt x="2844" y="1639"/>
                    </a:lnTo>
                    <a:lnTo>
                      <a:pt x="2834" y="1635"/>
                    </a:lnTo>
                    <a:lnTo>
                      <a:pt x="2824" y="1634"/>
                    </a:lnTo>
                    <a:lnTo>
                      <a:pt x="2814" y="1633"/>
                    </a:lnTo>
                    <a:lnTo>
                      <a:pt x="2814" y="1633"/>
                    </a:lnTo>
                    <a:lnTo>
                      <a:pt x="2803" y="1634"/>
                    </a:lnTo>
                    <a:lnTo>
                      <a:pt x="2793" y="1635"/>
                    </a:lnTo>
                    <a:lnTo>
                      <a:pt x="2783" y="1639"/>
                    </a:lnTo>
                    <a:lnTo>
                      <a:pt x="2775" y="1642"/>
                    </a:lnTo>
                    <a:lnTo>
                      <a:pt x="2766" y="1646"/>
                    </a:lnTo>
                    <a:lnTo>
                      <a:pt x="2757" y="1653"/>
                    </a:lnTo>
                    <a:lnTo>
                      <a:pt x="2750" y="1658"/>
                    </a:lnTo>
                    <a:lnTo>
                      <a:pt x="2743" y="1666"/>
                    </a:lnTo>
                    <a:lnTo>
                      <a:pt x="2736" y="1674"/>
                    </a:lnTo>
                    <a:lnTo>
                      <a:pt x="2730" y="1683"/>
                    </a:lnTo>
                    <a:lnTo>
                      <a:pt x="2726" y="1693"/>
                    </a:lnTo>
                    <a:lnTo>
                      <a:pt x="2722" y="1703"/>
                    </a:lnTo>
                    <a:lnTo>
                      <a:pt x="2719" y="1714"/>
                    </a:lnTo>
                    <a:lnTo>
                      <a:pt x="2716" y="1726"/>
                    </a:lnTo>
                    <a:lnTo>
                      <a:pt x="2715" y="1737"/>
                    </a:lnTo>
                    <a:lnTo>
                      <a:pt x="2715" y="1750"/>
                    </a:lnTo>
                    <a:lnTo>
                      <a:pt x="2715" y="1750"/>
                    </a:lnTo>
                    <a:lnTo>
                      <a:pt x="2715" y="1762"/>
                    </a:lnTo>
                    <a:lnTo>
                      <a:pt x="2716" y="1774"/>
                    </a:lnTo>
                    <a:lnTo>
                      <a:pt x="2718" y="1786"/>
                    </a:lnTo>
                    <a:lnTo>
                      <a:pt x="2722" y="1797"/>
                    </a:lnTo>
                    <a:lnTo>
                      <a:pt x="2726" y="1807"/>
                    </a:lnTo>
                    <a:lnTo>
                      <a:pt x="2732" y="1817"/>
                    </a:lnTo>
                    <a:lnTo>
                      <a:pt x="2737" y="1826"/>
                    </a:lnTo>
                    <a:lnTo>
                      <a:pt x="2744" y="1834"/>
                    </a:lnTo>
                    <a:lnTo>
                      <a:pt x="2750" y="1840"/>
                    </a:lnTo>
                    <a:lnTo>
                      <a:pt x="2758" y="1847"/>
                    </a:lnTo>
                    <a:lnTo>
                      <a:pt x="2767" y="1853"/>
                    </a:lnTo>
                    <a:lnTo>
                      <a:pt x="2777" y="1857"/>
                    </a:lnTo>
                    <a:lnTo>
                      <a:pt x="2787" y="1860"/>
                    </a:lnTo>
                    <a:lnTo>
                      <a:pt x="2797" y="1864"/>
                    </a:lnTo>
                    <a:lnTo>
                      <a:pt x="2809" y="1865"/>
                    </a:lnTo>
                    <a:lnTo>
                      <a:pt x="2820" y="1866"/>
                    </a:lnTo>
                    <a:lnTo>
                      <a:pt x="2820" y="1866"/>
                    </a:lnTo>
                    <a:lnTo>
                      <a:pt x="2831" y="1865"/>
                    </a:lnTo>
                    <a:lnTo>
                      <a:pt x="2842" y="1864"/>
                    </a:lnTo>
                    <a:lnTo>
                      <a:pt x="2852" y="1860"/>
                    </a:lnTo>
                    <a:lnTo>
                      <a:pt x="2862" y="1857"/>
                    </a:lnTo>
                    <a:lnTo>
                      <a:pt x="2872" y="1851"/>
                    </a:lnTo>
                    <a:lnTo>
                      <a:pt x="2882" y="1846"/>
                    </a:lnTo>
                    <a:lnTo>
                      <a:pt x="2890" y="1838"/>
                    </a:lnTo>
                    <a:lnTo>
                      <a:pt x="2898" y="1830"/>
                    </a:lnTo>
                    <a:lnTo>
                      <a:pt x="2864" y="1796"/>
                    </a:lnTo>
                    <a:close/>
                    <a:moveTo>
                      <a:pt x="2771" y="1726"/>
                    </a:moveTo>
                    <a:lnTo>
                      <a:pt x="2771" y="1726"/>
                    </a:lnTo>
                    <a:lnTo>
                      <a:pt x="2772" y="1716"/>
                    </a:lnTo>
                    <a:lnTo>
                      <a:pt x="2776" y="1707"/>
                    </a:lnTo>
                    <a:lnTo>
                      <a:pt x="2779" y="1699"/>
                    </a:lnTo>
                    <a:lnTo>
                      <a:pt x="2783" y="1693"/>
                    </a:lnTo>
                    <a:lnTo>
                      <a:pt x="2790" y="1687"/>
                    </a:lnTo>
                    <a:lnTo>
                      <a:pt x="2797" y="1684"/>
                    </a:lnTo>
                    <a:lnTo>
                      <a:pt x="2804" y="1680"/>
                    </a:lnTo>
                    <a:lnTo>
                      <a:pt x="2813" y="1680"/>
                    </a:lnTo>
                    <a:lnTo>
                      <a:pt x="2813" y="1680"/>
                    </a:lnTo>
                    <a:lnTo>
                      <a:pt x="2823" y="1682"/>
                    </a:lnTo>
                    <a:lnTo>
                      <a:pt x="2831" y="1684"/>
                    </a:lnTo>
                    <a:lnTo>
                      <a:pt x="2839" y="1688"/>
                    </a:lnTo>
                    <a:lnTo>
                      <a:pt x="2844" y="1695"/>
                    </a:lnTo>
                    <a:lnTo>
                      <a:pt x="2849" y="1701"/>
                    </a:lnTo>
                    <a:lnTo>
                      <a:pt x="2852" y="1709"/>
                    </a:lnTo>
                    <a:lnTo>
                      <a:pt x="2854" y="1718"/>
                    </a:lnTo>
                    <a:lnTo>
                      <a:pt x="2855" y="1726"/>
                    </a:lnTo>
                    <a:lnTo>
                      <a:pt x="2771" y="1726"/>
                    </a:lnTo>
                    <a:close/>
                    <a:moveTo>
                      <a:pt x="2639" y="1783"/>
                    </a:moveTo>
                    <a:lnTo>
                      <a:pt x="2639" y="1783"/>
                    </a:lnTo>
                    <a:lnTo>
                      <a:pt x="2639" y="1791"/>
                    </a:lnTo>
                    <a:lnTo>
                      <a:pt x="2640" y="1796"/>
                    </a:lnTo>
                    <a:lnTo>
                      <a:pt x="2642" y="1802"/>
                    </a:lnTo>
                    <a:lnTo>
                      <a:pt x="2644" y="1806"/>
                    </a:lnTo>
                    <a:lnTo>
                      <a:pt x="2648" y="1810"/>
                    </a:lnTo>
                    <a:lnTo>
                      <a:pt x="2652" y="1812"/>
                    </a:lnTo>
                    <a:lnTo>
                      <a:pt x="2656" y="1813"/>
                    </a:lnTo>
                    <a:lnTo>
                      <a:pt x="2663" y="1813"/>
                    </a:lnTo>
                    <a:lnTo>
                      <a:pt x="2663" y="1813"/>
                    </a:lnTo>
                    <a:lnTo>
                      <a:pt x="2671" y="1813"/>
                    </a:lnTo>
                    <a:lnTo>
                      <a:pt x="2680" y="1811"/>
                    </a:lnTo>
                    <a:lnTo>
                      <a:pt x="2688" y="1807"/>
                    </a:lnTo>
                    <a:lnTo>
                      <a:pt x="2696" y="1803"/>
                    </a:lnTo>
                    <a:lnTo>
                      <a:pt x="2690" y="1855"/>
                    </a:lnTo>
                    <a:lnTo>
                      <a:pt x="2690" y="1855"/>
                    </a:lnTo>
                    <a:lnTo>
                      <a:pt x="2680" y="1859"/>
                    </a:lnTo>
                    <a:lnTo>
                      <a:pt x="2668" y="1862"/>
                    </a:lnTo>
                    <a:lnTo>
                      <a:pt x="2655" y="1865"/>
                    </a:lnTo>
                    <a:lnTo>
                      <a:pt x="2643" y="1866"/>
                    </a:lnTo>
                    <a:lnTo>
                      <a:pt x="2643" y="1866"/>
                    </a:lnTo>
                    <a:lnTo>
                      <a:pt x="2636" y="1865"/>
                    </a:lnTo>
                    <a:lnTo>
                      <a:pt x="2628" y="1864"/>
                    </a:lnTo>
                    <a:lnTo>
                      <a:pt x="2621" y="1861"/>
                    </a:lnTo>
                    <a:lnTo>
                      <a:pt x="2616" y="1859"/>
                    </a:lnTo>
                    <a:lnTo>
                      <a:pt x="2610" y="1856"/>
                    </a:lnTo>
                    <a:lnTo>
                      <a:pt x="2605" y="1853"/>
                    </a:lnTo>
                    <a:lnTo>
                      <a:pt x="2601" y="1848"/>
                    </a:lnTo>
                    <a:lnTo>
                      <a:pt x="2597" y="1843"/>
                    </a:lnTo>
                    <a:lnTo>
                      <a:pt x="2591" y="1833"/>
                    </a:lnTo>
                    <a:lnTo>
                      <a:pt x="2587" y="1821"/>
                    </a:lnTo>
                    <a:lnTo>
                      <a:pt x="2585" y="1810"/>
                    </a:lnTo>
                    <a:lnTo>
                      <a:pt x="2584" y="1797"/>
                    </a:lnTo>
                    <a:lnTo>
                      <a:pt x="2584" y="1689"/>
                    </a:lnTo>
                    <a:lnTo>
                      <a:pt x="2549" y="1689"/>
                    </a:lnTo>
                    <a:lnTo>
                      <a:pt x="2549" y="1639"/>
                    </a:lnTo>
                    <a:lnTo>
                      <a:pt x="2584" y="1639"/>
                    </a:lnTo>
                    <a:lnTo>
                      <a:pt x="2584" y="1581"/>
                    </a:lnTo>
                    <a:lnTo>
                      <a:pt x="2639" y="1554"/>
                    </a:lnTo>
                    <a:lnTo>
                      <a:pt x="2639" y="1639"/>
                    </a:lnTo>
                    <a:lnTo>
                      <a:pt x="2688" y="1639"/>
                    </a:lnTo>
                    <a:lnTo>
                      <a:pt x="2688" y="1689"/>
                    </a:lnTo>
                    <a:lnTo>
                      <a:pt x="2639" y="1689"/>
                    </a:lnTo>
                    <a:lnTo>
                      <a:pt x="2639" y="1783"/>
                    </a:lnTo>
                    <a:close/>
                    <a:moveTo>
                      <a:pt x="2532" y="1855"/>
                    </a:moveTo>
                    <a:lnTo>
                      <a:pt x="2532" y="1855"/>
                    </a:lnTo>
                    <a:lnTo>
                      <a:pt x="2522" y="1859"/>
                    </a:lnTo>
                    <a:lnTo>
                      <a:pt x="2511" y="1862"/>
                    </a:lnTo>
                    <a:lnTo>
                      <a:pt x="2499" y="1865"/>
                    </a:lnTo>
                    <a:lnTo>
                      <a:pt x="2487" y="1866"/>
                    </a:lnTo>
                    <a:lnTo>
                      <a:pt x="2487" y="1866"/>
                    </a:lnTo>
                    <a:lnTo>
                      <a:pt x="2478" y="1865"/>
                    </a:lnTo>
                    <a:lnTo>
                      <a:pt x="2471" y="1864"/>
                    </a:lnTo>
                    <a:lnTo>
                      <a:pt x="2464" y="1861"/>
                    </a:lnTo>
                    <a:lnTo>
                      <a:pt x="2458" y="1859"/>
                    </a:lnTo>
                    <a:lnTo>
                      <a:pt x="2453" y="1856"/>
                    </a:lnTo>
                    <a:lnTo>
                      <a:pt x="2448" y="1853"/>
                    </a:lnTo>
                    <a:lnTo>
                      <a:pt x="2443" y="1848"/>
                    </a:lnTo>
                    <a:lnTo>
                      <a:pt x="2440" y="1843"/>
                    </a:lnTo>
                    <a:lnTo>
                      <a:pt x="2434" y="1833"/>
                    </a:lnTo>
                    <a:lnTo>
                      <a:pt x="2430" y="1821"/>
                    </a:lnTo>
                    <a:lnTo>
                      <a:pt x="2427" y="1810"/>
                    </a:lnTo>
                    <a:lnTo>
                      <a:pt x="2427" y="1797"/>
                    </a:lnTo>
                    <a:lnTo>
                      <a:pt x="2427" y="1689"/>
                    </a:lnTo>
                    <a:lnTo>
                      <a:pt x="2393" y="1689"/>
                    </a:lnTo>
                    <a:lnTo>
                      <a:pt x="2393" y="1639"/>
                    </a:lnTo>
                    <a:lnTo>
                      <a:pt x="2427" y="1639"/>
                    </a:lnTo>
                    <a:lnTo>
                      <a:pt x="2427" y="1581"/>
                    </a:lnTo>
                    <a:lnTo>
                      <a:pt x="2482" y="1554"/>
                    </a:lnTo>
                    <a:lnTo>
                      <a:pt x="2482" y="1639"/>
                    </a:lnTo>
                    <a:lnTo>
                      <a:pt x="2528" y="1639"/>
                    </a:lnTo>
                    <a:lnTo>
                      <a:pt x="2528" y="1689"/>
                    </a:lnTo>
                    <a:lnTo>
                      <a:pt x="2482" y="1689"/>
                    </a:lnTo>
                    <a:lnTo>
                      <a:pt x="2482" y="1783"/>
                    </a:lnTo>
                    <a:lnTo>
                      <a:pt x="2482" y="1783"/>
                    </a:lnTo>
                    <a:lnTo>
                      <a:pt x="2482" y="1791"/>
                    </a:lnTo>
                    <a:lnTo>
                      <a:pt x="2483" y="1796"/>
                    </a:lnTo>
                    <a:lnTo>
                      <a:pt x="2485" y="1802"/>
                    </a:lnTo>
                    <a:lnTo>
                      <a:pt x="2488" y="1806"/>
                    </a:lnTo>
                    <a:lnTo>
                      <a:pt x="2491" y="1810"/>
                    </a:lnTo>
                    <a:lnTo>
                      <a:pt x="2495" y="1812"/>
                    </a:lnTo>
                    <a:lnTo>
                      <a:pt x="2500" y="1813"/>
                    </a:lnTo>
                    <a:lnTo>
                      <a:pt x="2505" y="1813"/>
                    </a:lnTo>
                    <a:lnTo>
                      <a:pt x="2505" y="1813"/>
                    </a:lnTo>
                    <a:lnTo>
                      <a:pt x="2514" y="1813"/>
                    </a:lnTo>
                    <a:lnTo>
                      <a:pt x="2523" y="1811"/>
                    </a:lnTo>
                    <a:lnTo>
                      <a:pt x="2531" y="1807"/>
                    </a:lnTo>
                    <a:lnTo>
                      <a:pt x="2538" y="1803"/>
                    </a:lnTo>
                    <a:lnTo>
                      <a:pt x="2532" y="1855"/>
                    </a:lnTo>
                    <a:close/>
                    <a:moveTo>
                      <a:pt x="3074" y="1700"/>
                    </a:moveTo>
                    <a:lnTo>
                      <a:pt x="3074" y="1700"/>
                    </a:lnTo>
                    <a:lnTo>
                      <a:pt x="3066" y="1695"/>
                    </a:lnTo>
                    <a:lnTo>
                      <a:pt x="3057" y="1691"/>
                    </a:lnTo>
                    <a:lnTo>
                      <a:pt x="3047" y="1689"/>
                    </a:lnTo>
                    <a:lnTo>
                      <a:pt x="3037" y="1688"/>
                    </a:lnTo>
                    <a:lnTo>
                      <a:pt x="3037" y="1688"/>
                    </a:lnTo>
                    <a:lnTo>
                      <a:pt x="3028" y="1689"/>
                    </a:lnTo>
                    <a:lnTo>
                      <a:pt x="3020" y="1691"/>
                    </a:lnTo>
                    <a:lnTo>
                      <a:pt x="3013" y="1696"/>
                    </a:lnTo>
                    <a:lnTo>
                      <a:pt x="3007" y="1701"/>
                    </a:lnTo>
                    <a:lnTo>
                      <a:pt x="3003" y="1708"/>
                    </a:lnTo>
                    <a:lnTo>
                      <a:pt x="3001" y="1717"/>
                    </a:lnTo>
                    <a:lnTo>
                      <a:pt x="2999" y="1728"/>
                    </a:lnTo>
                    <a:lnTo>
                      <a:pt x="2998" y="1740"/>
                    </a:lnTo>
                    <a:lnTo>
                      <a:pt x="2998" y="1860"/>
                    </a:lnTo>
                    <a:lnTo>
                      <a:pt x="2943" y="1860"/>
                    </a:lnTo>
                    <a:lnTo>
                      <a:pt x="2943" y="1639"/>
                    </a:lnTo>
                    <a:lnTo>
                      <a:pt x="2998" y="1639"/>
                    </a:lnTo>
                    <a:lnTo>
                      <a:pt x="2998" y="1657"/>
                    </a:lnTo>
                    <a:lnTo>
                      <a:pt x="2998" y="1657"/>
                    </a:lnTo>
                    <a:lnTo>
                      <a:pt x="3003" y="1652"/>
                    </a:lnTo>
                    <a:lnTo>
                      <a:pt x="3009" y="1646"/>
                    </a:lnTo>
                    <a:lnTo>
                      <a:pt x="3014" y="1643"/>
                    </a:lnTo>
                    <a:lnTo>
                      <a:pt x="3021" y="1640"/>
                    </a:lnTo>
                    <a:lnTo>
                      <a:pt x="3026" y="1636"/>
                    </a:lnTo>
                    <a:lnTo>
                      <a:pt x="3033" y="1635"/>
                    </a:lnTo>
                    <a:lnTo>
                      <a:pt x="3039" y="1634"/>
                    </a:lnTo>
                    <a:lnTo>
                      <a:pt x="3047" y="1633"/>
                    </a:lnTo>
                    <a:lnTo>
                      <a:pt x="3047" y="1633"/>
                    </a:lnTo>
                    <a:lnTo>
                      <a:pt x="3058" y="1634"/>
                    </a:lnTo>
                    <a:lnTo>
                      <a:pt x="3069" y="1637"/>
                    </a:lnTo>
                    <a:lnTo>
                      <a:pt x="3079" y="1641"/>
                    </a:lnTo>
                    <a:lnTo>
                      <a:pt x="3088" y="1646"/>
                    </a:lnTo>
                    <a:lnTo>
                      <a:pt x="3074" y="1700"/>
                    </a:lnTo>
                    <a:close/>
                    <a:moveTo>
                      <a:pt x="593" y="1579"/>
                    </a:moveTo>
                    <a:lnTo>
                      <a:pt x="593" y="1607"/>
                    </a:lnTo>
                    <a:lnTo>
                      <a:pt x="537" y="1607"/>
                    </a:lnTo>
                    <a:lnTo>
                      <a:pt x="537" y="1551"/>
                    </a:lnTo>
                    <a:lnTo>
                      <a:pt x="593" y="1551"/>
                    </a:lnTo>
                    <a:lnTo>
                      <a:pt x="593" y="1579"/>
                    </a:lnTo>
                    <a:close/>
                    <a:moveTo>
                      <a:pt x="975" y="1639"/>
                    </a:moveTo>
                    <a:lnTo>
                      <a:pt x="1030" y="1639"/>
                    </a:lnTo>
                    <a:lnTo>
                      <a:pt x="1030" y="1738"/>
                    </a:lnTo>
                    <a:lnTo>
                      <a:pt x="1030" y="1860"/>
                    </a:lnTo>
                    <a:lnTo>
                      <a:pt x="975" y="1860"/>
                    </a:lnTo>
                    <a:lnTo>
                      <a:pt x="975" y="1639"/>
                    </a:lnTo>
                    <a:close/>
                    <a:moveTo>
                      <a:pt x="1030" y="1579"/>
                    </a:moveTo>
                    <a:lnTo>
                      <a:pt x="1030" y="1607"/>
                    </a:lnTo>
                    <a:lnTo>
                      <a:pt x="975" y="1607"/>
                    </a:lnTo>
                    <a:lnTo>
                      <a:pt x="975" y="1551"/>
                    </a:lnTo>
                    <a:lnTo>
                      <a:pt x="1030" y="1551"/>
                    </a:lnTo>
                    <a:lnTo>
                      <a:pt x="1030" y="1579"/>
                    </a:lnTo>
                    <a:close/>
                    <a:moveTo>
                      <a:pt x="2539" y="2042"/>
                    </a:moveTo>
                    <a:lnTo>
                      <a:pt x="2539" y="2042"/>
                    </a:lnTo>
                    <a:lnTo>
                      <a:pt x="2534" y="2038"/>
                    </a:lnTo>
                    <a:lnTo>
                      <a:pt x="2528" y="2033"/>
                    </a:lnTo>
                    <a:lnTo>
                      <a:pt x="2523" y="2030"/>
                    </a:lnTo>
                    <a:lnTo>
                      <a:pt x="2516" y="2027"/>
                    </a:lnTo>
                    <a:lnTo>
                      <a:pt x="2511" y="2025"/>
                    </a:lnTo>
                    <a:lnTo>
                      <a:pt x="2504" y="2024"/>
                    </a:lnTo>
                    <a:lnTo>
                      <a:pt x="2490" y="2021"/>
                    </a:lnTo>
                    <a:lnTo>
                      <a:pt x="2490" y="2021"/>
                    </a:lnTo>
                    <a:lnTo>
                      <a:pt x="2480" y="2022"/>
                    </a:lnTo>
                    <a:lnTo>
                      <a:pt x="2471" y="2024"/>
                    </a:lnTo>
                    <a:lnTo>
                      <a:pt x="2462" y="2027"/>
                    </a:lnTo>
                    <a:lnTo>
                      <a:pt x="2453" y="2030"/>
                    </a:lnTo>
                    <a:lnTo>
                      <a:pt x="2446" y="2035"/>
                    </a:lnTo>
                    <a:lnTo>
                      <a:pt x="2439" y="2039"/>
                    </a:lnTo>
                    <a:lnTo>
                      <a:pt x="2432" y="2046"/>
                    </a:lnTo>
                    <a:lnTo>
                      <a:pt x="2426" y="2052"/>
                    </a:lnTo>
                    <a:lnTo>
                      <a:pt x="2421" y="2060"/>
                    </a:lnTo>
                    <a:lnTo>
                      <a:pt x="2416" y="2069"/>
                    </a:lnTo>
                    <a:lnTo>
                      <a:pt x="2413" y="2078"/>
                    </a:lnTo>
                    <a:lnTo>
                      <a:pt x="2409" y="2089"/>
                    </a:lnTo>
                    <a:lnTo>
                      <a:pt x="2406" y="2099"/>
                    </a:lnTo>
                    <a:lnTo>
                      <a:pt x="2405" y="2111"/>
                    </a:lnTo>
                    <a:lnTo>
                      <a:pt x="2404" y="2123"/>
                    </a:lnTo>
                    <a:lnTo>
                      <a:pt x="2403" y="2136"/>
                    </a:lnTo>
                    <a:lnTo>
                      <a:pt x="2403" y="2136"/>
                    </a:lnTo>
                    <a:lnTo>
                      <a:pt x="2404" y="2149"/>
                    </a:lnTo>
                    <a:lnTo>
                      <a:pt x="2405" y="2161"/>
                    </a:lnTo>
                    <a:lnTo>
                      <a:pt x="2406" y="2174"/>
                    </a:lnTo>
                    <a:lnTo>
                      <a:pt x="2409" y="2186"/>
                    </a:lnTo>
                    <a:lnTo>
                      <a:pt x="2411" y="2196"/>
                    </a:lnTo>
                    <a:lnTo>
                      <a:pt x="2416" y="2206"/>
                    </a:lnTo>
                    <a:lnTo>
                      <a:pt x="2420" y="2214"/>
                    </a:lnTo>
                    <a:lnTo>
                      <a:pt x="2426" y="2222"/>
                    </a:lnTo>
                    <a:lnTo>
                      <a:pt x="2431" y="2230"/>
                    </a:lnTo>
                    <a:lnTo>
                      <a:pt x="2438" y="2235"/>
                    </a:lnTo>
                    <a:lnTo>
                      <a:pt x="2445" y="2241"/>
                    </a:lnTo>
                    <a:lnTo>
                      <a:pt x="2452" y="2245"/>
                    </a:lnTo>
                    <a:lnTo>
                      <a:pt x="2461" y="2250"/>
                    </a:lnTo>
                    <a:lnTo>
                      <a:pt x="2470" y="2252"/>
                    </a:lnTo>
                    <a:lnTo>
                      <a:pt x="2479" y="2253"/>
                    </a:lnTo>
                    <a:lnTo>
                      <a:pt x="2489" y="2254"/>
                    </a:lnTo>
                    <a:lnTo>
                      <a:pt x="2489" y="2254"/>
                    </a:lnTo>
                    <a:lnTo>
                      <a:pt x="2495" y="2253"/>
                    </a:lnTo>
                    <a:lnTo>
                      <a:pt x="2503" y="2252"/>
                    </a:lnTo>
                    <a:lnTo>
                      <a:pt x="2510" y="2251"/>
                    </a:lnTo>
                    <a:lnTo>
                      <a:pt x="2515" y="2249"/>
                    </a:lnTo>
                    <a:lnTo>
                      <a:pt x="2522" y="2245"/>
                    </a:lnTo>
                    <a:lnTo>
                      <a:pt x="2528" y="2242"/>
                    </a:lnTo>
                    <a:lnTo>
                      <a:pt x="2534" y="2238"/>
                    </a:lnTo>
                    <a:lnTo>
                      <a:pt x="2539" y="2232"/>
                    </a:lnTo>
                    <a:lnTo>
                      <a:pt x="2539" y="2249"/>
                    </a:lnTo>
                    <a:lnTo>
                      <a:pt x="2595" y="2249"/>
                    </a:lnTo>
                    <a:lnTo>
                      <a:pt x="2595" y="1934"/>
                    </a:lnTo>
                    <a:lnTo>
                      <a:pt x="2539" y="1962"/>
                    </a:lnTo>
                    <a:lnTo>
                      <a:pt x="2539" y="2042"/>
                    </a:lnTo>
                    <a:close/>
                    <a:moveTo>
                      <a:pt x="2501" y="2203"/>
                    </a:moveTo>
                    <a:lnTo>
                      <a:pt x="2501" y="2203"/>
                    </a:lnTo>
                    <a:lnTo>
                      <a:pt x="2493" y="2202"/>
                    </a:lnTo>
                    <a:lnTo>
                      <a:pt x="2487" y="2200"/>
                    </a:lnTo>
                    <a:lnTo>
                      <a:pt x="2479" y="2197"/>
                    </a:lnTo>
                    <a:lnTo>
                      <a:pt x="2472" y="2190"/>
                    </a:lnTo>
                    <a:lnTo>
                      <a:pt x="2467" y="2181"/>
                    </a:lnTo>
                    <a:lnTo>
                      <a:pt x="2462" y="2169"/>
                    </a:lnTo>
                    <a:lnTo>
                      <a:pt x="2460" y="2154"/>
                    </a:lnTo>
                    <a:lnTo>
                      <a:pt x="2459" y="2134"/>
                    </a:lnTo>
                    <a:lnTo>
                      <a:pt x="2459" y="2134"/>
                    </a:lnTo>
                    <a:lnTo>
                      <a:pt x="2460" y="2117"/>
                    </a:lnTo>
                    <a:lnTo>
                      <a:pt x="2462" y="2103"/>
                    </a:lnTo>
                    <a:lnTo>
                      <a:pt x="2467" y="2092"/>
                    </a:lnTo>
                    <a:lnTo>
                      <a:pt x="2472" y="2084"/>
                    </a:lnTo>
                    <a:lnTo>
                      <a:pt x="2479" y="2079"/>
                    </a:lnTo>
                    <a:lnTo>
                      <a:pt x="2485" y="2074"/>
                    </a:lnTo>
                    <a:lnTo>
                      <a:pt x="2493" y="2073"/>
                    </a:lnTo>
                    <a:lnTo>
                      <a:pt x="2500" y="2072"/>
                    </a:lnTo>
                    <a:lnTo>
                      <a:pt x="2500" y="2072"/>
                    </a:lnTo>
                    <a:lnTo>
                      <a:pt x="2507" y="2073"/>
                    </a:lnTo>
                    <a:lnTo>
                      <a:pt x="2514" y="2074"/>
                    </a:lnTo>
                    <a:lnTo>
                      <a:pt x="2520" y="2076"/>
                    </a:lnTo>
                    <a:lnTo>
                      <a:pt x="2525" y="2080"/>
                    </a:lnTo>
                    <a:lnTo>
                      <a:pt x="2530" y="2083"/>
                    </a:lnTo>
                    <a:lnTo>
                      <a:pt x="2534" y="2086"/>
                    </a:lnTo>
                    <a:lnTo>
                      <a:pt x="2539" y="2094"/>
                    </a:lnTo>
                    <a:lnTo>
                      <a:pt x="2539" y="2181"/>
                    </a:lnTo>
                    <a:lnTo>
                      <a:pt x="2539" y="2181"/>
                    </a:lnTo>
                    <a:lnTo>
                      <a:pt x="2533" y="2189"/>
                    </a:lnTo>
                    <a:lnTo>
                      <a:pt x="2525" y="2196"/>
                    </a:lnTo>
                    <a:lnTo>
                      <a:pt x="2520" y="2199"/>
                    </a:lnTo>
                    <a:lnTo>
                      <a:pt x="2514" y="2201"/>
                    </a:lnTo>
                    <a:lnTo>
                      <a:pt x="2507" y="2202"/>
                    </a:lnTo>
                    <a:lnTo>
                      <a:pt x="2501" y="2203"/>
                    </a:lnTo>
                    <a:lnTo>
                      <a:pt x="2501" y="2203"/>
                    </a:lnTo>
                    <a:close/>
                    <a:moveTo>
                      <a:pt x="672" y="2089"/>
                    </a:moveTo>
                    <a:lnTo>
                      <a:pt x="672" y="2089"/>
                    </a:lnTo>
                    <a:lnTo>
                      <a:pt x="664" y="2084"/>
                    </a:lnTo>
                    <a:lnTo>
                      <a:pt x="656" y="2080"/>
                    </a:lnTo>
                    <a:lnTo>
                      <a:pt x="646" y="2078"/>
                    </a:lnTo>
                    <a:lnTo>
                      <a:pt x="636" y="2076"/>
                    </a:lnTo>
                    <a:lnTo>
                      <a:pt x="636" y="2076"/>
                    </a:lnTo>
                    <a:lnTo>
                      <a:pt x="627" y="2078"/>
                    </a:lnTo>
                    <a:lnTo>
                      <a:pt x="618" y="2080"/>
                    </a:lnTo>
                    <a:lnTo>
                      <a:pt x="611" y="2084"/>
                    </a:lnTo>
                    <a:lnTo>
                      <a:pt x="606" y="2090"/>
                    </a:lnTo>
                    <a:lnTo>
                      <a:pt x="601" y="2096"/>
                    </a:lnTo>
                    <a:lnTo>
                      <a:pt x="599" y="2105"/>
                    </a:lnTo>
                    <a:lnTo>
                      <a:pt x="597" y="2116"/>
                    </a:lnTo>
                    <a:lnTo>
                      <a:pt x="596" y="2128"/>
                    </a:lnTo>
                    <a:lnTo>
                      <a:pt x="596" y="2249"/>
                    </a:lnTo>
                    <a:lnTo>
                      <a:pt x="542" y="2249"/>
                    </a:lnTo>
                    <a:lnTo>
                      <a:pt x="542" y="2027"/>
                    </a:lnTo>
                    <a:lnTo>
                      <a:pt x="596" y="2027"/>
                    </a:lnTo>
                    <a:lnTo>
                      <a:pt x="596" y="2046"/>
                    </a:lnTo>
                    <a:lnTo>
                      <a:pt x="596" y="2046"/>
                    </a:lnTo>
                    <a:lnTo>
                      <a:pt x="601" y="2040"/>
                    </a:lnTo>
                    <a:lnTo>
                      <a:pt x="607" y="2035"/>
                    </a:lnTo>
                    <a:lnTo>
                      <a:pt x="613" y="2031"/>
                    </a:lnTo>
                    <a:lnTo>
                      <a:pt x="619" y="2028"/>
                    </a:lnTo>
                    <a:lnTo>
                      <a:pt x="625" y="2025"/>
                    </a:lnTo>
                    <a:lnTo>
                      <a:pt x="631" y="2024"/>
                    </a:lnTo>
                    <a:lnTo>
                      <a:pt x="639" y="2022"/>
                    </a:lnTo>
                    <a:lnTo>
                      <a:pt x="646" y="2021"/>
                    </a:lnTo>
                    <a:lnTo>
                      <a:pt x="646" y="2021"/>
                    </a:lnTo>
                    <a:lnTo>
                      <a:pt x="657" y="2022"/>
                    </a:lnTo>
                    <a:lnTo>
                      <a:pt x="668" y="2026"/>
                    </a:lnTo>
                    <a:lnTo>
                      <a:pt x="679" y="2030"/>
                    </a:lnTo>
                    <a:lnTo>
                      <a:pt x="688" y="2036"/>
                    </a:lnTo>
                    <a:lnTo>
                      <a:pt x="672" y="2089"/>
                    </a:lnTo>
                    <a:close/>
                    <a:moveTo>
                      <a:pt x="241" y="2027"/>
                    </a:moveTo>
                    <a:lnTo>
                      <a:pt x="295" y="2027"/>
                    </a:lnTo>
                    <a:lnTo>
                      <a:pt x="232" y="2249"/>
                    </a:lnTo>
                    <a:lnTo>
                      <a:pt x="184" y="2249"/>
                    </a:lnTo>
                    <a:lnTo>
                      <a:pt x="160" y="2157"/>
                    </a:lnTo>
                    <a:lnTo>
                      <a:pt x="160" y="2157"/>
                    </a:lnTo>
                    <a:lnTo>
                      <a:pt x="148" y="2108"/>
                    </a:lnTo>
                    <a:lnTo>
                      <a:pt x="148" y="2108"/>
                    </a:lnTo>
                    <a:lnTo>
                      <a:pt x="142" y="2132"/>
                    </a:lnTo>
                    <a:lnTo>
                      <a:pt x="136" y="2158"/>
                    </a:lnTo>
                    <a:lnTo>
                      <a:pt x="110" y="2249"/>
                    </a:lnTo>
                    <a:lnTo>
                      <a:pt x="63" y="2249"/>
                    </a:lnTo>
                    <a:lnTo>
                      <a:pt x="63" y="2247"/>
                    </a:lnTo>
                    <a:lnTo>
                      <a:pt x="0" y="2027"/>
                    </a:lnTo>
                    <a:lnTo>
                      <a:pt x="57" y="2027"/>
                    </a:lnTo>
                    <a:lnTo>
                      <a:pt x="77" y="2110"/>
                    </a:lnTo>
                    <a:lnTo>
                      <a:pt x="77" y="2110"/>
                    </a:lnTo>
                    <a:lnTo>
                      <a:pt x="83" y="2136"/>
                    </a:lnTo>
                    <a:lnTo>
                      <a:pt x="88" y="2164"/>
                    </a:lnTo>
                    <a:lnTo>
                      <a:pt x="88" y="2164"/>
                    </a:lnTo>
                    <a:lnTo>
                      <a:pt x="95" y="2136"/>
                    </a:lnTo>
                    <a:lnTo>
                      <a:pt x="102" y="2108"/>
                    </a:lnTo>
                    <a:lnTo>
                      <a:pt x="125" y="2027"/>
                    </a:lnTo>
                    <a:lnTo>
                      <a:pt x="172" y="2027"/>
                    </a:lnTo>
                    <a:lnTo>
                      <a:pt x="195" y="2108"/>
                    </a:lnTo>
                    <a:lnTo>
                      <a:pt x="195" y="2108"/>
                    </a:lnTo>
                    <a:lnTo>
                      <a:pt x="202" y="2135"/>
                    </a:lnTo>
                    <a:lnTo>
                      <a:pt x="209" y="2165"/>
                    </a:lnTo>
                    <a:lnTo>
                      <a:pt x="209" y="2165"/>
                    </a:lnTo>
                    <a:lnTo>
                      <a:pt x="213" y="2139"/>
                    </a:lnTo>
                    <a:lnTo>
                      <a:pt x="220" y="2108"/>
                    </a:lnTo>
                    <a:lnTo>
                      <a:pt x="241" y="2027"/>
                    </a:lnTo>
                    <a:close/>
                    <a:moveTo>
                      <a:pt x="406" y="2021"/>
                    </a:moveTo>
                    <a:lnTo>
                      <a:pt x="406" y="2021"/>
                    </a:lnTo>
                    <a:lnTo>
                      <a:pt x="396" y="2022"/>
                    </a:lnTo>
                    <a:lnTo>
                      <a:pt x="385" y="2024"/>
                    </a:lnTo>
                    <a:lnTo>
                      <a:pt x="375" y="2027"/>
                    </a:lnTo>
                    <a:lnTo>
                      <a:pt x="366" y="2030"/>
                    </a:lnTo>
                    <a:lnTo>
                      <a:pt x="358" y="2035"/>
                    </a:lnTo>
                    <a:lnTo>
                      <a:pt x="349" y="2040"/>
                    </a:lnTo>
                    <a:lnTo>
                      <a:pt x="341" y="2047"/>
                    </a:lnTo>
                    <a:lnTo>
                      <a:pt x="334" y="2054"/>
                    </a:lnTo>
                    <a:lnTo>
                      <a:pt x="328" y="2062"/>
                    </a:lnTo>
                    <a:lnTo>
                      <a:pt x="322" y="2071"/>
                    </a:lnTo>
                    <a:lnTo>
                      <a:pt x="317" y="2081"/>
                    </a:lnTo>
                    <a:lnTo>
                      <a:pt x="313" y="2091"/>
                    </a:lnTo>
                    <a:lnTo>
                      <a:pt x="310" y="2102"/>
                    </a:lnTo>
                    <a:lnTo>
                      <a:pt x="308" y="2113"/>
                    </a:lnTo>
                    <a:lnTo>
                      <a:pt x="306" y="2125"/>
                    </a:lnTo>
                    <a:lnTo>
                      <a:pt x="306" y="2138"/>
                    </a:lnTo>
                    <a:lnTo>
                      <a:pt x="306" y="2138"/>
                    </a:lnTo>
                    <a:lnTo>
                      <a:pt x="306" y="2150"/>
                    </a:lnTo>
                    <a:lnTo>
                      <a:pt x="308" y="2163"/>
                    </a:lnTo>
                    <a:lnTo>
                      <a:pt x="310" y="2174"/>
                    </a:lnTo>
                    <a:lnTo>
                      <a:pt x="313" y="2185"/>
                    </a:lnTo>
                    <a:lnTo>
                      <a:pt x="317" y="2194"/>
                    </a:lnTo>
                    <a:lnTo>
                      <a:pt x="322" y="2204"/>
                    </a:lnTo>
                    <a:lnTo>
                      <a:pt x="328" y="2213"/>
                    </a:lnTo>
                    <a:lnTo>
                      <a:pt x="334" y="2221"/>
                    </a:lnTo>
                    <a:lnTo>
                      <a:pt x="341" y="2229"/>
                    </a:lnTo>
                    <a:lnTo>
                      <a:pt x="349" y="2235"/>
                    </a:lnTo>
                    <a:lnTo>
                      <a:pt x="358" y="2241"/>
                    </a:lnTo>
                    <a:lnTo>
                      <a:pt x="366" y="2245"/>
                    </a:lnTo>
                    <a:lnTo>
                      <a:pt x="375" y="2249"/>
                    </a:lnTo>
                    <a:lnTo>
                      <a:pt x="385" y="2252"/>
                    </a:lnTo>
                    <a:lnTo>
                      <a:pt x="396" y="2253"/>
                    </a:lnTo>
                    <a:lnTo>
                      <a:pt x="406" y="2254"/>
                    </a:lnTo>
                    <a:lnTo>
                      <a:pt x="406" y="2254"/>
                    </a:lnTo>
                    <a:lnTo>
                      <a:pt x="417" y="2253"/>
                    </a:lnTo>
                    <a:lnTo>
                      <a:pt x="428" y="2252"/>
                    </a:lnTo>
                    <a:lnTo>
                      <a:pt x="438" y="2249"/>
                    </a:lnTo>
                    <a:lnTo>
                      <a:pt x="447" y="2245"/>
                    </a:lnTo>
                    <a:lnTo>
                      <a:pt x="456" y="2241"/>
                    </a:lnTo>
                    <a:lnTo>
                      <a:pt x="465" y="2235"/>
                    </a:lnTo>
                    <a:lnTo>
                      <a:pt x="472" y="2229"/>
                    </a:lnTo>
                    <a:lnTo>
                      <a:pt x="479" y="2221"/>
                    </a:lnTo>
                    <a:lnTo>
                      <a:pt x="486" y="2213"/>
                    </a:lnTo>
                    <a:lnTo>
                      <a:pt x="491" y="2204"/>
                    </a:lnTo>
                    <a:lnTo>
                      <a:pt x="496" y="2194"/>
                    </a:lnTo>
                    <a:lnTo>
                      <a:pt x="500" y="2185"/>
                    </a:lnTo>
                    <a:lnTo>
                      <a:pt x="503" y="2174"/>
                    </a:lnTo>
                    <a:lnTo>
                      <a:pt x="505" y="2163"/>
                    </a:lnTo>
                    <a:lnTo>
                      <a:pt x="508" y="2150"/>
                    </a:lnTo>
                    <a:lnTo>
                      <a:pt x="508" y="2138"/>
                    </a:lnTo>
                    <a:lnTo>
                      <a:pt x="508" y="2138"/>
                    </a:lnTo>
                    <a:lnTo>
                      <a:pt x="508" y="2125"/>
                    </a:lnTo>
                    <a:lnTo>
                      <a:pt x="505" y="2113"/>
                    </a:lnTo>
                    <a:lnTo>
                      <a:pt x="503" y="2102"/>
                    </a:lnTo>
                    <a:lnTo>
                      <a:pt x="500" y="2091"/>
                    </a:lnTo>
                    <a:lnTo>
                      <a:pt x="496" y="2081"/>
                    </a:lnTo>
                    <a:lnTo>
                      <a:pt x="491" y="2071"/>
                    </a:lnTo>
                    <a:lnTo>
                      <a:pt x="486" y="2062"/>
                    </a:lnTo>
                    <a:lnTo>
                      <a:pt x="479" y="2054"/>
                    </a:lnTo>
                    <a:lnTo>
                      <a:pt x="472" y="2047"/>
                    </a:lnTo>
                    <a:lnTo>
                      <a:pt x="465" y="2040"/>
                    </a:lnTo>
                    <a:lnTo>
                      <a:pt x="456" y="2035"/>
                    </a:lnTo>
                    <a:lnTo>
                      <a:pt x="447" y="2030"/>
                    </a:lnTo>
                    <a:lnTo>
                      <a:pt x="438" y="2027"/>
                    </a:lnTo>
                    <a:lnTo>
                      <a:pt x="428" y="2024"/>
                    </a:lnTo>
                    <a:lnTo>
                      <a:pt x="417" y="2022"/>
                    </a:lnTo>
                    <a:lnTo>
                      <a:pt x="406" y="2021"/>
                    </a:lnTo>
                    <a:lnTo>
                      <a:pt x="406" y="2021"/>
                    </a:lnTo>
                    <a:close/>
                    <a:moveTo>
                      <a:pt x="406" y="2202"/>
                    </a:moveTo>
                    <a:lnTo>
                      <a:pt x="406" y="2202"/>
                    </a:lnTo>
                    <a:lnTo>
                      <a:pt x="396" y="2201"/>
                    </a:lnTo>
                    <a:lnTo>
                      <a:pt x="387" y="2198"/>
                    </a:lnTo>
                    <a:lnTo>
                      <a:pt x="381" y="2192"/>
                    </a:lnTo>
                    <a:lnTo>
                      <a:pt x="374" y="2185"/>
                    </a:lnTo>
                    <a:lnTo>
                      <a:pt x="369" y="2176"/>
                    </a:lnTo>
                    <a:lnTo>
                      <a:pt x="364" y="2165"/>
                    </a:lnTo>
                    <a:lnTo>
                      <a:pt x="362" y="2151"/>
                    </a:lnTo>
                    <a:lnTo>
                      <a:pt x="362" y="2138"/>
                    </a:lnTo>
                    <a:lnTo>
                      <a:pt x="362" y="2138"/>
                    </a:lnTo>
                    <a:lnTo>
                      <a:pt x="362" y="2124"/>
                    </a:lnTo>
                    <a:lnTo>
                      <a:pt x="364" y="2111"/>
                    </a:lnTo>
                    <a:lnTo>
                      <a:pt x="369" y="2101"/>
                    </a:lnTo>
                    <a:lnTo>
                      <a:pt x="374" y="2091"/>
                    </a:lnTo>
                    <a:lnTo>
                      <a:pt x="381" y="2083"/>
                    </a:lnTo>
                    <a:lnTo>
                      <a:pt x="387" y="2078"/>
                    </a:lnTo>
                    <a:lnTo>
                      <a:pt x="396" y="2074"/>
                    </a:lnTo>
                    <a:lnTo>
                      <a:pt x="406" y="2073"/>
                    </a:lnTo>
                    <a:lnTo>
                      <a:pt x="406" y="2073"/>
                    </a:lnTo>
                    <a:lnTo>
                      <a:pt x="416" y="2074"/>
                    </a:lnTo>
                    <a:lnTo>
                      <a:pt x="425" y="2078"/>
                    </a:lnTo>
                    <a:lnTo>
                      <a:pt x="433" y="2083"/>
                    </a:lnTo>
                    <a:lnTo>
                      <a:pt x="439" y="2091"/>
                    </a:lnTo>
                    <a:lnTo>
                      <a:pt x="445" y="2101"/>
                    </a:lnTo>
                    <a:lnTo>
                      <a:pt x="448" y="2111"/>
                    </a:lnTo>
                    <a:lnTo>
                      <a:pt x="450" y="2124"/>
                    </a:lnTo>
                    <a:lnTo>
                      <a:pt x="451" y="2138"/>
                    </a:lnTo>
                    <a:lnTo>
                      <a:pt x="451" y="2138"/>
                    </a:lnTo>
                    <a:lnTo>
                      <a:pt x="450" y="2151"/>
                    </a:lnTo>
                    <a:lnTo>
                      <a:pt x="448" y="2165"/>
                    </a:lnTo>
                    <a:lnTo>
                      <a:pt x="445" y="2176"/>
                    </a:lnTo>
                    <a:lnTo>
                      <a:pt x="439" y="2185"/>
                    </a:lnTo>
                    <a:lnTo>
                      <a:pt x="433" y="2192"/>
                    </a:lnTo>
                    <a:lnTo>
                      <a:pt x="425" y="2198"/>
                    </a:lnTo>
                    <a:lnTo>
                      <a:pt x="416" y="2201"/>
                    </a:lnTo>
                    <a:lnTo>
                      <a:pt x="406" y="2202"/>
                    </a:lnTo>
                    <a:lnTo>
                      <a:pt x="406" y="2202"/>
                    </a:lnTo>
                    <a:close/>
                    <a:moveTo>
                      <a:pt x="2269" y="2089"/>
                    </a:moveTo>
                    <a:lnTo>
                      <a:pt x="2269" y="2089"/>
                    </a:lnTo>
                    <a:lnTo>
                      <a:pt x="2260" y="2084"/>
                    </a:lnTo>
                    <a:lnTo>
                      <a:pt x="2251" y="2080"/>
                    </a:lnTo>
                    <a:lnTo>
                      <a:pt x="2242" y="2078"/>
                    </a:lnTo>
                    <a:lnTo>
                      <a:pt x="2233" y="2076"/>
                    </a:lnTo>
                    <a:lnTo>
                      <a:pt x="2233" y="2076"/>
                    </a:lnTo>
                    <a:lnTo>
                      <a:pt x="2223" y="2078"/>
                    </a:lnTo>
                    <a:lnTo>
                      <a:pt x="2215" y="2080"/>
                    </a:lnTo>
                    <a:lnTo>
                      <a:pt x="2208" y="2084"/>
                    </a:lnTo>
                    <a:lnTo>
                      <a:pt x="2203" y="2090"/>
                    </a:lnTo>
                    <a:lnTo>
                      <a:pt x="2198" y="2096"/>
                    </a:lnTo>
                    <a:lnTo>
                      <a:pt x="2195" y="2105"/>
                    </a:lnTo>
                    <a:lnTo>
                      <a:pt x="2193" y="2116"/>
                    </a:lnTo>
                    <a:lnTo>
                      <a:pt x="2193" y="2128"/>
                    </a:lnTo>
                    <a:lnTo>
                      <a:pt x="2193" y="2249"/>
                    </a:lnTo>
                    <a:lnTo>
                      <a:pt x="2138" y="2249"/>
                    </a:lnTo>
                    <a:lnTo>
                      <a:pt x="2138" y="2027"/>
                    </a:lnTo>
                    <a:lnTo>
                      <a:pt x="2193" y="2027"/>
                    </a:lnTo>
                    <a:lnTo>
                      <a:pt x="2193" y="2046"/>
                    </a:lnTo>
                    <a:lnTo>
                      <a:pt x="2193" y="2046"/>
                    </a:lnTo>
                    <a:lnTo>
                      <a:pt x="2197" y="2040"/>
                    </a:lnTo>
                    <a:lnTo>
                      <a:pt x="2203" y="2035"/>
                    </a:lnTo>
                    <a:lnTo>
                      <a:pt x="2208" y="2031"/>
                    </a:lnTo>
                    <a:lnTo>
                      <a:pt x="2215" y="2028"/>
                    </a:lnTo>
                    <a:lnTo>
                      <a:pt x="2222" y="2025"/>
                    </a:lnTo>
                    <a:lnTo>
                      <a:pt x="2228" y="2024"/>
                    </a:lnTo>
                    <a:lnTo>
                      <a:pt x="2235" y="2022"/>
                    </a:lnTo>
                    <a:lnTo>
                      <a:pt x="2242" y="2021"/>
                    </a:lnTo>
                    <a:lnTo>
                      <a:pt x="2242" y="2021"/>
                    </a:lnTo>
                    <a:lnTo>
                      <a:pt x="2253" y="2022"/>
                    </a:lnTo>
                    <a:lnTo>
                      <a:pt x="2264" y="2026"/>
                    </a:lnTo>
                    <a:lnTo>
                      <a:pt x="2275" y="2030"/>
                    </a:lnTo>
                    <a:lnTo>
                      <a:pt x="2283" y="2036"/>
                    </a:lnTo>
                    <a:lnTo>
                      <a:pt x="2269" y="2089"/>
                    </a:lnTo>
                    <a:close/>
                    <a:moveTo>
                      <a:pt x="1836" y="2027"/>
                    </a:moveTo>
                    <a:lnTo>
                      <a:pt x="1891" y="2027"/>
                    </a:lnTo>
                    <a:lnTo>
                      <a:pt x="1828" y="2249"/>
                    </a:lnTo>
                    <a:lnTo>
                      <a:pt x="1780" y="2249"/>
                    </a:lnTo>
                    <a:lnTo>
                      <a:pt x="1756" y="2157"/>
                    </a:lnTo>
                    <a:lnTo>
                      <a:pt x="1756" y="2157"/>
                    </a:lnTo>
                    <a:lnTo>
                      <a:pt x="1744" y="2108"/>
                    </a:lnTo>
                    <a:lnTo>
                      <a:pt x="1744" y="2108"/>
                    </a:lnTo>
                    <a:lnTo>
                      <a:pt x="1738" y="2132"/>
                    </a:lnTo>
                    <a:lnTo>
                      <a:pt x="1732" y="2158"/>
                    </a:lnTo>
                    <a:lnTo>
                      <a:pt x="1707" y="2249"/>
                    </a:lnTo>
                    <a:lnTo>
                      <a:pt x="1660" y="2249"/>
                    </a:lnTo>
                    <a:lnTo>
                      <a:pt x="1659" y="2247"/>
                    </a:lnTo>
                    <a:lnTo>
                      <a:pt x="1597" y="2027"/>
                    </a:lnTo>
                    <a:lnTo>
                      <a:pt x="1653" y="2027"/>
                    </a:lnTo>
                    <a:lnTo>
                      <a:pt x="1674" y="2110"/>
                    </a:lnTo>
                    <a:lnTo>
                      <a:pt x="1674" y="2110"/>
                    </a:lnTo>
                    <a:lnTo>
                      <a:pt x="1680" y="2136"/>
                    </a:lnTo>
                    <a:lnTo>
                      <a:pt x="1685" y="2164"/>
                    </a:lnTo>
                    <a:lnTo>
                      <a:pt x="1685" y="2164"/>
                    </a:lnTo>
                    <a:lnTo>
                      <a:pt x="1691" y="2136"/>
                    </a:lnTo>
                    <a:lnTo>
                      <a:pt x="1699" y="2108"/>
                    </a:lnTo>
                    <a:lnTo>
                      <a:pt x="1722" y="2027"/>
                    </a:lnTo>
                    <a:lnTo>
                      <a:pt x="1768" y="2027"/>
                    </a:lnTo>
                    <a:lnTo>
                      <a:pt x="1791" y="2108"/>
                    </a:lnTo>
                    <a:lnTo>
                      <a:pt x="1791" y="2108"/>
                    </a:lnTo>
                    <a:lnTo>
                      <a:pt x="1798" y="2135"/>
                    </a:lnTo>
                    <a:lnTo>
                      <a:pt x="1804" y="2165"/>
                    </a:lnTo>
                    <a:lnTo>
                      <a:pt x="1804" y="2165"/>
                    </a:lnTo>
                    <a:lnTo>
                      <a:pt x="1810" y="2139"/>
                    </a:lnTo>
                    <a:lnTo>
                      <a:pt x="1817" y="2108"/>
                    </a:lnTo>
                    <a:lnTo>
                      <a:pt x="1836" y="2027"/>
                    </a:lnTo>
                    <a:close/>
                    <a:moveTo>
                      <a:pt x="2002" y="2021"/>
                    </a:moveTo>
                    <a:lnTo>
                      <a:pt x="2002" y="2021"/>
                    </a:lnTo>
                    <a:lnTo>
                      <a:pt x="1992" y="2022"/>
                    </a:lnTo>
                    <a:lnTo>
                      <a:pt x="1981" y="2024"/>
                    </a:lnTo>
                    <a:lnTo>
                      <a:pt x="1971" y="2027"/>
                    </a:lnTo>
                    <a:lnTo>
                      <a:pt x="1962" y="2030"/>
                    </a:lnTo>
                    <a:lnTo>
                      <a:pt x="1953" y="2035"/>
                    </a:lnTo>
                    <a:lnTo>
                      <a:pt x="1945" y="2041"/>
                    </a:lnTo>
                    <a:lnTo>
                      <a:pt x="1937" y="2047"/>
                    </a:lnTo>
                    <a:lnTo>
                      <a:pt x="1930" y="2054"/>
                    </a:lnTo>
                    <a:lnTo>
                      <a:pt x="1924" y="2062"/>
                    </a:lnTo>
                    <a:lnTo>
                      <a:pt x="1918" y="2071"/>
                    </a:lnTo>
                    <a:lnTo>
                      <a:pt x="1913" y="2081"/>
                    </a:lnTo>
                    <a:lnTo>
                      <a:pt x="1909" y="2091"/>
                    </a:lnTo>
                    <a:lnTo>
                      <a:pt x="1906" y="2102"/>
                    </a:lnTo>
                    <a:lnTo>
                      <a:pt x="1903" y="2114"/>
                    </a:lnTo>
                    <a:lnTo>
                      <a:pt x="1902" y="2125"/>
                    </a:lnTo>
                    <a:lnTo>
                      <a:pt x="1902" y="2138"/>
                    </a:lnTo>
                    <a:lnTo>
                      <a:pt x="1902" y="2138"/>
                    </a:lnTo>
                    <a:lnTo>
                      <a:pt x="1902" y="2150"/>
                    </a:lnTo>
                    <a:lnTo>
                      <a:pt x="1903" y="2163"/>
                    </a:lnTo>
                    <a:lnTo>
                      <a:pt x="1906" y="2174"/>
                    </a:lnTo>
                    <a:lnTo>
                      <a:pt x="1909" y="2185"/>
                    </a:lnTo>
                    <a:lnTo>
                      <a:pt x="1913" y="2194"/>
                    </a:lnTo>
                    <a:lnTo>
                      <a:pt x="1918" y="2204"/>
                    </a:lnTo>
                    <a:lnTo>
                      <a:pt x="1924" y="2213"/>
                    </a:lnTo>
                    <a:lnTo>
                      <a:pt x="1930" y="2221"/>
                    </a:lnTo>
                    <a:lnTo>
                      <a:pt x="1937" y="2229"/>
                    </a:lnTo>
                    <a:lnTo>
                      <a:pt x="1945" y="2235"/>
                    </a:lnTo>
                    <a:lnTo>
                      <a:pt x="1953" y="2241"/>
                    </a:lnTo>
                    <a:lnTo>
                      <a:pt x="1962" y="2245"/>
                    </a:lnTo>
                    <a:lnTo>
                      <a:pt x="1971" y="2249"/>
                    </a:lnTo>
                    <a:lnTo>
                      <a:pt x="1981" y="2252"/>
                    </a:lnTo>
                    <a:lnTo>
                      <a:pt x="1992" y="2253"/>
                    </a:lnTo>
                    <a:lnTo>
                      <a:pt x="2002" y="2254"/>
                    </a:lnTo>
                    <a:lnTo>
                      <a:pt x="2002" y="2254"/>
                    </a:lnTo>
                    <a:lnTo>
                      <a:pt x="2013" y="2253"/>
                    </a:lnTo>
                    <a:lnTo>
                      <a:pt x="2024" y="2252"/>
                    </a:lnTo>
                    <a:lnTo>
                      <a:pt x="2034" y="2249"/>
                    </a:lnTo>
                    <a:lnTo>
                      <a:pt x="2043" y="2245"/>
                    </a:lnTo>
                    <a:lnTo>
                      <a:pt x="2052" y="2241"/>
                    </a:lnTo>
                    <a:lnTo>
                      <a:pt x="2061" y="2235"/>
                    </a:lnTo>
                    <a:lnTo>
                      <a:pt x="2068" y="2229"/>
                    </a:lnTo>
                    <a:lnTo>
                      <a:pt x="2075" y="2221"/>
                    </a:lnTo>
                    <a:lnTo>
                      <a:pt x="2081" y="2213"/>
                    </a:lnTo>
                    <a:lnTo>
                      <a:pt x="2087" y="2204"/>
                    </a:lnTo>
                    <a:lnTo>
                      <a:pt x="2091" y="2194"/>
                    </a:lnTo>
                    <a:lnTo>
                      <a:pt x="2096" y="2185"/>
                    </a:lnTo>
                    <a:lnTo>
                      <a:pt x="2099" y="2174"/>
                    </a:lnTo>
                    <a:lnTo>
                      <a:pt x="2101" y="2163"/>
                    </a:lnTo>
                    <a:lnTo>
                      <a:pt x="2104" y="2150"/>
                    </a:lnTo>
                    <a:lnTo>
                      <a:pt x="2104" y="2138"/>
                    </a:lnTo>
                    <a:lnTo>
                      <a:pt x="2104" y="2138"/>
                    </a:lnTo>
                    <a:lnTo>
                      <a:pt x="2104" y="2125"/>
                    </a:lnTo>
                    <a:lnTo>
                      <a:pt x="2101" y="2114"/>
                    </a:lnTo>
                    <a:lnTo>
                      <a:pt x="2099" y="2102"/>
                    </a:lnTo>
                    <a:lnTo>
                      <a:pt x="2096" y="2091"/>
                    </a:lnTo>
                    <a:lnTo>
                      <a:pt x="2091" y="2081"/>
                    </a:lnTo>
                    <a:lnTo>
                      <a:pt x="2087" y="2071"/>
                    </a:lnTo>
                    <a:lnTo>
                      <a:pt x="2081" y="2062"/>
                    </a:lnTo>
                    <a:lnTo>
                      <a:pt x="2075" y="2054"/>
                    </a:lnTo>
                    <a:lnTo>
                      <a:pt x="2068" y="2047"/>
                    </a:lnTo>
                    <a:lnTo>
                      <a:pt x="2061" y="2041"/>
                    </a:lnTo>
                    <a:lnTo>
                      <a:pt x="2052" y="2035"/>
                    </a:lnTo>
                    <a:lnTo>
                      <a:pt x="2043" y="2030"/>
                    </a:lnTo>
                    <a:lnTo>
                      <a:pt x="2034" y="2027"/>
                    </a:lnTo>
                    <a:lnTo>
                      <a:pt x="2024" y="2024"/>
                    </a:lnTo>
                    <a:lnTo>
                      <a:pt x="2013" y="2022"/>
                    </a:lnTo>
                    <a:lnTo>
                      <a:pt x="2002" y="2021"/>
                    </a:lnTo>
                    <a:lnTo>
                      <a:pt x="2002" y="2021"/>
                    </a:lnTo>
                    <a:close/>
                    <a:moveTo>
                      <a:pt x="2002" y="2202"/>
                    </a:moveTo>
                    <a:lnTo>
                      <a:pt x="2002" y="2202"/>
                    </a:lnTo>
                    <a:lnTo>
                      <a:pt x="1992" y="2201"/>
                    </a:lnTo>
                    <a:lnTo>
                      <a:pt x="1984" y="2198"/>
                    </a:lnTo>
                    <a:lnTo>
                      <a:pt x="1977" y="2192"/>
                    </a:lnTo>
                    <a:lnTo>
                      <a:pt x="1970" y="2185"/>
                    </a:lnTo>
                    <a:lnTo>
                      <a:pt x="1964" y="2176"/>
                    </a:lnTo>
                    <a:lnTo>
                      <a:pt x="1960" y="2165"/>
                    </a:lnTo>
                    <a:lnTo>
                      <a:pt x="1958" y="2151"/>
                    </a:lnTo>
                    <a:lnTo>
                      <a:pt x="1958" y="2138"/>
                    </a:lnTo>
                    <a:lnTo>
                      <a:pt x="1958" y="2138"/>
                    </a:lnTo>
                    <a:lnTo>
                      <a:pt x="1958" y="2124"/>
                    </a:lnTo>
                    <a:lnTo>
                      <a:pt x="1960" y="2112"/>
                    </a:lnTo>
                    <a:lnTo>
                      <a:pt x="1964" y="2101"/>
                    </a:lnTo>
                    <a:lnTo>
                      <a:pt x="1970" y="2091"/>
                    </a:lnTo>
                    <a:lnTo>
                      <a:pt x="1977" y="2083"/>
                    </a:lnTo>
                    <a:lnTo>
                      <a:pt x="1984" y="2078"/>
                    </a:lnTo>
                    <a:lnTo>
                      <a:pt x="1992" y="2074"/>
                    </a:lnTo>
                    <a:lnTo>
                      <a:pt x="2002" y="2073"/>
                    </a:lnTo>
                    <a:lnTo>
                      <a:pt x="2002" y="2073"/>
                    </a:lnTo>
                    <a:lnTo>
                      <a:pt x="2012" y="2074"/>
                    </a:lnTo>
                    <a:lnTo>
                      <a:pt x="2021" y="2078"/>
                    </a:lnTo>
                    <a:lnTo>
                      <a:pt x="2029" y="2083"/>
                    </a:lnTo>
                    <a:lnTo>
                      <a:pt x="2035" y="2091"/>
                    </a:lnTo>
                    <a:lnTo>
                      <a:pt x="2041" y="2101"/>
                    </a:lnTo>
                    <a:lnTo>
                      <a:pt x="2044" y="2112"/>
                    </a:lnTo>
                    <a:lnTo>
                      <a:pt x="2046" y="2124"/>
                    </a:lnTo>
                    <a:lnTo>
                      <a:pt x="2047" y="2138"/>
                    </a:lnTo>
                    <a:lnTo>
                      <a:pt x="2047" y="2138"/>
                    </a:lnTo>
                    <a:lnTo>
                      <a:pt x="2046" y="2151"/>
                    </a:lnTo>
                    <a:lnTo>
                      <a:pt x="2044" y="2165"/>
                    </a:lnTo>
                    <a:lnTo>
                      <a:pt x="2041" y="2176"/>
                    </a:lnTo>
                    <a:lnTo>
                      <a:pt x="2035" y="2185"/>
                    </a:lnTo>
                    <a:lnTo>
                      <a:pt x="2029" y="2192"/>
                    </a:lnTo>
                    <a:lnTo>
                      <a:pt x="2021" y="2198"/>
                    </a:lnTo>
                    <a:lnTo>
                      <a:pt x="2012" y="2201"/>
                    </a:lnTo>
                    <a:lnTo>
                      <a:pt x="2002" y="2202"/>
                    </a:lnTo>
                    <a:lnTo>
                      <a:pt x="2002" y="2202"/>
                    </a:lnTo>
                    <a:close/>
                    <a:moveTo>
                      <a:pt x="837" y="2100"/>
                    </a:moveTo>
                    <a:lnTo>
                      <a:pt x="904" y="2249"/>
                    </a:lnTo>
                    <a:lnTo>
                      <a:pt x="843" y="2249"/>
                    </a:lnTo>
                    <a:lnTo>
                      <a:pt x="797" y="2146"/>
                    </a:lnTo>
                    <a:lnTo>
                      <a:pt x="767" y="2182"/>
                    </a:lnTo>
                    <a:lnTo>
                      <a:pt x="767" y="2249"/>
                    </a:lnTo>
                    <a:lnTo>
                      <a:pt x="713" y="2249"/>
                    </a:lnTo>
                    <a:lnTo>
                      <a:pt x="713" y="1962"/>
                    </a:lnTo>
                    <a:lnTo>
                      <a:pt x="767" y="1934"/>
                    </a:lnTo>
                    <a:lnTo>
                      <a:pt x="767" y="2112"/>
                    </a:lnTo>
                    <a:lnTo>
                      <a:pt x="767" y="2112"/>
                    </a:lnTo>
                    <a:lnTo>
                      <a:pt x="788" y="2083"/>
                    </a:lnTo>
                    <a:lnTo>
                      <a:pt x="832" y="2027"/>
                    </a:lnTo>
                    <a:lnTo>
                      <a:pt x="896" y="2027"/>
                    </a:lnTo>
                    <a:lnTo>
                      <a:pt x="837" y="2100"/>
                    </a:lnTo>
                    <a:close/>
                    <a:moveTo>
                      <a:pt x="1097" y="2249"/>
                    </a:moveTo>
                    <a:lnTo>
                      <a:pt x="1042" y="2249"/>
                    </a:lnTo>
                    <a:lnTo>
                      <a:pt x="1042" y="2027"/>
                    </a:lnTo>
                    <a:lnTo>
                      <a:pt x="1097" y="2027"/>
                    </a:lnTo>
                    <a:lnTo>
                      <a:pt x="1097" y="2046"/>
                    </a:lnTo>
                    <a:lnTo>
                      <a:pt x="1097" y="2046"/>
                    </a:lnTo>
                    <a:lnTo>
                      <a:pt x="1103" y="2040"/>
                    </a:lnTo>
                    <a:lnTo>
                      <a:pt x="1108" y="2036"/>
                    </a:lnTo>
                    <a:lnTo>
                      <a:pt x="1115" y="2031"/>
                    </a:lnTo>
                    <a:lnTo>
                      <a:pt x="1121" y="2028"/>
                    </a:lnTo>
                    <a:lnTo>
                      <a:pt x="1129" y="2026"/>
                    </a:lnTo>
                    <a:lnTo>
                      <a:pt x="1137" y="2024"/>
                    </a:lnTo>
                    <a:lnTo>
                      <a:pt x="1144" y="2022"/>
                    </a:lnTo>
                    <a:lnTo>
                      <a:pt x="1153" y="2021"/>
                    </a:lnTo>
                    <a:lnTo>
                      <a:pt x="1153" y="2021"/>
                    </a:lnTo>
                    <a:lnTo>
                      <a:pt x="1163" y="2022"/>
                    </a:lnTo>
                    <a:lnTo>
                      <a:pt x="1172" y="2024"/>
                    </a:lnTo>
                    <a:lnTo>
                      <a:pt x="1180" y="2026"/>
                    </a:lnTo>
                    <a:lnTo>
                      <a:pt x="1189" y="2028"/>
                    </a:lnTo>
                    <a:lnTo>
                      <a:pt x="1195" y="2032"/>
                    </a:lnTo>
                    <a:lnTo>
                      <a:pt x="1202" y="2037"/>
                    </a:lnTo>
                    <a:lnTo>
                      <a:pt x="1208" y="2041"/>
                    </a:lnTo>
                    <a:lnTo>
                      <a:pt x="1214" y="2048"/>
                    </a:lnTo>
                    <a:lnTo>
                      <a:pt x="1218" y="2054"/>
                    </a:lnTo>
                    <a:lnTo>
                      <a:pt x="1223" y="2062"/>
                    </a:lnTo>
                    <a:lnTo>
                      <a:pt x="1226" y="2070"/>
                    </a:lnTo>
                    <a:lnTo>
                      <a:pt x="1229" y="2080"/>
                    </a:lnTo>
                    <a:lnTo>
                      <a:pt x="1232" y="2090"/>
                    </a:lnTo>
                    <a:lnTo>
                      <a:pt x="1233" y="2100"/>
                    </a:lnTo>
                    <a:lnTo>
                      <a:pt x="1234" y="2111"/>
                    </a:lnTo>
                    <a:lnTo>
                      <a:pt x="1235" y="2123"/>
                    </a:lnTo>
                    <a:lnTo>
                      <a:pt x="1235" y="2249"/>
                    </a:lnTo>
                    <a:lnTo>
                      <a:pt x="1180" y="2249"/>
                    </a:lnTo>
                    <a:lnTo>
                      <a:pt x="1180" y="2126"/>
                    </a:lnTo>
                    <a:lnTo>
                      <a:pt x="1180" y="2126"/>
                    </a:lnTo>
                    <a:lnTo>
                      <a:pt x="1179" y="2114"/>
                    </a:lnTo>
                    <a:lnTo>
                      <a:pt x="1178" y="2102"/>
                    </a:lnTo>
                    <a:lnTo>
                      <a:pt x="1174" y="2093"/>
                    </a:lnTo>
                    <a:lnTo>
                      <a:pt x="1170" y="2085"/>
                    </a:lnTo>
                    <a:lnTo>
                      <a:pt x="1164" y="2080"/>
                    </a:lnTo>
                    <a:lnTo>
                      <a:pt x="1158" y="2075"/>
                    </a:lnTo>
                    <a:lnTo>
                      <a:pt x="1149" y="2073"/>
                    </a:lnTo>
                    <a:lnTo>
                      <a:pt x="1139" y="2072"/>
                    </a:lnTo>
                    <a:lnTo>
                      <a:pt x="1139" y="2072"/>
                    </a:lnTo>
                    <a:lnTo>
                      <a:pt x="1130" y="2073"/>
                    </a:lnTo>
                    <a:lnTo>
                      <a:pt x="1121" y="2075"/>
                    </a:lnTo>
                    <a:lnTo>
                      <a:pt x="1114" y="2080"/>
                    </a:lnTo>
                    <a:lnTo>
                      <a:pt x="1108" y="2086"/>
                    </a:lnTo>
                    <a:lnTo>
                      <a:pt x="1104" y="2093"/>
                    </a:lnTo>
                    <a:lnTo>
                      <a:pt x="1100" y="2103"/>
                    </a:lnTo>
                    <a:lnTo>
                      <a:pt x="1098" y="2114"/>
                    </a:lnTo>
                    <a:lnTo>
                      <a:pt x="1097" y="2126"/>
                    </a:lnTo>
                    <a:lnTo>
                      <a:pt x="1097" y="2249"/>
                    </a:lnTo>
                    <a:close/>
                    <a:moveTo>
                      <a:pt x="1408" y="2042"/>
                    </a:moveTo>
                    <a:lnTo>
                      <a:pt x="1408" y="2042"/>
                    </a:lnTo>
                    <a:lnTo>
                      <a:pt x="1403" y="2038"/>
                    </a:lnTo>
                    <a:lnTo>
                      <a:pt x="1397" y="2033"/>
                    </a:lnTo>
                    <a:lnTo>
                      <a:pt x="1392" y="2030"/>
                    </a:lnTo>
                    <a:lnTo>
                      <a:pt x="1385" y="2027"/>
                    </a:lnTo>
                    <a:lnTo>
                      <a:pt x="1378" y="2025"/>
                    </a:lnTo>
                    <a:lnTo>
                      <a:pt x="1372" y="2024"/>
                    </a:lnTo>
                    <a:lnTo>
                      <a:pt x="1365" y="2022"/>
                    </a:lnTo>
                    <a:lnTo>
                      <a:pt x="1359" y="2021"/>
                    </a:lnTo>
                    <a:lnTo>
                      <a:pt x="1359" y="2021"/>
                    </a:lnTo>
                    <a:lnTo>
                      <a:pt x="1349" y="2022"/>
                    </a:lnTo>
                    <a:lnTo>
                      <a:pt x="1340" y="2024"/>
                    </a:lnTo>
                    <a:lnTo>
                      <a:pt x="1331" y="2026"/>
                    </a:lnTo>
                    <a:lnTo>
                      <a:pt x="1322" y="2030"/>
                    </a:lnTo>
                    <a:lnTo>
                      <a:pt x="1314" y="2033"/>
                    </a:lnTo>
                    <a:lnTo>
                      <a:pt x="1308" y="2039"/>
                    </a:lnTo>
                    <a:lnTo>
                      <a:pt x="1301" y="2046"/>
                    </a:lnTo>
                    <a:lnTo>
                      <a:pt x="1295" y="2052"/>
                    </a:lnTo>
                    <a:lnTo>
                      <a:pt x="1289" y="2060"/>
                    </a:lnTo>
                    <a:lnTo>
                      <a:pt x="1285" y="2069"/>
                    </a:lnTo>
                    <a:lnTo>
                      <a:pt x="1280" y="2078"/>
                    </a:lnTo>
                    <a:lnTo>
                      <a:pt x="1277" y="2089"/>
                    </a:lnTo>
                    <a:lnTo>
                      <a:pt x="1275" y="2099"/>
                    </a:lnTo>
                    <a:lnTo>
                      <a:pt x="1273" y="2111"/>
                    </a:lnTo>
                    <a:lnTo>
                      <a:pt x="1271" y="2123"/>
                    </a:lnTo>
                    <a:lnTo>
                      <a:pt x="1271" y="2135"/>
                    </a:lnTo>
                    <a:lnTo>
                      <a:pt x="1271" y="2135"/>
                    </a:lnTo>
                    <a:lnTo>
                      <a:pt x="1271" y="2149"/>
                    </a:lnTo>
                    <a:lnTo>
                      <a:pt x="1273" y="2161"/>
                    </a:lnTo>
                    <a:lnTo>
                      <a:pt x="1275" y="2174"/>
                    </a:lnTo>
                    <a:lnTo>
                      <a:pt x="1277" y="2186"/>
                    </a:lnTo>
                    <a:lnTo>
                      <a:pt x="1280" y="2196"/>
                    </a:lnTo>
                    <a:lnTo>
                      <a:pt x="1285" y="2206"/>
                    </a:lnTo>
                    <a:lnTo>
                      <a:pt x="1289" y="2214"/>
                    </a:lnTo>
                    <a:lnTo>
                      <a:pt x="1295" y="2222"/>
                    </a:lnTo>
                    <a:lnTo>
                      <a:pt x="1300" y="2230"/>
                    </a:lnTo>
                    <a:lnTo>
                      <a:pt x="1307" y="2235"/>
                    </a:lnTo>
                    <a:lnTo>
                      <a:pt x="1313" y="2241"/>
                    </a:lnTo>
                    <a:lnTo>
                      <a:pt x="1321" y="2245"/>
                    </a:lnTo>
                    <a:lnTo>
                      <a:pt x="1330" y="2249"/>
                    </a:lnTo>
                    <a:lnTo>
                      <a:pt x="1339" y="2252"/>
                    </a:lnTo>
                    <a:lnTo>
                      <a:pt x="1348" y="2253"/>
                    </a:lnTo>
                    <a:lnTo>
                      <a:pt x="1357" y="2254"/>
                    </a:lnTo>
                    <a:lnTo>
                      <a:pt x="1357" y="2254"/>
                    </a:lnTo>
                    <a:lnTo>
                      <a:pt x="1364" y="2253"/>
                    </a:lnTo>
                    <a:lnTo>
                      <a:pt x="1372" y="2252"/>
                    </a:lnTo>
                    <a:lnTo>
                      <a:pt x="1378" y="2251"/>
                    </a:lnTo>
                    <a:lnTo>
                      <a:pt x="1385" y="2249"/>
                    </a:lnTo>
                    <a:lnTo>
                      <a:pt x="1391" y="2245"/>
                    </a:lnTo>
                    <a:lnTo>
                      <a:pt x="1397" y="2242"/>
                    </a:lnTo>
                    <a:lnTo>
                      <a:pt x="1403" y="2238"/>
                    </a:lnTo>
                    <a:lnTo>
                      <a:pt x="1408" y="2232"/>
                    </a:lnTo>
                    <a:lnTo>
                      <a:pt x="1408" y="2238"/>
                    </a:lnTo>
                    <a:lnTo>
                      <a:pt x="1408" y="2238"/>
                    </a:lnTo>
                    <a:lnTo>
                      <a:pt x="1408" y="2246"/>
                    </a:lnTo>
                    <a:lnTo>
                      <a:pt x="1407" y="2256"/>
                    </a:lnTo>
                    <a:lnTo>
                      <a:pt x="1404" y="2266"/>
                    </a:lnTo>
                    <a:lnTo>
                      <a:pt x="1402" y="2271"/>
                    </a:lnTo>
                    <a:lnTo>
                      <a:pt x="1399" y="2275"/>
                    </a:lnTo>
                    <a:lnTo>
                      <a:pt x="1395" y="2279"/>
                    </a:lnTo>
                    <a:lnTo>
                      <a:pt x="1391" y="2284"/>
                    </a:lnTo>
                    <a:lnTo>
                      <a:pt x="1385" y="2287"/>
                    </a:lnTo>
                    <a:lnTo>
                      <a:pt x="1378" y="2290"/>
                    </a:lnTo>
                    <a:lnTo>
                      <a:pt x="1370" y="2293"/>
                    </a:lnTo>
                    <a:lnTo>
                      <a:pt x="1361" y="2295"/>
                    </a:lnTo>
                    <a:lnTo>
                      <a:pt x="1350" y="2296"/>
                    </a:lnTo>
                    <a:lnTo>
                      <a:pt x="1337" y="2296"/>
                    </a:lnTo>
                    <a:lnTo>
                      <a:pt x="1334" y="2296"/>
                    </a:lnTo>
                    <a:lnTo>
                      <a:pt x="1354" y="2339"/>
                    </a:lnTo>
                    <a:lnTo>
                      <a:pt x="1355" y="2339"/>
                    </a:lnTo>
                    <a:lnTo>
                      <a:pt x="1355" y="2339"/>
                    </a:lnTo>
                    <a:lnTo>
                      <a:pt x="1369" y="2339"/>
                    </a:lnTo>
                    <a:lnTo>
                      <a:pt x="1381" y="2338"/>
                    </a:lnTo>
                    <a:lnTo>
                      <a:pt x="1392" y="2335"/>
                    </a:lnTo>
                    <a:lnTo>
                      <a:pt x="1403" y="2332"/>
                    </a:lnTo>
                    <a:lnTo>
                      <a:pt x="1413" y="2328"/>
                    </a:lnTo>
                    <a:lnTo>
                      <a:pt x="1421" y="2324"/>
                    </a:lnTo>
                    <a:lnTo>
                      <a:pt x="1429" y="2318"/>
                    </a:lnTo>
                    <a:lnTo>
                      <a:pt x="1436" y="2311"/>
                    </a:lnTo>
                    <a:lnTo>
                      <a:pt x="1442" y="2304"/>
                    </a:lnTo>
                    <a:lnTo>
                      <a:pt x="1448" y="2296"/>
                    </a:lnTo>
                    <a:lnTo>
                      <a:pt x="1452" y="2286"/>
                    </a:lnTo>
                    <a:lnTo>
                      <a:pt x="1456" y="2276"/>
                    </a:lnTo>
                    <a:lnTo>
                      <a:pt x="1459" y="2266"/>
                    </a:lnTo>
                    <a:lnTo>
                      <a:pt x="1461" y="2254"/>
                    </a:lnTo>
                    <a:lnTo>
                      <a:pt x="1462" y="2242"/>
                    </a:lnTo>
                    <a:lnTo>
                      <a:pt x="1462" y="2229"/>
                    </a:lnTo>
                    <a:lnTo>
                      <a:pt x="1462" y="2027"/>
                    </a:lnTo>
                    <a:lnTo>
                      <a:pt x="1408" y="2027"/>
                    </a:lnTo>
                    <a:lnTo>
                      <a:pt x="1408" y="2042"/>
                    </a:lnTo>
                    <a:close/>
                    <a:moveTo>
                      <a:pt x="1408" y="2094"/>
                    </a:moveTo>
                    <a:lnTo>
                      <a:pt x="1408" y="2181"/>
                    </a:lnTo>
                    <a:lnTo>
                      <a:pt x="1408" y="2181"/>
                    </a:lnTo>
                    <a:lnTo>
                      <a:pt x="1401" y="2189"/>
                    </a:lnTo>
                    <a:lnTo>
                      <a:pt x="1393" y="2197"/>
                    </a:lnTo>
                    <a:lnTo>
                      <a:pt x="1387" y="2199"/>
                    </a:lnTo>
                    <a:lnTo>
                      <a:pt x="1382" y="2201"/>
                    </a:lnTo>
                    <a:lnTo>
                      <a:pt x="1376" y="2202"/>
                    </a:lnTo>
                    <a:lnTo>
                      <a:pt x="1369" y="2203"/>
                    </a:lnTo>
                    <a:lnTo>
                      <a:pt x="1369" y="2203"/>
                    </a:lnTo>
                    <a:lnTo>
                      <a:pt x="1362" y="2202"/>
                    </a:lnTo>
                    <a:lnTo>
                      <a:pt x="1354" y="2200"/>
                    </a:lnTo>
                    <a:lnTo>
                      <a:pt x="1348" y="2197"/>
                    </a:lnTo>
                    <a:lnTo>
                      <a:pt x="1341" y="2190"/>
                    </a:lnTo>
                    <a:lnTo>
                      <a:pt x="1335" y="2181"/>
                    </a:lnTo>
                    <a:lnTo>
                      <a:pt x="1331" y="2169"/>
                    </a:lnTo>
                    <a:lnTo>
                      <a:pt x="1329" y="2154"/>
                    </a:lnTo>
                    <a:lnTo>
                      <a:pt x="1328" y="2134"/>
                    </a:lnTo>
                    <a:lnTo>
                      <a:pt x="1328" y="2134"/>
                    </a:lnTo>
                    <a:lnTo>
                      <a:pt x="1329" y="2117"/>
                    </a:lnTo>
                    <a:lnTo>
                      <a:pt x="1331" y="2103"/>
                    </a:lnTo>
                    <a:lnTo>
                      <a:pt x="1335" y="2092"/>
                    </a:lnTo>
                    <a:lnTo>
                      <a:pt x="1341" y="2084"/>
                    </a:lnTo>
                    <a:lnTo>
                      <a:pt x="1348" y="2079"/>
                    </a:lnTo>
                    <a:lnTo>
                      <a:pt x="1354" y="2074"/>
                    </a:lnTo>
                    <a:lnTo>
                      <a:pt x="1362" y="2073"/>
                    </a:lnTo>
                    <a:lnTo>
                      <a:pt x="1369" y="2072"/>
                    </a:lnTo>
                    <a:lnTo>
                      <a:pt x="1369" y="2072"/>
                    </a:lnTo>
                    <a:lnTo>
                      <a:pt x="1376" y="2073"/>
                    </a:lnTo>
                    <a:lnTo>
                      <a:pt x="1383" y="2074"/>
                    </a:lnTo>
                    <a:lnTo>
                      <a:pt x="1388" y="2076"/>
                    </a:lnTo>
                    <a:lnTo>
                      <a:pt x="1394" y="2080"/>
                    </a:lnTo>
                    <a:lnTo>
                      <a:pt x="1398" y="2083"/>
                    </a:lnTo>
                    <a:lnTo>
                      <a:pt x="1402" y="2086"/>
                    </a:lnTo>
                    <a:lnTo>
                      <a:pt x="1408" y="2094"/>
                    </a:lnTo>
                    <a:lnTo>
                      <a:pt x="1408" y="2094"/>
                    </a:lnTo>
                    <a:close/>
                    <a:moveTo>
                      <a:pt x="938" y="2027"/>
                    </a:moveTo>
                    <a:lnTo>
                      <a:pt x="993" y="2027"/>
                    </a:lnTo>
                    <a:lnTo>
                      <a:pt x="993" y="2123"/>
                    </a:lnTo>
                    <a:lnTo>
                      <a:pt x="993" y="2249"/>
                    </a:lnTo>
                    <a:lnTo>
                      <a:pt x="938" y="2249"/>
                    </a:lnTo>
                    <a:lnTo>
                      <a:pt x="938" y="2027"/>
                    </a:lnTo>
                    <a:close/>
                    <a:moveTo>
                      <a:pt x="993" y="1967"/>
                    </a:moveTo>
                    <a:lnTo>
                      <a:pt x="993" y="1995"/>
                    </a:lnTo>
                    <a:lnTo>
                      <a:pt x="938" y="1995"/>
                    </a:lnTo>
                    <a:lnTo>
                      <a:pt x="938" y="1940"/>
                    </a:lnTo>
                    <a:lnTo>
                      <a:pt x="993" y="1940"/>
                    </a:lnTo>
                    <a:lnTo>
                      <a:pt x="993" y="1967"/>
                    </a:lnTo>
                    <a:close/>
                    <a:moveTo>
                      <a:pt x="2309" y="1962"/>
                    </a:moveTo>
                    <a:lnTo>
                      <a:pt x="2364" y="1934"/>
                    </a:lnTo>
                    <a:lnTo>
                      <a:pt x="2364" y="2127"/>
                    </a:lnTo>
                    <a:lnTo>
                      <a:pt x="2364" y="2249"/>
                    </a:lnTo>
                    <a:lnTo>
                      <a:pt x="2309" y="2249"/>
                    </a:lnTo>
                    <a:lnTo>
                      <a:pt x="2309" y="1962"/>
                    </a:lnTo>
                    <a:close/>
                    <a:moveTo>
                      <a:pt x="397" y="757"/>
                    </a:moveTo>
                    <a:lnTo>
                      <a:pt x="850" y="757"/>
                    </a:lnTo>
                    <a:lnTo>
                      <a:pt x="850" y="495"/>
                    </a:lnTo>
                    <a:lnTo>
                      <a:pt x="397" y="495"/>
                    </a:lnTo>
                    <a:lnTo>
                      <a:pt x="397" y="288"/>
                    </a:lnTo>
                    <a:lnTo>
                      <a:pt x="898" y="288"/>
                    </a:lnTo>
                    <a:lnTo>
                      <a:pt x="732" y="0"/>
                    </a:lnTo>
                    <a:lnTo>
                      <a:pt x="22" y="0"/>
                    </a:lnTo>
                    <a:lnTo>
                      <a:pt x="22" y="1251"/>
                    </a:lnTo>
                    <a:lnTo>
                      <a:pt x="1023" y="1251"/>
                    </a:lnTo>
                    <a:lnTo>
                      <a:pt x="1023" y="963"/>
                    </a:lnTo>
                    <a:lnTo>
                      <a:pt x="397" y="963"/>
                    </a:lnTo>
                    <a:lnTo>
                      <a:pt x="397" y="757"/>
                    </a:lnTo>
                    <a:close/>
                    <a:moveTo>
                      <a:pt x="1690" y="0"/>
                    </a:moveTo>
                    <a:lnTo>
                      <a:pt x="1477" y="409"/>
                    </a:lnTo>
                    <a:lnTo>
                      <a:pt x="1265" y="0"/>
                    </a:lnTo>
                    <a:lnTo>
                      <a:pt x="850" y="0"/>
                    </a:lnTo>
                    <a:lnTo>
                      <a:pt x="1287" y="757"/>
                    </a:lnTo>
                    <a:lnTo>
                      <a:pt x="1287" y="1251"/>
                    </a:lnTo>
                    <a:lnTo>
                      <a:pt x="1661" y="1251"/>
                    </a:lnTo>
                    <a:lnTo>
                      <a:pt x="1661" y="757"/>
                    </a:lnTo>
                    <a:lnTo>
                      <a:pt x="2099" y="0"/>
                    </a:lnTo>
                    <a:lnTo>
                      <a:pt x="169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44" tIns="45672" rIns="91344" bIns="4567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297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797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endParaRPr>
              </a:p>
            </p:txBody>
          </p:sp>
        </p:grp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A2B2DB6C-D035-4F35-8C46-5C3834F65CC6}"/>
                </a:ext>
              </a:extLst>
            </p:cNvPr>
            <p:cNvSpPr txBox="1"/>
            <p:nvPr/>
          </p:nvSpPr>
          <p:spPr>
            <a:xfrm>
              <a:off x="9643110" y="172150"/>
              <a:ext cx="1446552" cy="624886"/>
            </a:xfrm>
            <a:prstGeom prst="rect">
              <a:avLst/>
            </a:prstGeom>
            <a:noFill/>
          </p:spPr>
          <p:txBody>
            <a:bodyPr wrap="square" lIns="0" tIns="36538" rIns="0" bIns="0" rtlCol="0" anchor="ctr">
              <a:spAutoFit/>
            </a:bodyPr>
            <a:lstStyle/>
            <a:p>
              <a:pPr marL="0" marR="0" lvl="0" indent="0" algn="r" defTabSz="912976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27ACAA"/>
                </a:buClr>
                <a:buSzPct val="70000"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Consulting</a:t>
              </a:r>
            </a:p>
            <a:p>
              <a:pPr marL="0" marR="0" lvl="0" indent="0" algn="r" defTabSz="912976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27ACAA"/>
                </a:buClr>
                <a:buSzPct val="70000"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Strategy &amp; Transactions</a:t>
              </a:r>
            </a:p>
            <a:p>
              <a:pPr marL="0" marR="0" lvl="0" indent="0" algn="r" defTabSz="912976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27ACAA"/>
                </a:buClr>
                <a:buSzPct val="70000"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Tax &amp; Law</a:t>
              </a:r>
            </a:p>
            <a:p>
              <a:pPr marL="0" marR="0" lvl="0" indent="0" algn="r" defTabSz="912976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27ACAA"/>
                </a:buClr>
                <a:buSzPct val="70000"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Assuran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35298935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apittelski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F89392A-FD86-4BCD-BA5B-1B0D029E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0" imgH="371" progId="TCLayout.ActiveDocument.1">
                  <p:embed/>
                </p:oleObj>
              </mc:Choice>
              <mc:Fallback>
                <p:oleObj name="think-cell Slide" r:id="rId3" imgW="370" imgH="37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F89392A-FD86-4BCD-BA5B-1B0D029E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arallelogram 1">
            <a:extLst>
              <a:ext uri="{FF2B5EF4-FFF2-40B4-BE49-F238E27FC236}">
                <a16:creationId xmlns:a16="http://schemas.microsoft.com/office/drawing/2014/main" id="{F79A7B8C-E8D1-42A6-A31A-7D2F74F516EA}"/>
              </a:ext>
            </a:extLst>
          </p:cNvPr>
          <p:cNvSpPr/>
          <p:nvPr userDrawn="1"/>
        </p:nvSpPr>
        <p:spPr>
          <a:xfrm>
            <a:off x="1608757" y="0"/>
            <a:ext cx="3906087" cy="6858000"/>
          </a:xfrm>
          <a:prstGeom prst="parallelogram">
            <a:avLst/>
          </a:prstGeom>
          <a:solidFill>
            <a:schemeClr val="bg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A979DB-087A-4533-95E9-C3EBDC9244E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21546" y="2461333"/>
            <a:ext cx="5039276" cy="1935337"/>
          </a:xfrm>
        </p:spPr>
        <p:txBody>
          <a:bodyPr anchor="ctr"/>
          <a:lstStyle>
            <a:lvl1pPr marL="0" indent="0">
              <a:buNone/>
              <a:defRPr sz="2799"/>
            </a:lvl1pPr>
          </a:lstStyle>
          <a:p>
            <a:pPr lvl="0"/>
            <a:r>
              <a:rPr lang="nb-NO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03407232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ki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F89392A-FD86-4BCD-BA5B-1B0D029E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0" imgH="371" progId="TCLayout.ActiveDocument.1">
                  <p:embed/>
                </p:oleObj>
              </mc:Choice>
              <mc:Fallback>
                <p:oleObj name="think-cell Slide" r:id="rId3" imgW="370" imgH="37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F89392A-FD86-4BCD-BA5B-1B0D029E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arallelogram 1">
            <a:extLst>
              <a:ext uri="{FF2B5EF4-FFF2-40B4-BE49-F238E27FC236}">
                <a16:creationId xmlns:a16="http://schemas.microsoft.com/office/drawing/2014/main" id="{F79A7B8C-E8D1-42A6-A31A-7D2F74F516EA}"/>
              </a:ext>
            </a:extLst>
          </p:cNvPr>
          <p:cNvSpPr/>
          <p:nvPr userDrawn="1"/>
        </p:nvSpPr>
        <p:spPr>
          <a:xfrm>
            <a:off x="1608757" y="0"/>
            <a:ext cx="3906087" cy="6858000"/>
          </a:xfrm>
          <a:prstGeom prst="parallelogram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A979DB-087A-4533-95E9-C3EBDC9244E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21546" y="2461333"/>
            <a:ext cx="5039276" cy="1935337"/>
          </a:xfrm>
        </p:spPr>
        <p:txBody>
          <a:bodyPr anchor="ctr"/>
          <a:lstStyle>
            <a:lvl1pPr marL="0" indent="0">
              <a:buNone/>
              <a:defRPr sz="2799"/>
            </a:lvl1pPr>
          </a:lstStyle>
          <a:p>
            <a:pPr lvl="0"/>
            <a:r>
              <a:rPr lang="nb-NO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68196355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618" y="2851522"/>
            <a:ext cx="4445484" cy="1202319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9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16" marR="0" lvl="0" indent="-356416" defTabSz="1007324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CE5F90-7113-4FA1-AFCF-3BC8EF01000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Sid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18044953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0B0A8B-D001-432B-877C-21558412B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Side 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730968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624419" y="275167"/>
            <a:ext cx="9408021" cy="1143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n-NO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24419" y="1600203"/>
            <a:ext cx="5375571" cy="4133848"/>
          </a:xfrm>
          <a:prstGeom prst="rect">
            <a:avLst/>
          </a:prstGeom>
        </p:spPr>
        <p:txBody>
          <a:bodyPr/>
          <a:lstStyle>
            <a:lvl1pPr>
              <a:defRPr sz="3733">
                <a:solidFill>
                  <a:schemeClr val="tx1"/>
                </a:solidFill>
              </a:defRPr>
            </a:lvl1pPr>
            <a:lvl2pPr>
              <a:defRPr sz="3200">
                <a:solidFill>
                  <a:schemeClr val="tx1"/>
                </a:solidFill>
              </a:defRPr>
            </a:lvl2pPr>
            <a:lvl3pPr>
              <a:defRPr sz="2667">
                <a:solidFill>
                  <a:schemeClr val="tx1"/>
                </a:solidFill>
              </a:defRPr>
            </a:lvl3pPr>
            <a:lvl4pPr>
              <a:defRPr sz="2400">
                <a:solidFill>
                  <a:schemeClr val="tx1"/>
                </a:solidFill>
              </a:defRPr>
            </a:lvl4pPr>
            <a:lvl5pPr>
              <a:defRPr sz="240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n-NO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n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n-NO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3A6922-2C30-4BC5-B43E-BB12E61A9113}" type="slidenum">
              <a:rPr lang="nn-NO" smtClean="0"/>
              <a:pPr/>
              <a:t>‹#›</a:t>
            </a:fld>
            <a:endParaRPr lang="nn-NO"/>
          </a:p>
        </p:txBody>
      </p:sp>
      <p:sp>
        <p:nvSpPr>
          <p:cNvPr id="8" name="Plassholder for innhold 2"/>
          <p:cNvSpPr>
            <a:spLocks noGrp="1"/>
          </p:cNvSpPr>
          <p:nvPr>
            <p:ph sz="half" idx="13"/>
          </p:nvPr>
        </p:nvSpPr>
        <p:spPr>
          <a:xfrm>
            <a:off x="6192011" y="1600203"/>
            <a:ext cx="5375571" cy="4133848"/>
          </a:xfrm>
          <a:prstGeom prst="rect">
            <a:avLst/>
          </a:prstGeom>
        </p:spPr>
        <p:txBody>
          <a:bodyPr/>
          <a:lstStyle>
            <a:lvl1pPr>
              <a:defRPr sz="3733">
                <a:solidFill>
                  <a:schemeClr val="tx1"/>
                </a:solidFill>
              </a:defRPr>
            </a:lvl1pPr>
            <a:lvl2pPr>
              <a:defRPr sz="3200">
                <a:solidFill>
                  <a:schemeClr val="tx1"/>
                </a:solidFill>
              </a:defRPr>
            </a:lvl2pPr>
            <a:lvl3pPr>
              <a:defRPr sz="2667">
                <a:solidFill>
                  <a:schemeClr val="tx1"/>
                </a:solidFill>
              </a:defRPr>
            </a:lvl3pPr>
            <a:lvl4pPr>
              <a:defRPr sz="2400">
                <a:solidFill>
                  <a:schemeClr val="tx1"/>
                </a:solidFill>
              </a:defRPr>
            </a:lvl4pPr>
            <a:lvl5pPr>
              <a:defRPr sz="240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n-NO"/>
          </a:p>
        </p:txBody>
      </p:sp>
    </p:spTree>
    <p:extLst>
      <p:ext uri="{BB962C8B-B14F-4D97-AF65-F5344CB8AC3E}">
        <p14:creationId xmlns:p14="http://schemas.microsoft.com/office/powerpoint/2010/main" val="508050081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67CDA30C-0A68-4242-8AAF-C0A0D4F7B5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8DBBC7-CB79-423C-A2E7-181ED85580DF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AF366F68-74F9-4800-8752-8CF6EEF3BE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CACB0B5B-5D7A-41BB-AF90-8A592C7644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B51134-B8DA-43BE-AE50-56B30208447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62921095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5758A56-31E8-516C-1ED0-910A234E18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47B10277-7B55-88A1-7489-8BC67B481E3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2754640-41B1-A3F2-30E0-7B04D6EB2D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5404E7-8059-E44A-94D0-D1F34409B5ED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0CFAB092-9700-B56B-20C7-F946E386F0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8A596183-F7E1-96AB-C053-7A30B17FCF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1BE3E-D761-FA45-81F6-74B15057DCF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7564640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312DCE1-5061-2089-9640-31E234A258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3051BCF1-F864-51C3-4169-2907AD34F01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65677FCD-D603-F804-FA7D-04C8537B54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5404E7-8059-E44A-94D0-D1F34409B5ED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E4C6E68-2AE1-2DB5-9BC1-4A4564AFFD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4BFD36F-5C9B-2FEE-F440-B7DE3D98B2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1BE3E-D761-FA45-81F6-74B15057DCF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23886884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4FE0A15-E795-1E96-D686-1C80B1517D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DB74013F-AC01-3C42-6F52-3027EB8D95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25B5C08-40AB-997A-1A7E-C74B6BB8F6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5404E7-8059-E44A-94D0-D1F34409B5ED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7B5E1BF-89DC-E191-EAD3-C5AF3FF474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AEF4D1B-4C2C-A393-E7B6-72812C9A2A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1BE3E-D761-FA45-81F6-74B15057DCF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8795353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C666208A-F4F9-4299-9F9F-6881C4C08564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7" tIns="45708" rIns="91417" bIns="45708" rtlCol="0" anchor="ctr"/>
          <a:lstStyle/>
          <a:p>
            <a:pPr algn="ctr"/>
            <a:endParaRPr lang="en-GB" sz="1800" noProof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7DF7DBE-6CC3-4F9E-A396-E82820B89E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8618" y="452438"/>
            <a:ext cx="4886960" cy="525462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Breaker text</a:t>
            </a:r>
          </a:p>
        </p:txBody>
      </p:sp>
      <p:sp>
        <p:nvSpPr>
          <p:cNvPr id="12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Freeform 5">
            <a:extLst>
              <a:ext uri="{FF2B5EF4-FFF2-40B4-BE49-F238E27FC236}">
                <a16:creationId xmlns:a16="http://schemas.microsoft.com/office/drawing/2014/main" id="{428454B1-AE1A-41EC-AD14-E0008864B56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98617" y="6158174"/>
            <a:ext cx="1219359" cy="257114"/>
          </a:xfrm>
          <a:custGeom>
            <a:avLst/>
            <a:gdLst>
              <a:gd name="T0" fmla="*/ 545 w 1071"/>
              <a:gd name="T1" fmla="*/ 142 h 223"/>
              <a:gd name="T2" fmla="*/ 572 w 1071"/>
              <a:gd name="T3" fmla="*/ 118 h 223"/>
              <a:gd name="T4" fmla="*/ 132 w 1071"/>
              <a:gd name="T5" fmla="*/ 108 h 223"/>
              <a:gd name="T6" fmla="*/ 173 w 1071"/>
              <a:gd name="T7" fmla="*/ 92 h 223"/>
              <a:gd name="T8" fmla="*/ 568 w 1071"/>
              <a:gd name="T9" fmla="*/ 76 h 223"/>
              <a:gd name="T10" fmla="*/ 567 w 1071"/>
              <a:gd name="T11" fmla="*/ 99 h 223"/>
              <a:gd name="T12" fmla="*/ 296 w 1071"/>
              <a:gd name="T13" fmla="*/ 118 h 223"/>
              <a:gd name="T14" fmla="*/ 305 w 1071"/>
              <a:gd name="T15" fmla="*/ 138 h 223"/>
              <a:gd name="T16" fmla="*/ 240 w 1071"/>
              <a:gd name="T17" fmla="*/ 163 h 223"/>
              <a:gd name="T18" fmla="*/ 267 w 1071"/>
              <a:gd name="T19" fmla="*/ 63 h 223"/>
              <a:gd name="T20" fmla="*/ 333 w 1071"/>
              <a:gd name="T21" fmla="*/ 147 h 223"/>
              <a:gd name="T22" fmla="*/ 312 w 1071"/>
              <a:gd name="T23" fmla="*/ 156 h 223"/>
              <a:gd name="T24" fmla="*/ 1071 w 1071"/>
              <a:gd name="T25" fmla="*/ 177 h 223"/>
              <a:gd name="T26" fmla="*/ 799 w 1071"/>
              <a:gd name="T27" fmla="*/ 0 h 223"/>
              <a:gd name="T28" fmla="*/ 707 w 1071"/>
              <a:gd name="T29" fmla="*/ 76 h 223"/>
              <a:gd name="T30" fmla="*/ 670 w 1071"/>
              <a:gd name="T31" fmla="*/ 109 h 223"/>
              <a:gd name="T32" fmla="*/ 735 w 1071"/>
              <a:gd name="T33" fmla="*/ 109 h 223"/>
              <a:gd name="T34" fmla="*/ 759 w 1071"/>
              <a:gd name="T35" fmla="*/ 109 h 223"/>
              <a:gd name="T36" fmla="*/ 646 w 1071"/>
              <a:gd name="T37" fmla="*/ 109 h 223"/>
              <a:gd name="T38" fmla="*/ 712 w 1071"/>
              <a:gd name="T39" fmla="*/ 55 h 223"/>
              <a:gd name="T40" fmla="*/ 0 w 1071"/>
              <a:gd name="T41" fmla="*/ 46 h 223"/>
              <a:gd name="T42" fmla="*/ 1026 w 1071"/>
              <a:gd name="T43" fmla="*/ 223 h 223"/>
              <a:gd name="T44" fmla="*/ 453 w 1071"/>
              <a:gd name="T45" fmla="*/ 151 h 223"/>
              <a:gd name="T46" fmla="*/ 423 w 1071"/>
              <a:gd name="T47" fmla="*/ 136 h 223"/>
              <a:gd name="T48" fmla="*/ 393 w 1071"/>
              <a:gd name="T49" fmla="*/ 151 h 223"/>
              <a:gd name="T50" fmla="*/ 370 w 1071"/>
              <a:gd name="T51" fmla="*/ 66 h 223"/>
              <a:gd name="T52" fmla="*/ 424 w 1071"/>
              <a:gd name="T53" fmla="*/ 107 h 223"/>
              <a:gd name="T54" fmla="*/ 477 w 1071"/>
              <a:gd name="T55" fmla="*/ 66 h 223"/>
              <a:gd name="T56" fmla="*/ 600 w 1071"/>
              <a:gd name="T57" fmla="*/ 65 h 223"/>
              <a:gd name="T58" fmla="*/ 613 w 1071"/>
              <a:gd name="T59" fmla="*/ 133 h 223"/>
              <a:gd name="T60" fmla="*/ 522 w 1071"/>
              <a:gd name="T61" fmla="*/ 150 h 223"/>
              <a:gd name="T62" fmla="*/ 572 w 1071"/>
              <a:gd name="T63" fmla="*/ 56 h 223"/>
              <a:gd name="T64" fmla="*/ 157 w 1071"/>
              <a:gd name="T65" fmla="*/ 56 h 223"/>
              <a:gd name="T66" fmla="*/ 197 w 1071"/>
              <a:gd name="T67" fmla="*/ 91 h 223"/>
              <a:gd name="T68" fmla="*/ 196 w 1071"/>
              <a:gd name="T69" fmla="*/ 152 h 223"/>
              <a:gd name="T70" fmla="*/ 150 w 1071"/>
              <a:gd name="T71" fmla="*/ 128 h 223"/>
              <a:gd name="T72" fmla="*/ 120 w 1071"/>
              <a:gd name="T73" fmla="*/ 163 h 223"/>
              <a:gd name="T74" fmla="*/ 811 w 1071"/>
              <a:gd name="T75" fmla="*/ 162 h 223"/>
              <a:gd name="T76" fmla="*/ 811 w 1071"/>
              <a:gd name="T77" fmla="*/ 55 h 223"/>
              <a:gd name="T78" fmla="*/ 866 w 1071"/>
              <a:gd name="T79" fmla="*/ 141 h 223"/>
              <a:gd name="T80" fmla="*/ 811 w 1071"/>
              <a:gd name="T81" fmla="*/ 162 h 223"/>
              <a:gd name="T82" fmla="*/ 908 w 1071"/>
              <a:gd name="T83" fmla="*/ 67 h 223"/>
              <a:gd name="T84" fmla="*/ 931 w 1071"/>
              <a:gd name="T85" fmla="*/ 141 h 223"/>
              <a:gd name="T86" fmla="*/ 975 w 1071"/>
              <a:gd name="T87" fmla="*/ 162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071" h="223">
                <a:moveTo>
                  <a:pt x="572" y="118"/>
                </a:moveTo>
                <a:cubicBezTo>
                  <a:pt x="545" y="118"/>
                  <a:pt x="545" y="118"/>
                  <a:pt x="545" y="118"/>
                </a:cubicBezTo>
                <a:cubicBezTo>
                  <a:pt x="545" y="142"/>
                  <a:pt x="545" y="142"/>
                  <a:pt x="545" y="142"/>
                </a:cubicBezTo>
                <a:cubicBezTo>
                  <a:pt x="573" y="142"/>
                  <a:pt x="573" y="142"/>
                  <a:pt x="573" y="142"/>
                </a:cubicBezTo>
                <a:cubicBezTo>
                  <a:pt x="583" y="142"/>
                  <a:pt x="590" y="138"/>
                  <a:pt x="590" y="130"/>
                </a:cubicBezTo>
                <a:cubicBezTo>
                  <a:pt x="590" y="123"/>
                  <a:pt x="584" y="118"/>
                  <a:pt x="572" y="118"/>
                </a:cubicBezTo>
                <a:moveTo>
                  <a:pt x="155" y="77"/>
                </a:moveTo>
                <a:cubicBezTo>
                  <a:pt x="132" y="77"/>
                  <a:pt x="132" y="77"/>
                  <a:pt x="132" y="77"/>
                </a:cubicBezTo>
                <a:cubicBezTo>
                  <a:pt x="132" y="108"/>
                  <a:pt x="132" y="108"/>
                  <a:pt x="132" y="108"/>
                </a:cubicBezTo>
                <a:cubicBezTo>
                  <a:pt x="155" y="108"/>
                  <a:pt x="155" y="108"/>
                  <a:pt x="155" y="108"/>
                </a:cubicBezTo>
                <a:cubicBezTo>
                  <a:pt x="167" y="108"/>
                  <a:pt x="173" y="101"/>
                  <a:pt x="173" y="92"/>
                </a:cubicBezTo>
                <a:cubicBezTo>
                  <a:pt x="173" y="92"/>
                  <a:pt x="173" y="92"/>
                  <a:pt x="173" y="92"/>
                </a:cubicBezTo>
                <a:cubicBezTo>
                  <a:pt x="173" y="82"/>
                  <a:pt x="166" y="77"/>
                  <a:pt x="155" y="77"/>
                </a:cubicBezTo>
                <a:moveTo>
                  <a:pt x="584" y="88"/>
                </a:moveTo>
                <a:cubicBezTo>
                  <a:pt x="584" y="80"/>
                  <a:pt x="578" y="76"/>
                  <a:pt x="568" y="76"/>
                </a:cubicBezTo>
                <a:cubicBezTo>
                  <a:pt x="545" y="76"/>
                  <a:pt x="545" y="76"/>
                  <a:pt x="545" y="76"/>
                </a:cubicBezTo>
                <a:cubicBezTo>
                  <a:pt x="545" y="99"/>
                  <a:pt x="545" y="99"/>
                  <a:pt x="545" y="99"/>
                </a:cubicBezTo>
                <a:cubicBezTo>
                  <a:pt x="567" y="99"/>
                  <a:pt x="567" y="99"/>
                  <a:pt x="567" y="99"/>
                </a:cubicBezTo>
                <a:cubicBezTo>
                  <a:pt x="577" y="99"/>
                  <a:pt x="584" y="96"/>
                  <a:pt x="584" y="88"/>
                </a:cubicBezTo>
                <a:moveTo>
                  <a:pt x="266" y="118"/>
                </a:moveTo>
                <a:cubicBezTo>
                  <a:pt x="296" y="118"/>
                  <a:pt x="296" y="118"/>
                  <a:pt x="296" y="118"/>
                </a:cubicBezTo>
                <a:cubicBezTo>
                  <a:pt x="281" y="83"/>
                  <a:pt x="281" y="83"/>
                  <a:pt x="281" y="83"/>
                </a:cubicBezTo>
                <a:lnTo>
                  <a:pt x="266" y="118"/>
                </a:lnTo>
                <a:close/>
                <a:moveTo>
                  <a:pt x="305" y="138"/>
                </a:moveTo>
                <a:cubicBezTo>
                  <a:pt x="258" y="138"/>
                  <a:pt x="258" y="138"/>
                  <a:pt x="258" y="138"/>
                </a:cubicBezTo>
                <a:cubicBezTo>
                  <a:pt x="250" y="156"/>
                  <a:pt x="250" y="156"/>
                  <a:pt x="250" y="156"/>
                </a:cubicBezTo>
                <a:cubicBezTo>
                  <a:pt x="248" y="161"/>
                  <a:pt x="245" y="163"/>
                  <a:pt x="240" y="163"/>
                </a:cubicBezTo>
                <a:cubicBezTo>
                  <a:pt x="234" y="163"/>
                  <a:pt x="229" y="159"/>
                  <a:pt x="229" y="153"/>
                </a:cubicBezTo>
                <a:cubicBezTo>
                  <a:pt x="229" y="151"/>
                  <a:pt x="229" y="149"/>
                  <a:pt x="230" y="147"/>
                </a:cubicBezTo>
                <a:cubicBezTo>
                  <a:pt x="267" y="63"/>
                  <a:pt x="267" y="63"/>
                  <a:pt x="267" y="63"/>
                </a:cubicBezTo>
                <a:cubicBezTo>
                  <a:pt x="270" y="58"/>
                  <a:pt x="274" y="54"/>
                  <a:pt x="282" y="54"/>
                </a:cubicBezTo>
                <a:cubicBezTo>
                  <a:pt x="289" y="54"/>
                  <a:pt x="293" y="58"/>
                  <a:pt x="296" y="63"/>
                </a:cubicBezTo>
                <a:cubicBezTo>
                  <a:pt x="333" y="147"/>
                  <a:pt x="333" y="147"/>
                  <a:pt x="333" y="147"/>
                </a:cubicBezTo>
                <a:cubicBezTo>
                  <a:pt x="334" y="149"/>
                  <a:pt x="334" y="151"/>
                  <a:pt x="334" y="153"/>
                </a:cubicBezTo>
                <a:cubicBezTo>
                  <a:pt x="334" y="159"/>
                  <a:pt x="329" y="163"/>
                  <a:pt x="323" y="163"/>
                </a:cubicBezTo>
                <a:cubicBezTo>
                  <a:pt x="318" y="163"/>
                  <a:pt x="314" y="161"/>
                  <a:pt x="312" y="156"/>
                </a:cubicBezTo>
                <a:lnTo>
                  <a:pt x="305" y="138"/>
                </a:lnTo>
                <a:close/>
                <a:moveTo>
                  <a:pt x="1026" y="223"/>
                </a:moveTo>
                <a:cubicBezTo>
                  <a:pt x="1058" y="223"/>
                  <a:pt x="1071" y="209"/>
                  <a:pt x="1071" y="177"/>
                </a:cubicBezTo>
                <a:cubicBezTo>
                  <a:pt x="1071" y="46"/>
                  <a:pt x="1071" y="46"/>
                  <a:pt x="1071" y="46"/>
                </a:cubicBezTo>
                <a:cubicBezTo>
                  <a:pt x="1071" y="14"/>
                  <a:pt x="1058" y="0"/>
                  <a:pt x="1026" y="0"/>
                </a:cubicBezTo>
                <a:cubicBezTo>
                  <a:pt x="799" y="0"/>
                  <a:pt x="799" y="0"/>
                  <a:pt x="799" y="0"/>
                </a:cubicBezTo>
                <a:cubicBezTo>
                  <a:pt x="701" y="118"/>
                  <a:pt x="701" y="118"/>
                  <a:pt x="701" y="118"/>
                </a:cubicBezTo>
                <a:cubicBezTo>
                  <a:pt x="698" y="116"/>
                  <a:pt x="698" y="116"/>
                  <a:pt x="698" y="116"/>
                </a:cubicBezTo>
                <a:cubicBezTo>
                  <a:pt x="707" y="76"/>
                  <a:pt x="707" y="76"/>
                  <a:pt x="707" y="76"/>
                </a:cubicBezTo>
                <a:cubicBezTo>
                  <a:pt x="705" y="76"/>
                  <a:pt x="704" y="76"/>
                  <a:pt x="702" y="76"/>
                </a:cubicBezTo>
                <a:cubicBezTo>
                  <a:pt x="683" y="76"/>
                  <a:pt x="670" y="91"/>
                  <a:pt x="670" y="109"/>
                </a:cubicBezTo>
                <a:cubicBezTo>
                  <a:pt x="670" y="109"/>
                  <a:pt x="670" y="109"/>
                  <a:pt x="670" y="109"/>
                </a:cubicBezTo>
                <a:cubicBezTo>
                  <a:pt x="670" y="127"/>
                  <a:pt x="684" y="142"/>
                  <a:pt x="703" y="142"/>
                </a:cubicBezTo>
                <a:cubicBezTo>
                  <a:pt x="722" y="142"/>
                  <a:pt x="735" y="128"/>
                  <a:pt x="735" y="109"/>
                </a:cubicBezTo>
                <a:cubicBezTo>
                  <a:pt x="735" y="109"/>
                  <a:pt x="735" y="109"/>
                  <a:pt x="735" y="109"/>
                </a:cubicBezTo>
                <a:cubicBezTo>
                  <a:pt x="735" y="106"/>
                  <a:pt x="734" y="102"/>
                  <a:pt x="733" y="99"/>
                </a:cubicBezTo>
                <a:cubicBezTo>
                  <a:pt x="753" y="84"/>
                  <a:pt x="753" y="84"/>
                  <a:pt x="753" y="84"/>
                </a:cubicBezTo>
                <a:cubicBezTo>
                  <a:pt x="757" y="91"/>
                  <a:pt x="759" y="100"/>
                  <a:pt x="759" y="109"/>
                </a:cubicBezTo>
                <a:cubicBezTo>
                  <a:pt x="759" y="109"/>
                  <a:pt x="759" y="109"/>
                  <a:pt x="759" y="109"/>
                </a:cubicBezTo>
                <a:cubicBezTo>
                  <a:pt x="759" y="139"/>
                  <a:pt x="735" y="164"/>
                  <a:pt x="702" y="164"/>
                </a:cubicBezTo>
                <a:cubicBezTo>
                  <a:pt x="669" y="164"/>
                  <a:pt x="646" y="140"/>
                  <a:pt x="646" y="109"/>
                </a:cubicBezTo>
                <a:cubicBezTo>
                  <a:pt x="646" y="109"/>
                  <a:pt x="646" y="109"/>
                  <a:pt x="646" y="109"/>
                </a:cubicBezTo>
                <a:cubicBezTo>
                  <a:pt x="646" y="79"/>
                  <a:pt x="670" y="54"/>
                  <a:pt x="703" y="54"/>
                </a:cubicBezTo>
                <a:cubicBezTo>
                  <a:pt x="706" y="54"/>
                  <a:pt x="709" y="54"/>
                  <a:pt x="712" y="55"/>
                </a:cubicBezTo>
                <a:cubicBezTo>
                  <a:pt x="724" y="0"/>
                  <a:pt x="724" y="0"/>
                  <a:pt x="724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13" y="0"/>
                  <a:pt x="0" y="14"/>
                  <a:pt x="0" y="46"/>
                </a:cubicBezTo>
                <a:cubicBezTo>
                  <a:pt x="0" y="177"/>
                  <a:pt x="0" y="177"/>
                  <a:pt x="0" y="177"/>
                </a:cubicBezTo>
                <a:cubicBezTo>
                  <a:pt x="0" y="209"/>
                  <a:pt x="13" y="223"/>
                  <a:pt x="45" y="223"/>
                </a:cubicBezTo>
                <a:lnTo>
                  <a:pt x="1026" y="223"/>
                </a:lnTo>
                <a:close/>
                <a:moveTo>
                  <a:pt x="477" y="151"/>
                </a:moveTo>
                <a:cubicBezTo>
                  <a:pt x="477" y="159"/>
                  <a:pt x="472" y="163"/>
                  <a:pt x="465" y="163"/>
                </a:cubicBezTo>
                <a:cubicBezTo>
                  <a:pt x="458" y="163"/>
                  <a:pt x="453" y="159"/>
                  <a:pt x="453" y="151"/>
                </a:cubicBezTo>
                <a:cubicBezTo>
                  <a:pt x="453" y="98"/>
                  <a:pt x="453" y="98"/>
                  <a:pt x="453" y="98"/>
                </a:cubicBezTo>
                <a:cubicBezTo>
                  <a:pt x="433" y="130"/>
                  <a:pt x="433" y="130"/>
                  <a:pt x="433" y="130"/>
                </a:cubicBezTo>
                <a:cubicBezTo>
                  <a:pt x="431" y="134"/>
                  <a:pt x="428" y="136"/>
                  <a:pt x="423" y="136"/>
                </a:cubicBezTo>
                <a:cubicBezTo>
                  <a:pt x="419" y="136"/>
                  <a:pt x="416" y="134"/>
                  <a:pt x="413" y="130"/>
                </a:cubicBezTo>
                <a:cubicBezTo>
                  <a:pt x="393" y="99"/>
                  <a:pt x="393" y="99"/>
                  <a:pt x="393" y="99"/>
                </a:cubicBezTo>
                <a:cubicBezTo>
                  <a:pt x="393" y="151"/>
                  <a:pt x="393" y="151"/>
                  <a:pt x="393" y="151"/>
                </a:cubicBezTo>
                <a:cubicBezTo>
                  <a:pt x="393" y="159"/>
                  <a:pt x="388" y="163"/>
                  <a:pt x="382" y="163"/>
                </a:cubicBezTo>
                <a:cubicBezTo>
                  <a:pt x="375" y="163"/>
                  <a:pt x="370" y="159"/>
                  <a:pt x="370" y="151"/>
                </a:cubicBezTo>
                <a:cubicBezTo>
                  <a:pt x="370" y="66"/>
                  <a:pt x="370" y="66"/>
                  <a:pt x="370" y="66"/>
                </a:cubicBezTo>
                <a:cubicBezTo>
                  <a:pt x="370" y="59"/>
                  <a:pt x="377" y="55"/>
                  <a:pt x="383" y="55"/>
                </a:cubicBezTo>
                <a:cubicBezTo>
                  <a:pt x="389" y="55"/>
                  <a:pt x="393" y="57"/>
                  <a:pt x="396" y="62"/>
                </a:cubicBezTo>
                <a:cubicBezTo>
                  <a:pt x="424" y="107"/>
                  <a:pt x="424" y="107"/>
                  <a:pt x="424" y="107"/>
                </a:cubicBezTo>
                <a:cubicBezTo>
                  <a:pt x="451" y="62"/>
                  <a:pt x="451" y="62"/>
                  <a:pt x="451" y="62"/>
                </a:cubicBezTo>
                <a:cubicBezTo>
                  <a:pt x="454" y="57"/>
                  <a:pt x="458" y="55"/>
                  <a:pt x="464" y="55"/>
                </a:cubicBezTo>
                <a:cubicBezTo>
                  <a:pt x="470" y="55"/>
                  <a:pt x="477" y="59"/>
                  <a:pt x="477" y="66"/>
                </a:cubicBezTo>
                <a:lnTo>
                  <a:pt x="477" y="151"/>
                </a:lnTo>
                <a:close/>
                <a:moveTo>
                  <a:pt x="572" y="56"/>
                </a:moveTo>
                <a:cubicBezTo>
                  <a:pt x="584" y="56"/>
                  <a:pt x="594" y="59"/>
                  <a:pt x="600" y="65"/>
                </a:cubicBezTo>
                <a:cubicBezTo>
                  <a:pt x="605" y="70"/>
                  <a:pt x="607" y="76"/>
                  <a:pt x="607" y="83"/>
                </a:cubicBezTo>
                <a:cubicBezTo>
                  <a:pt x="607" y="96"/>
                  <a:pt x="601" y="102"/>
                  <a:pt x="593" y="107"/>
                </a:cubicBezTo>
                <a:cubicBezTo>
                  <a:pt x="605" y="111"/>
                  <a:pt x="613" y="118"/>
                  <a:pt x="613" y="133"/>
                </a:cubicBezTo>
                <a:cubicBezTo>
                  <a:pt x="613" y="153"/>
                  <a:pt x="597" y="162"/>
                  <a:pt x="573" y="162"/>
                </a:cubicBezTo>
                <a:cubicBezTo>
                  <a:pt x="534" y="162"/>
                  <a:pt x="534" y="162"/>
                  <a:pt x="534" y="162"/>
                </a:cubicBezTo>
                <a:cubicBezTo>
                  <a:pt x="527" y="162"/>
                  <a:pt x="522" y="158"/>
                  <a:pt x="522" y="150"/>
                </a:cubicBezTo>
                <a:cubicBezTo>
                  <a:pt x="522" y="68"/>
                  <a:pt x="522" y="68"/>
                  <a:pt x="522" y="68"/>
                </a:cubicBezTo>
                <a:cubicBezTo>
                  <a:pt x="522" y="60"/>
                  <a:pt x="527" y="56"/>
                  <a:pt x="534" y="56"/>
                </a:cubicBezTo>
                <a:lnTo>
                  <a:pt x="572" y="56"/>
                </a:lnTo>
                <a:close/>
                <a:moveTo>
                  <a:pt x="108" y="68"/>
                </a:moveTo>
                <a:cubicBezTo>
                  <a:pt x="108" y="60"/>
                  <a:pt x="113" y="56"/>
                  <a:pt x="120" y="56"/>
                </a:cubicBezTo>
                <a:cubicBezTo>
                  <a:pt x="157" y="56"/>
                  <a:pt x="157" y="56"/>
                  <a:pt x="157" y="56"/>
                </a:cubicBezTo>
                <a:cubicBezTo>
                  <a:pt x="171" y="56"/>
                  <a:pt x="181" y="60"/>
                  <a:pt x="188" y="67"/>
                </a:cubicBezTo>
                <a:cubicBezTo>
                  <a:pt x="194" y="73"/>
                  <a:pt x="197" y="81"/>
                  <a:pt x="197" y="91"/>
                </a:cubicBezTo>
                <a:cubicBezTo>
                  <a:pt x="197" y="91"/>
                  <a:pt x="197" y="91"/>
                  <a:pt x="197" y="91"/>
                </a:cubicBezTo>
                <a:cubicBezTo>
                  <a:pt x="197" y="108"/>
                  <a:pt x="189" y="118"/>
                  <a:pt x="176" y="124"/>
                </a:cubicBezTo>
                <a:cubicBezTo>
                  <a:pt x="192" y="143"/>
                  <a:pt x="192" y="143"/>
                  <a:pt x="192" y="143"/>
                </a:cubicBezTo>
                <a:cubicBezTo>
                  <a:pt x="194" y="146"/>
                  <a:pt x="196" y="148"/>
                  <a:pt x="196" y="152"/>
                </a:cubicBezTo>
                <a:cubicBezTo>
                  <a:pt x="196" y="158"/>
                  <a:pt x="190" y="163"/>
                  <a:pt x="184" y="163"/>
                </a:cubicBezTo>
                <a:cubicBezTo>
                  <a:pt x="179" y="163"/>
                  <a:pt x="176" y="161"/>
                  <a:pt x="173" y="157"/>
                </a:cubicBezTo>
                <a:cubicBezTo>
                  <a:pt x="150" y="128"/>
                  <a:pt x="150" y="128"/>
                  <a:pt x="150" y="128"/>
                </a:cubicBezTo>
                <a:cubicBezTo>
                  <a:pt x="132" y="128"/>
                  <a:pt x="132" y="128"/>
                  <a:pt x="132" y="128"/>
                </a:cubicBezTo>
                <a:cubicBezTo>
                  <a:pt x="132" y="151"/>
                  <a:pt x="132" y="151"/>
                  <a:pt x="132" y="151"/>
                </a:cubicBezTo>
                <a:cubicBezTo>
                  <a:pt x="132" y="159"/>
                  <a:pt x="127" y="163"/>
                  <a:pt x="120" y="163"/>
                </a:cubicBezTo>
                <a:cubicBezTo>
                  <a:pt x="113" y="163"/>
                  <a:pt x="108" y="159"/>
                  <a:pt x="108" y="151"/>
                </a:cubicBezTo>
                <a:lnTo>
                  <a:pt x="108" y="68"/>
                </a:lnTo>
                <a:close/>
                <a:moveTo>
                  <a:pt x="811" y="162"/>
                </a:moveTo>
                <a:cubicBezTo>
                  <a:pt x="804" y="162"/>
                  <a:pt x="799" y="158"/>
                  <a:pt x="799" y="150"/>
                </a:cubicBezTo>
                <a:cubicBezTo>
                  <a:pt x="799" y="67"/>
                  <a:pt x="799" y="67"/>
                  <a:pt x="799" y="67"/>
                </a:cubicBezTo>
                <a:cubicBezTo>
                  <a:pt x="799" y="59"/>
                  <a:pt x="804" y="55"/>
                  <a:pt x="811" y="55"/>
                </a:cubicBezTo>
                <a:cubicBezTo>
                  <a:pt x="818" y="55"/>
                  <a:pt x="823" y="59"/>
                  <a:pt x="823" y="67"/>
                </a:cubicBezTo>
                <a:cubicBezTo>
                  <a:pt x="823" y="141"/>
                  <a:pt x="823" y="141"/>
                  <a:pt x="823" y="141"/>
                </a:cubicBezTo>
                <a:cubicBezTo>
                  <a:pt x="866" y="141"/>
                  <a:pt x="866" y="141"/>
                  <a:pt x="866" y="141"/>
                </a:cubicBezTo>
                <a:cubicBezTo>
                  <a:pt x="872" y="141"/>
                  <a:pt x="877" y="145"/>
                  <a:pt x="877" y="152"/>
                </a:cubicBezTo>
                <a:cubicBezTo>
                  <a:pt x="877" y="158"/>
                  <a:pt x="872" y="162"/>
                  <a:pt x="866" y="162"/>
                </a:cubicBezTo>
                <a:lnTo>
                  <a:pt x="811" y="162"/>
                </a:lnTo>
                <a:close/>
                <a:moveTo>
                  <a:pt x="919" y="162"/>
                </a:moveTo>
                <a:cubicBezTo>
                  <a:pt x="913" y="162"/>
                  <a:pt x="908" y="158"/>
                  <a:pt x="908" y="150"/>
                </a:cubicBezTo>
                <a:cubicBezTo>
                  <a:pt x="908" y="67"/>
                  <a:pt x="908" y="67"/>
                  <a:pt x="908" y="67"/>
                </a:cubicBezTo>
                <a:cubicBezTo>
                  <a:pt x="908" y="59"/>
                  <a:pt x="913" y="55"/>
                  <a:pt x="919" y="55"/>
                </a:cubicBezTo>
                <a:cubicBezTo>
                  <a:pt x="926" y="55"/>
                  <a:pt x="931" y="59"/>
                  <a:pt x="931" y="67"/>
                </a:cubicBezTo>
                <a:cubicBezTo>
                  <a:pt x="931" y="141"/>
                  <a:pt x="931" y="141"/>
                  <a:pt x="931" y="141"/>
                </a:cubicBezTo>
                <a:cubicBezTo>
                  <a:pt x="975" y="141"/>
                  <a:pt x="975" y="141"/>
                  <a:pt x="975" y="141"/>
                </a:cubicBezTo>
                <a:cubicBezTo>
                  <a:pt x="981" y="141"/>
                  <a:pt x="985" y="145"/>
                  <a:pt x="985" y="152"/>
                </a:cubicBezTo>
                <a:cubicBezTo>
                  <a:pt x="985" y="158"/>
                  <a:pt x="981" y="162"/>
                  <a:pt x="975" y="162"/>
                </a:cubicBezTo>
                <a:lnTo>
                  <a:pt x="919" y="1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AE25691-DC33-4C04-AF2A-3DEFF887BB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>
                <a:solidFill>
                  <a:schemeClr val="bg1"/>
                </a:solidFill>
              </a:defRPr>
            </a:lvl1pPr>
          </a:lstStyle>
          <a:p>
            <a:pPr algn="r"/>
            <a:endParaRPr lang="en-GB"/>
          </a:p>
        </p:txBody>
      </p:sp>
      <p:sp>
        <p:nvSpPr>
          <p:cNvPr id="17" name="Date_DateCustomA">
            <a:extLst>
              <a:ext uri="{FF2B5EF4-FFF2-40B4-BE49-F238E27FC236}">
                <a16:creationId xmlns:a16="http://schemas.microsoft.com/office/drawing/2014/main" id="{F99201D3-72C4-4206-8970-FC1ACB025C0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bg1"/>
                </a:solidFill>
              </a:defRPr>
            </a:lvl1pPr>
          </a:lstStyle>
          <a:p>
            <a:pPr algn="r"/>
            <a:fld id="{E6892AED-DD77-42C7-BB42-12F75B7E66E8}" type="datetime1">
              <a:rPr lang="en-GB" smtClean="0"/>
              <a:t>04/05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926334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2296956-FE6E-43CB-95A8-6BAC3B454E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24B8238B-1F90-FBA3-60D5-983A8EECF7B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5FEEE2D9-2465-178B-8864-EAD6168FEAA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DEBCD082-5DC3-880A-6EB9-B32A672654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5404E7-8059-E44A-94D0-D1F34409B5ED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62E19F31-DF2D-94AF-DF18-470ABFEF81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1102DB7-F156-F2DD-03FF-4D58DE83D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1BE3E-D761-FA45-81F6-74B15057DCF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8762283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6955B4A-87B5-827F-5BA7-EAD4F5040A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6DA387DC-E12E-6C7E-35CF-B65F0C9A00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B054963D-FF0B-0811-E6C5-BB5A01A3526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F46A03DE-74C1-2C34-E580-01A102A4910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144D8DFF-5E9E-9286-E1F1-B976988CAF9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A525C1A-ADD2-D326-AFC9-979DDAC8DA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5404E7-8059-E44A-94D0-D1F34409B5ED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62847197-169C-FD06-A3E5-400F6869F3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1022CC14-00A2-9B3E-363B-CB572EC84D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1BE3E-D761-FA45-81F6-74B15057DCF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41808653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8B6682F-6D67-FDE7-2498-9F224B9F4B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017DD148-30A8-2471-7090-2FDC599907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5404E7-8059-E44A-94D0-D1F34409B5ED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654B73DB-75CB-5FE7-8F3B-0DD543A666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BB37E39E-E049-CEE8-C711-D4368E4350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1BE3E-D761-FA45-81F6-74B15057DCF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21985897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46ACD6EF-42DA-5634-E8DA-6D0A93EF93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5404E7-8059-E44A-94D0-D1F34409B5ED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5E88330C-A7CD-5919-32D8-54998626CE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E3EB1648-DED3-8F5C-572C-91272BF8DE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1BE3E-D761-FA45-81F6-74B15057DCF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77365553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44DE7C5-3AF2-D7A0-53AC-499E5B5B64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CB687BCD-2CF2-2F1C-A844-A99348E0E3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6C98EBE9-2C1B-9758-93A4-FCE6350674B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867EB5F3-C9EF-09C9-E45E-C194F41974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5404E7-8059-E44A-94D0-D1F34409B5ED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514B13B0-0834-E1C9-60A4-F704A50B2F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20B733DA-8480-8DD1-70B3-093A7A1E4A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1BE3E-D761-FA45-81F6-74B15057DCF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38516657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BC6374D-CE89-D294-C1C4-08A414A5E5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0BE4633C-A591-DA1A-96D9-3116A54C9F1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7206E75C-7916-67C7-7087-C01F0E7AE01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3F7268A5-6D33-55AB-3865-210B09C768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5404E7-8059-E44A-94D0-D1F34409B5ED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50D74CC-168F-98AA-D0AB-94E930FC65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CB343741-BD77-B39A-2FEA-10C2A4A387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1BE3E-D761-FA45-81F6-74B15057DCF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30558682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EDA87CE-C38F-0813-D90D-879733D15F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D325A792-971B-074E-AB83-06529ED6F96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4A5E514F-A1E3-C1BA-66F3-6109EEF071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5404E7-8059-E44A-94D0-D1F34409B5ED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7845D851-F404-239F-78BA-9328E4C51C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5922D4D-543C-FF24-21AC-1C32B1DDE1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1BE3E-D761-FA45-81F6-74B15057DCF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02281779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>
            <a:extLst>
              <a:ext uri="{FF2B5EF4-FFF2-40B4-BE49-F238E27FC236}">
                <a16:creationId xmlns:a16="http://schemas.microsoft.com/office/drawing/2014/main" id="{3381DB6A-4609-4625-E339-B4E47EDE9C6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529876F0-029B-619A-AE62-6894DBDEF4C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668E0DD6-5231-F956-C949-9F22662C91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5404E7-8059-E44A-94D0-D1F34409B5ED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546FC127-382D-CF63-DE65-3C7AD8064E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2867A15F-E136-F78A-A6A8-619FC570C0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1BE3E-D761-FA45-81F6-74B15057DCF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37406643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955" y="1447800"/>
            <a:ext cx="8825658" cy="3329581"/>
          </a:xfrm>
        </p:spPr>
        <p:txBody>
          <a:bodyPr anchor="b"/>
          <a:lstStyle>
            <a:lvl1pPr>
              <a:defRPr sz="72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54955" y="4777380"/>
            <a:ext cx="8825658" cy="861420"/>
          </a:xfrm>
        </p:spPr>
        <p:txBody>
          <a:bodyPr anchor="t"/>
          <a:lstStyle>
            <a:lvl1pPr marL="0" indent="0" algn="l">
              <a:buNone/>
              <a:defRPr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E36ADC-5C7A-4910-A894-5E52AF304FB9}" type="datetime1">
              <a:rPr lang="nb-NO" smtClean="0"/>
              <a:t>04.05.2022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5AE922-6A57-4D6C-94A1-9D1C616035F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68560248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23CBCE-F270-4FE0-9815-5E8B345463FE}" type="datetime1">
              <a:rPr lang="nb-NO" smtClean="0"/>
              <a:t>04.05.2022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5AE922-6A57-4D6C-94A1-9D1C616035F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120919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5A695C9-16C0-4B0C-96F2-5803523FCF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9EECEAD5-4F24-400E-A609-A9EDFE4050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C78D70CE-F620-42BB-BA33-4DC5C03B5B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815ABA-5AD9-4CFD-83D4-B9B9C9C5CC9C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7F893BD9-C761-4659-A932-FDA97C872C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BC3A3D7-B2EE-4864-A0D9-4BCBEB55FE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DC2A16-8918-4093-8FB3-00182BD6EED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7365157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">
            <a:extLst>
              <a:ext uri="{FF2B5EF4-FFF2-40B4-BE49-F238E27FC236}">
                <a16:creationId xmlns:a16="http://schemas.microsoft.com/office/drawing/2014/main" id="{1C52AC6E-7F31-46F0-897C-8CA895D525E5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7" tIns="45708" rIns="91417" bIns="45708" rtlCol="0" anchor="ctr"/>
          <a:lstStyle/>
          <a:p>
            <a:pPr algn="ctr"/>
            <a:endParaRPr lang="en-GB" sz="1800" noProof="0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12A0CAF9-565B-4643-8539-61D9B882A5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8" y="453495"/>
            <a:ext cx="10590002" cy="74862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6D6618B-DF84-4E96-B2FD-7B59D5717CE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8618" y="1633160"/>
            <a:ext cx="10590003" cy="4086866"/>
          </a:xfrm>
        </p:spPr>
        <p:txBody>
          <a:bodyPr/>
          <a:lstStyle>
            <a:lvl1pPr marL="361878" indent="-361878">
              <a:buFont typeface="+mj-lt"/>
              <a:buAutoNum type="arabicPeriod"/>
              <a:defRPr sz="1400" b="1" cap="all" baseline="0">
                <a:solidFill>
                  <a:schemeClr val="bg1"/>
                </a:solidFill>
              </a:defRPr>
            </a:lvl1pPr>
            <a:lvl2pPr marL="626938" indent="-265060">
              <a:defRPr sz="1400" b="1" cap="all" baseline="0">
                <a:solidFill>
                  <a:schemeClr val="bg1"/>
                </a:solidFill>
              </a:defRPr>
            </a:lvl2pPr>
            <a:lvl3pPr>
              <a:defRPr b="1" cap="all" baseline="0">
                <a:solidFill>
                  <a:schemeClr val="bg1"/>
                </a:solidFill>
              </a:defRPr>
            </a:lvl3pPr>
            <a:lvl4pPr>
              <a:defRPr b="1" cap="all" baseline="0">
                <a:solidFill>
                  <a:schemeClr val="bg1"/>
                </a:solidFill>
              </a:defRPr>
            </a:lvl4pPr>
            <a:lvl5pPr>
              <a:defRPr b="1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Freeform 5">
            <a:extLst>
              <a:ext uri="{FF2B5EF4-FFF2-40B4-BE49-F238E27FC236}">
                <a16:creationId xmlns:a16="http://schemas.microsoft.com/office/drawing/2014/main" id="{428454B1-AE1A-41EC-AD14-E0008864B56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98617" y="6158174"/>
            <a:ext cx="1219359" cy="257114"/>
          </a:xfrm>
          <a:custGeom>
            <a:avLst/>
            <a:gdLst>
              <a:gd name="T0" fmla="*/ 545 w 1071"/>
              <a:gd name="T1" fmla="*/ 142 h 223"/>
              <a:gd name="T2" fmla="*/ 572 w 1071"/>
              <a:gd name="T3" fmla="*/ 118 h 223"/>
              <a:gd name="T4" fmla="*/ 132 w 1071"/>
              <a:gd name="T5" fmla="*/ 108 h 223"/>
              <a:gd name="T6" fmla="*/ 173 w 1071"/>
              <a:gd name="T7" fmla="*/ 92 h 223"/>
              <a:gd name="T8" fmla="*/ 568 w 1071"/>
              <a:gd name="T9" fmla="*/ 76 h 223"/>
              <a:gd name="T10" fmla="*/ 567 w 1071"/>
              <a:gd name="T11" fmla="*/ 99 h 223"/>
              <a:gd name="T12" fmla="*/ 296 w 1071"/>
              <a:gd name="T13" fmla="*/ 118 h 223"/>
              <a:gd name="T14" fmla="*/ 305 w 1071"/>
              <a:gd name="T15" fmla="*/ 138 h 223"/>
              <a:gd name="T16" fmla="*/ 240 w 1071"/>
              <a:gd name="T17" fmla="*/ 163 h 223"/>
              <a:gd name="T18" fmla="*/ 267 w 1071"/>
              <a:gd name="T19" fmla="*/ 63 h 223"/>
              <a:gd name="T20" fmla="*/ 333 w 1071"/>
              <a:gd name="T21" fmla="*/ 147 h 223"/>
              <a:gd name="T22" fmla="*/ 312 w 1071"/>
              <a:gd name="T23" fmla="*/ 156 h 223"/>
              <a:gd name="T24" fmla="*/ 1071 w 1071"/>
              <a:gd name="T25" fmla="*/ 177 h 223"/>
              <a:gd name="T26" fmla="*/ 799 w 1071"/>
              <a:gd name="T27" fmla="*/ 0 h 223"/>
              <a:gd name="T28" fmla="*/ 707 w 1071"/>
              <a:gd name="T29" fmla="*/ 76 h 223"/>
              <a:gd name="T30" fmla="*/ 670 w 1071"/>
              <a:gd name="T31" fmla="*/ 109 h 223"/>
              <a:gd name="T32" fmla="*/ 735 w 1071"/>
              <a:gd name="T33" fmla="*/ 109 h 223"/>
              <a:gd name="T34" fmla="*/ 759 w 1071"/>
              <a:gd name="T35" fmla="*/ 109 h 223"/>
              <a:gd name="T36" fmla="*/ 646 w 1071"/>
              <a:gd name="T37" fmla="*/ 109 h 223"/>
              <a:gd name="T38" fmla="*/ 712 w 1071"/>
              <a:gd name="T39" fmla="*/ 55 h 223"/>
              <a:gd name="T40" fmla="*/ 0 w 1071"/>
              <a:gd name="T41" fmla="*/ 46 h 223"/>
              <a:gd name="T42" fmla="*/ 1026 w 1071"/>
              <a:gd name="T43" fmla="*/ 223 h 223"/>
              <a:gd name="T44" fmla="*/ 453 w 1071"/>
              <a:gd name="T45" fmla="*/ 151 h 223"/>
              <a:gd name="T46" fmla="*/ 423 w 1071"/>
              <a:gd name="T47" fmla="*/ 136 h 223"/>
              <a:gd name="T48" fmla="*/ 393 w 1071"/>
              <a:gd name="T49" fmla="*/ 151 h 223"/>
              <a:gd name="T50" fmla="*/ 370 w 1071"/>
              <a:gd name="T51" fmla="*/ 66 h 223"/>
              <a:gd name="T52" fmla="*/ 424 w 1071"/>
              <a:gd name="T53" fmla="*/ 107 h 223"/>
              <a:gd name="T54" fmla="*/ 477 w 1071"/>
              <a:gd name="T55" fmla="*/ 66 h 223"/>
              <a:gd name="T56" fmla="*/ 600 w 1071"/>
              <a:gd name="T57" fmla="*/ 65 h 223"/>
              <a:gd name="T58" fmla="*/ 613 w 1071"/>
              <a:gd name="T59" fmla="*/ 133 h 223"/>
              <a:gd name="T60" fmla="*/ 522 w 1071"/>
              <a:gd name="T61" fmla="*/ 150 h 223"/>
              <a:gd name="T62" fmla="*/ 572 w 1071"/>
              <a:gd name="T63" fmla="*/ 56 h 223"/>
              <a:gd name="T64" fmla="*/ 157 w 1071"/>
              <a:gd name="T65" fmla="*/ 56 h 223"/>
              <a:gd name="T66" fmla="*/ 197 w 1071"/>
              <a:gd name="T67" fmla="*/ 91 h 223"/>
              <a:gd name="T68" fmla="*/ 196 w 1071"/>
              <a:gd name="T69" fmla="*/ 152 h 223"/>
              <a:gd name="T70" fmla="*/ 150 w 1071"/>
              <a:gd name="T71" fmla="*/ 128 h 223"/>
              <a:gd name="T72" fmla="*/ 120 w 1071"/>
              <a:gd name="T73" fmla="*/ 163 h 223"/>
              <a:gd name="T74" fmla="*/ 811 w 1071"/>
              <a:gd name="T75" fmla="*/ 162 h 223"/>
              <a:gd name="T76" fmla="*/ 811 w 1071"/>
              <a:gd name="T77" fmla="*/ 55 h 223"/>
              <a:gd name="T78" fmla="*/ 866 w 1071"/>
              <a:gd name="T79" fmla="*/ 141 h 223"/>
              <a:gd name="T80" fmla="*/ 811 w 1071"/>
              <a:gd name="T81" fmla="*/ 162 h 223"/>
              <a:gd name="T82" fmla="*/ 908 w 1071"/>
              <a:gd name="T83" fmla="*/ 67 h 223"/>
              <a:gd name="T84" fmla="*/ 931 w 1071"/>
              <a:gd name="T85" fmla="*/ 141 h 223"/>
              <a:gd name="T86" fmla="*/ 975 w 1071"/>
              <a:gd name="T87" fmla="*/ 162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071" h="223">
                <a:moveTo>
                  <a:pt x="572" y="118"/>
                </a:moveTo>
                <a:cubicBezTo>
                  <a:pt x="545" y="118"/>
                  <a:pt x="545" y="118"/>
                  <a:pt x="545" y="118"/>
                </a:cubicBezTo>
                <a:cubicBezTo>
                  <a:pt x="545" y="142"/>
                  <a:pt x="545" y="142"/>
                  <a:pt x="545" y="142"/>
                </a:cubicBezTo>
                <a:cubicBezTo>
                  <a:pt x="573" y="142"/>
                  <a:pt x="573" y="142"/>
                  <a:pt x="573" y="142"/>
                </a:cubicBezTo>
                <a:cubicBezTo>
                  <a:pt x="583" y="142"/>
                  <a:pt x="590" y="138"/>
                  <a:pt x="590" y="130"/>
                </a:cubicBezTo>
                <a:cubicBezTo>
                  <a:pt x="590" y="123"/>
                  <a:pt x="584" y="118"/>
                  <a:pt x="572" y="118"/>
                </a:cubicBezTo>
                <a:moveTo>
                  <a:pt x="155" y="77"/>
                </a:moveTo>
                <a:cubicBezTo>
                  <a:pt x="132" y="77"/>
                  <a:pt x="132" y="77"/>
                  <a:pt x="132" y="77"/>
                </a:cubicBezTo>
                <a:cubicBezTo>
                  <a:pt x="132" y="108"/>
                  <a:pt x="132" y="108"/>
                  <a:pt x="132" y="108"/>
                </a:cubicBezTo>
                <a:cubicBezTo>
                  <a:pt x="155" y="108"/>
                  <a:pt x="155" y="108"/>
                  <a:pt x="155" y="108"/>
                </a:cubicBezTo>
                <a:cubicBezTo>
                  <a:pt x="167" y="108"/>
                  <a:pt x="173" y="101"/>
                  <a:pt x="173" y="92"/>
                </a:cubicBezTo>
                <a:cubicBezTo>
                  <a:pt x="173" y="92"/>
                  <a:pt x="173" y="92"/>
                  <a:pt x="173" y="92"/>
                </a:cubicBezTo>
                <a:cubicBezTo>
                  <a:pt x="173" y="82"/>
                  <a:pt x="166" y="77"/>
                  <a:pt x="155" y="77"/>
                </a:cubicBezTo>
                <a:moveTo>
                  <a:pt x="584" y="88"/>
                </a:moveTo>
                <a:cubicBezTo>
                  <a:pt x="584" y="80"/>
                  <a:pt x="578" y="76"/>
                  <a:pt x="568" y="76"/>
                </a:cubicBezTo>
                <a:cubicBezTo>
                  <a:pt x="545" y="76"/>
                  <a:pt x="545" y="76"/>
                  <a:pt x="545" y="76"/>
                </a:cubicBezTo>
                <a:cubicBezTo>
                  <a:pt x="545" y="99"/>
                  <a:pt x="545" y="99"/>
                  <a:pt x="545" y="99"/>
                </a:cubicBezTo>
                <a:cubicBezTo>
                  <a:pt x="567" y="99"/>
                  <a:pt x="567" y="99"/>
                  <a:pt x="567" y="99"/>
                </a:cubicBezTo>
                <a:cubicBezTo>
                  <a:pt x="577" y="99"/>
                  <a:pt x="584" y="96"/>
                  <a:pt x="584" y="88"/>
                </a:cubicBezTo>
                <a:moveTo>
                  <a:pt x="266" y="118"/>
                </a:moveTo>
                <a:cubicBezTo>
                  <a:pt x="296" y="118"/>
                  <a:pt x="296" y="118"/>
                  <a:pt x="296" y="118"/>
                </a:cubicBezTo>
                <a:cubicBezTo>
                  <a:pt x="281" y="83"/>
                  <a:pt x="281" y="83"/>
                  <a:pt x="281" y="83"/>
                </a:cubicBezTo>
                <a:lnTo>
                  <a:pt x="266" y="118"/>
                </a:lnTo>
                <a:close/>
                <a:moveTo>
                  <a:pt x="305" y="138"/>
                </a:moveTo>
                <a:cubicBezTo>
                  <a:pt x="258" y="138"/>
                  <a:pt x="258" y="138"/>
                  <a:pt x="258" y="138"/>
                </a:cubicBezTo>
                <a:cubicBezTo>
                  <a:pt x="250" y="156"/>
                  <a:pt x="250" y="156"/>
                  <a:pt x="250" y="156"/>
                </a:cubicBezTo>
                <a:cubicBezTo>
                  <a:pt x="248" y="161"/>
                  <a:pt x="245" y="163"/>
                  <a:pt x="240" y="163"/>
                </a:cubicBezTo>
                <a:cubicBezTo>
                  <a:pt x="234" y="163"/>
                  <a:pt x="229" y="159"/>
                  <a:pt x="229" y="153"/>
                </a:cubicBezTo>
                <a:cubicBezTo>
                  <a:pt x="229" y="151"/>
                  <a:pt x="229" y="149"/>
                  <a:pt x="230" y="147"/>
                </a:cubicBezTo>
                <a:cubicBezTo>
                  <a:pt x="267" y="63"/>
                  <a:pt x="267" y="63"/>
                  <a:pt x="267" y="63"/>
                </a:cubicBezTo>
                <a:cubicBezTo>
                  <a:pt x="270" y="58"/>
                  <a:pt x="274" y="54"/>
                  <a:pt x="282" y="54"/>
                </a:cubicBezTo>
                <a:cubicBezTo>
                  <a:pt x="289" y="54"/>
                  <a:pt x="293" y="58"/>
                  <a:pt x="296" y="63"/>
                </a:cubicBezTo>
                <a:cubicBezTo>
                  <a:pt x="333" y="147"/>
                  <a:pt x="333" y="147"/>
                  <a:pt x="333" y="147"/>
                </a:cubicBezTo>
                <a:cubicBezTo>
                  <a:pt x="334" y="149"/>
                  <a:pt x="334" y="151"/>
                  <a:pt x="334" y="153"/>
                </a:cubicBezTo>
                <a:cubicBezTo>
                  <a:pt x="334" y="159"/>
                  <a:pt x="329" y="163"/>
                  <a:pt x="323" y="163"/>
                </a:cubicBezTo>
                <a:cubicBezTo>
                  <a:pt x="318" y="163"/>
                  <a:pt x="314" y="161"/>
                  <a:pt x="312" y="156"/>
                </a:cubicBezTo>
                <a:lnTo>
                  <a:pt x="305" y="138"/>
                </a:lnTo>
                <a:close/>
                <a:moveTo>
                  <a:pt x="1026" y="223"/>
                </a:moveTo>
                <a:cubicBezTo>
                  <a:pt x="1058" y="223"/>
                  <a:pt x="1071" y="209"/>
                  <a:pt x="1071" y="177"/>
                </a:cubicBezTo>
                <a:cubicBezTo>
                  <a:pt x="1071" y="46"/>
                  <a:pt x="1071" y="46"/>
                  <a:pt x="1071" y="46"/>
                </a:cubicBezTo>
                <a:cubicBezTo>
                  <a:pt x="1071" y="14"/>
                  <a:pt x="1058" y="0"/>
                  <a:pt x="1026" y="0"/>
                </a:cubicBezTo>
                <a:cubicBezTo>
                  <a:pt x="799" y="0"/>
                  <a:pt x="799" y="0"/>
                  <a:pt x="799" y="0"/>
                </a:cubicBezTo>
                <a:cubicBezTo>
                  <a:pt x="701" y="118"/>
                  <a:pt x="701" y="118"/>
                  <a:pt x="701" y="118"/>
                </a:cubicBezTo>
                <a:cubicBezTo>
                  <a:pt x="698" y="116"/>
                  <a:pt x="698" y="116"/>
                  <a:pt x="698" y="116"/>
                </a:cubicBezTo>
                <a:cubicBezTo>
                  <a:pt x="707" y="76"/>
                  <a:pt x="707" y="76"/>
                  <a:pt x="707" y="76"/>
                </a:cubicBezTo>
                <a:cubicBezTo>
                  <a:pt x="705" y="76"/>
                  <a:pt x="704" y="76"/>
                  <a:pt x="702" y="76"/>
                </a:cubicBezTo>
                <a:cubicBezTo>
                  <a:pt x="683" y="76"/>
                  <a:pt x="670" y="91"/>
                  <a:pt x="670" y="109"/>
                </a:cubicBezTo>
                <a:cubicBezTo>
                  <a:pt x="670" y="109"/>
                  <a:pt x="670" y="109"/>
                  <a:pt x="670" y="109"/>
                </a:cubicBezTo>
                <a:cubicBezTo>
                  <a:pt x="670" y="127"/>
                  <a:pt x="684" y="142"/>
                  <a:pt x="703" y="142"/>
                </a:cubicBezTo>
                <a:cubicBezTo>
                  <a:pt x="722" y="142"/>
                  <a:pt x="735" y="128"/>
                  <a:pt x="735" y="109"/>
                </a:cubicBezTo>
                <a:cubicBezTo>
                  <a:pt x="735" y="109"/>
                  <a:pt x="735" y="109"/>
                  <a:pt x="735" y="109"/>
                </a:cubicBezTo>
                <a:cubicBezTo>
                  <a:pt x="735" y="106"/>
                  <a:pt x="734" y="102"/>
                  <a:pt x="733" y="99"/>
                </a:cubicBezTo>
                <a:cubicBezTo>
                  <a:pt x="753" y="84"/>
                  <a:pt x="753" y="84"/>
                  <a:pt x="753" y="84"/>
                </a:cubicBezTo>
                <a:cubicBezTo>
                  <a:pt x="757" y="91"/>
                  <a:pt x="759" y="100"/>
                  <a:pt x="759" y="109"/>
                </a:cubicBezTo>
                <a:cubicBezTo>
                  <a:pt x="759" y="109"/>
                  <a:pt x="759" y="109"/>
                  <a:pt x="759" y="109"/>
                </a:cubicBezTo>
                <a:cubicBezTo>
                  <a:pt x="759" y="139"/>
                  <a:pt x="735" y="164"/>
                  <a:pt x="702" y="164"/>
                </a:cubicBezTo>
                <a:cubicBezTo>
                  <a:pt x="669" y="164"/>
                  <a:pt x="646" y="140"/>
                  <a:pt x="646" y="109"/>
                </a:cubicBezTo>
                <a:cubicBezTo>
                  <a:pt x="646" y="109"/>
                  <a:pt x="646" y="109"/>
                  <a:pt x="646" y="109"/>
                </a:cubicBezTo>
                <a:cubicBezTo>
                  <a:pt x="646" y="79"/>
                  <a:pt x="670" y="54"/>
                  <a:pt x="703" y="54"/>
                </a:cubicBezTo>
                <a:cubicBezTo>
                  <a:pt x="706" y="54"/>
                  <a:pt x="709" y="54"/>
                  <a:pt x="712" y="55"/>
                </a:cubicBezTo>
                <a:cubicBezTo>
                  <a:pt x="724" y="0"/>
                  <a:pt x="724" y="0"/>
                  <a:pt x="724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13" y="0"/>
                  <a:pt x="0" y="14"/>
                  <a:pt x="0" y="46"/>
                </a:cubicBezTo>
                <a:cubicBezTo>
                  <a:pt x="0" y="177"/>
                  <a:pt x="0" y="177"/>
                  <a:pt x="0" y="177"/>
                </a:cubicBezTo>
                <a:cubicBezTo>
                  <a:pt x="0" y="209"/>
                  <a:pt x="13" y="223"/>
                  <a:pt x="45" y="223"/>
                </a:cubicBezTo>
                <a:lnTo>
                  <a:pt x="1026" y="223"/>
                </a:lnTo>
                <a:close/>
                <a:moveTo>
                  <a:pt x="477" y="151"/>
                </a:moveTo>
                <a:cubicBezTo>
                  <a:pt x="477" y="159"/>
                  <a:pt x="472" y="163"/>
                  <a:pt x="465" y="163"/>
                </a:cubicBezTo>
                <a:cubicBezTo>
                  <a:pt x="458" y="163"/>
                  <a:pt x="453" y="159"/>
                  <a:pt x="453" y="151"/>
                </a:cubicBezTo>
                <a:cubicBezTo>
                  <a:pt x="453" y="98"/>
                  <a:pt x="453" y="98"/>
                  <a:pt x="453" y="98"/>
                </a:cubicBezTo>
                <a:cubicBezTo>
                  <a:pt x="433" y="130"/>
                  <a:pt x="433" y="130"/>
                  <a:pt x="433" y="130"/>
                </a:cubicBezTo>
                <a:cubicBezTo>
                  <a:pt x="431" y="134"/>
                  <a:pt x="428" y="136"/>
                  <a:pt x="423" y="136"/>
                </a:cubicBezTo>
                <a:cubicBezTo>
                  <a:pt x="419" y="136"/>
                  <a:pt x="416" y="134"/>
                  <a:pt x="413" y="130"/>
                </a:cubicBezTo>
                <a:cubicBezTo>
                  <a:pt x="393" y="99"/>
                  <a:pt x="393" y="99"/>
                  <a:pt x="393" y="99"/>
                </a:cubicBezTo>
                <a:cubicBezTo>
                  <a:pt x="393" y="151"/>
                  <a:pt x="393" y="151"/>
                  <a:pt x="393" y="151"/>
                </a:cubicBezTo>
                <a:cubicBezTo>
                  <a:pt x="393" y="159"/>
                  <a:pt x="388" y="163"/>
                  <a:pt x="382" y="163"/>
                </a:cubicBezTo>
                <a:cubicBezTo>
                  <a:pt x="375" y="163"/>
                  <a:pt x="370" y="159"/>
                  <a:pt x="370" y="151"/>
                </a:cubicBezTo>
                <a:cubicBezTo>
                  <a:pt x="370" y="66"/>
                  <a:pt x="370" y="66"/>
                  <a:pt x="370" y="66"/>
                </a:cubicBezTo>
                <a:cubicBezTo>
                  <a:pt x="370" y="59"/>
                  <a:pt x="377" y="55"/>
                  <a:pt x="383" y="55"/>
                </a:cubicBezTo>
                <a:cubicBezTo>
                  <a:pt x="389" y="55"/>
                  <a:pt x="393" y="57"/>
                  <a:pt x="396" y="62"/>
                </a:cubicBezTo>
                <a:cubicBezTo>
                  <a:pt x="424" y="107"/>
                  <a:pt x="424" y="107"/>
                  <a:pt x="424" y="107"/>
                </a:cubicBezTo>
                <a:cubicBezTo>
                  <a:pt x="451" y="62"/>
                  <a:pt x="451" y="62"/>
                  <a:pt x="451" y="62"/>
                </a:cubicBezTo>
                <a:cubicBezTo>
                  <a:pt x="454" y="57"/>
                  <a:pt x="458" y="55"/>
                  <a:pt x="464" y="55"/>
                </a:cubicBezTo>
                <a:cubicBezTo>
                  <a:pt x="470" y="55"/>
                  <a:pt x="477" y="59"/>
                  <a:pt x="477" y="66"/>
                </a:cubicBezTo>
                <a:lnTo>
                  <a:pt x="477" y="151"/>
                </a:lnTo>
                <a:close/>
                <a:moveTo>
                  <a:pt x="572" y="56"/>
                </a:moveTo>
                <a:cubicBezTo>
                  <a:pt x="584" y="56"/>
                  <a:pt x="594" y="59"/>
                  <a:pt x="600" y="65"/>
                </a:cubicBezTo>
                <a:cubicBezTo>
                  <a:pt x="605" y="70"/>
                  <a:pt x="607" y="76"/>
                  <a:pt x="607" y="83"/>
                </a:cubicBezTo>
                <a:cubicBezTo>
                  <a:pt x="607" y="96"/>
                  <a:pt x="601" y="102"/>
                  <a:pt x="593" y="107"/>
                </a:cubicBezTo>
                <a:cubicBezTo>
                  <a:pt x="605" y="111"/>
                  <a:pt x="613" y="118"/>
                  <a:pt x="613" y="133"/>
                </a:cubicBezTo>
                <a:cubicBezTo>
                  <a:pt x="613" y="153"/>
                  <a:pt x="597" y="162"/>
                  <a:pt x="573" y="162"/>
                </a:cubicBezTo>
                <a:cubicBezTo>
                  <a:pt x="534" y="162"/>
                  <a:pt x="534" y="162"/>
                  <a:pt x="534" y="162"/>
                </a:cubicBezTo>
                <a:cubicBezTo>
                  <a:pt x="527" y="162"/>
                  <a:pt x="522" y="158"/>
                  <a:pt x="522" y="150"/>
                </a:cubicBezTo>
                <a:cubicBezTo>
                  <a:pt x="522" y="68"/>
                  <a:pt x="522" y="68"/>
                  <a:pt x="522" y="68"/>
                </a:cubicBezTo>
                <a:cubicBezTo>
                  <a:pt x="522" y="60"/>
                  <a:pt x="527" y="56"/>
                  <a:pt x="534" y="56"/>
                </a:cubicBezTo>
                <a:lnTo>
                  <a:pt x="572" y="56"/>
                </a:lnTo>
                <a:close/>
                <a:moveTo>
                  <a:pt x="108" y="68"/>
                </a:moveTo>
                <a:cubicBezTo>
                  <a:pt x="108" y="60"/>
                  <a:pt x="113" y="56"/>
                  <a:pt x="120" y="56"/>
                </a:cubicBezTo>
                <a:cubicBezTo>
                  <a:pt x="157" y="56"/>
                  <a:pt x="157" y="56"/>
                  <a:pt x="157" y="56"/>
                </a:cubicBezTo>
                <a:cubicBezTo>
                  <a:pt x="171" y="56"/>
                  <a:pt x="181" y="60"/>
                  <a:pt x="188" y="67"/>
                </a:cubicBezTo>
                <a:cubicBezTo>
                  <a:pt x="194" y="73"/>
                  <a:pt x="197" y="81"/>
                  <a:pt x="197" y="91"/>
                </a:cubicBezTo>
                <a:cubicBezTo>
                  <a:pt x="197" y="91"/>
                  <a:pt x="197" y="91"/>
                  <a:pt x="197" y="91"/>
                </a:cubicBezTo>
                <a:cubicBezTo>
                  <a:pt x="197" y="108"/>
                  <a:pt x="189" y="118"/>
                  <a:pt x="176" y="124"/>
                </a:cubicBezTo>
                <a:cubicBezTo>
                  <a:pt x="192" y="143"/>
                  <a:pt x="192" y="143"/>
                  <a:pt x="192" y="143"/>
                </a:cubicBezTo>
                <a:cubicBezTo>
                  <a:pt x="194" y="146"/>
                  <a:pt x="196" y="148"/>
                  <a:pt x="196" y="152"/>
                </a:cubicBezTo>
                <a:cubicBezTo>
                  <a:pt x="196" y="158"/>
                  <a:pt x="190" y="163"/>
                  <a:pt x="184" y="163"/>
                </a:cubicBezTo>
                <a:cubicBezTo>
                  <a:pt x="179" y="163"/>
                  <a:pt x="176" y="161"/>
                  <a:pt x="173" y="157"/>
                </a:cubicBezTo>
                <a:cubicBezTo>
                  <a:pt x="150" y="128"/>
                  <a:pt x="150" y="128"/>
                  <a:pt x="150" y="128"/>
                </a:cubicBezTo>
                <a:cubicBezTo>
                  <a:pt x="132" y="128"/>
                  <a:pt x="132" y="128"/>
                  <a:pt x="132" y="128"/>
                </a:cubicBezTo>
                <a:cubicBezTo>
                  <a:pt x="132" y="151"/>
                  <a:pt x="132" y="151"/>
                  <a:pt x="132" y="151"/>
                </a:cubicBezTo>
                <a:cubicBezTo>
                  <a:pt x="132" y="159"/>
                  <a:pt x="127" y="163"/>
                  <a:pt x="120" y="163"/>
                </a:cubicBezTo>
                <a:cubicBezTo>
                  <a:pt x="113" y="163"/>
                  <a:pt x="108" y="159"/>
                  <a:pt x="108" y="151"/>
                </a:cubicBezTo>
                <a:lnTo>
                  <a:pt x="108" y="68"/>
                </a:lnTo>
                <a:close/>
                <a:moveTo>
                  <a:pt x="811" y="162"/>
                </a:moveTo>
                <a:cubicBezTo>
                  <a:pt x="804" y="162"/>
                  <a:pt x="799" y="158"/>
                  <a:pt x="799" y="150"/>
                </a:cubicBezTo>
                <a:cubicBezTo>
                  <a:pt x="799" y="67"/>
                  <a:pt x="799" y="67"/>
                  <a:pt x="799" y="67"/>
                </a:cubicBezTo>
                <a:cubicBezTo>
                  <a:pt x="799" y="59"/>
                  <a:pt x="804" y="55"/>
                  <a:pt x="811" y="55"/>
                </a:cubicBezTo>
                <a:cubicBezTo>
                  <a:pt x="818" y="55"/>
                  <a:pt x="823" y="59"/>
                  <a:pt x="823" y="67"/>
                </a:cubicBezTo>
                <a:cubicBezTo>
                  <a:pt x="823" y="141"/>
                  <a:pt x="823" y="141"/>
                  <a:pt x="823" y="141"/>
                </a:cubicBezTo>
                <a:cubicBezTo>
                  <a:pt x="866" y="141"/>
                  <a:pt x="866" y="141"/>
                  <a:pt x="866" y="141"/>
                </a:cubicBezTo>
                <a:cubicBezTo>
                  <a:pt x="872" y="141"/>
                  <a:pt x="877" y="145"/>
                  <a:pt x="877" y="152"/>
                </a:cubicBezTo>
                <a:cubicBezTo>
                  <a:pt x="877" y="158"/>
                  <a:pt x="872" y="162"/>
                  <a:pt x="866" y="162"/>
                </a:cubicBezTo>
                <a:lnTo>
                  <a:pt x="811" y="162"/>
                </a:lnTo>
                <a:close/>
                <a:moveTo>
                  <a:pt x="919" y="162"/>
                </a:moveTo>
                <a:cubicBezTo>
                  <a:pt x="913" y="162"/>
                  <a:pt x="908" y="158"/>
                  <a:pt x="908" y="150"/>
                </a:cubicBezTo>
                <a:cubicBezTo>
                  <a:pt x="908" y="67"/>
                  <a:pt x="908" y="67"/>
                  <a:pt x="908" y="67"/>
                </a:cubicBezTo>
                <a:cubicBezTo>
                  <a:pt x="908" y="59"/>
                  <a:pt x="913" y="55"/>
                  <a:pt x="919" y="55"/>
                </a:cubicBezTo>
                <a:cubicBezTo>
                  <a:pt x="926" y="55"/>
                  <a:pt x="931" y="59"/>
                  <a:pt x="931" y="67"/>
                </a:cubicBezTo>
                <a:cubicBezTo>
                  <a:pt x="931" y="141"/>
                  <a:pt x="931" y="141"/>
                  <a:pt x="931" y="141"/>
                </a:cubicBezTo>
                <a:cubicBezTo>
                  <a:pt x="975" y="141"/>
                  <a:pt x="975" y="141"/>
                  <a:pt x="975" y="141"/>
                </a:cubicBezTo>
                <a:cubicBezTo>
                  <a:pt x="981" y="141"/>
                  <a:pt x="985" y="145"/>
                  <a:pt x="985" y="152"/>
                </a:cubicBezTo>
                <a:cubicBezTo>
                  <a:pt x="985" y="158"/>
                  <a:pt x="981" y="162"/>
                  <a:pt x="975" y="162"/>
                </a:cubicBezTo>
                <a:lnTo>
                  <a:pt x="919" y="1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3023EA8A-7243-49C8-8C39-DC7F2EDABC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>
                <a:solidFill>
                  <a:schemeClr val="bg1"/>
                </a:solidFill>
              </a:defRPr>
            </a:lvl1pPr>
          </a:lstStyle>
          <a:p>
            <a:pPr algn="r"/>
            <a:endParaRPr lang="en-GB"/>
          </a:p>
        </p:txBody>
      </p:sp>
      <p:sp>
        <p:nvSpPr>
          <p:cNvPr id="17" name="Date_DateCustomA">
            <a:extLst>
              <a:ext uri="{FF2B5EF4-FFF2-40B4-BE49-F238E27FC236}">
                <a16:creationId xmlns:a16="http://schemas.microsoft.com/office/drawing/2014/main" id="{0BFC8F03-4431-41CF-AF1F-ECDA545293A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bg1"/>
                </a:solidFill>
              </a:defRPr>
            </a:lvl1pPr>
          </a:lstStyle>
          <a:p>
            <a:pPr algn="r"/>
            <a:fld id="{CD4A6F46-B6F7-4994-AAE4-379699F66888}" type="datetime1">
              <a:rPr lang="en-GB" smtClean="0"/>
              <a:t>04/05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4984673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2861733"/>
            <a:ext cx="8825657" cy="1915647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5" y="4777381"/>
            <a:ext cx="8825658" cy="860400"/>
          </a:xfrm>
        </p:spPr>
        <p:txBody>
          <a:bodyPr anchor="t"/>
          <a:lstStyle>
            <a:lvl1pPr marL="0" indent="0" algn="l">
              <a:buNone/>
              <a:defRPr sz="2000"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BD7956-D026-49C7-BFE8-30013519A241}" type="datetime1">
              <a:rPr lang="nb-NO" smtClean="0"/>
              <a:t>04.05.2022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5AE922-6A57-4D6C-94A1-9D1C616035F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99377530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03312" y="2060575"/>
            <a:ext cx="4396339" cy="419576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54493" y="2056092"/>
            <a:ext cx="4396341" cy="420024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B3B8F9-37AE-4A0C-B8C1-F5A6E54D9ECA}" type="datetime1">
              <a:rPr lang="nb-NO" smtClean="0"/>
              <a:t>04.05.2022</a:t>
            </a:fld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5AE922-6A57-4D6C-94A1-9D1C616035F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74781091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3" y="1905000"/>
            <a:ext cx="439633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03312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654495" y="1905000"/>
            <a:ext cx="439633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654495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0609CB-A391-432E-943D-FB57FC96FDFE}" type="datetime1">
              <a:rPr lang="nb-NO" smtClean="0"/>
              <a:t>04.05.2022</a:t>
            </a:fld>
            <a:endParaRPr lang="nb-NO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5AE922-6A57-4D6C-94A1-9D1C616035F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11667447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5A9D3A-B53B-4E69-80A3-F982AF3BBC19}" type="datetime1">
              <a:rPr lang="nb-NO" smtClean="0"/>
              <a:t>04.05.2022</a:t>
            </a:fld>
            <a:endParaRPr lang="nb-NO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5AE922-6A57-4D6C-94A1-9D1C616035F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78936238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F9E407-2B48-47B0-AAAD-4077D9D19905}" type="datetime1">
              <a:rPr lang="nb-NO" smtClean="0"/>
              <a:t>04.05.2022</a:t>
            </a:fld>
            <a:endParaRPr lang="nb-NO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5AE922-6A57-4D6C-94A1-9D1C616035F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50280003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3" y="1447800"/>
            <a:ext cx="3401064" cy="1447800"/>
          </a:xfrm>
        </p:spPr>
        <p:txBody>
          <a:bodyPr anchor="b"/>
          <a:lstStyle>
            <a:lvl1pPr algn="l">
              <a:defRPr sz="2400" b="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84616" y="1447800"/>
            <a:ext cx="5195997" cy="4572000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3" y="3129280"/>
            <a:ext cx="3401063" cy="28955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7689E8-F435-43B1-B62F-59E8CF82494C}" type="datetime1">
              <a:rPr lang="nb-NO" smtClean="0"/>
              <a:t>04.05.2022</a:t>
            </a:fld>
            <a:endParaRPr lang="nb-NO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5AE922-6A57-4D6C-94A1-9D1C616035F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7427964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3907" y="1854192"/>
            <a:ext cx="5092906" cy="1574808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949546" y="1143000"/>
            <a:ext cx="3200400" cy="4572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5084979" cy="137160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D2F3CA-EEEB-4A31-9387-F8D96E122627}" type="datetime1">
              <a:rPr lang="nb-NO" smtClean="0"/>
              <a:t>04.05.2022</a:t>
            </a:fld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5AE922-6A57-4D6C-94A1-9D1C616035F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56843370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abilde med bilde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4800587"/>
            <a:ext cx="882565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54955" y="685800"/>
            <a:ext cx="8825658" cy="3640666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6" y="5367325"/>
            <a:ext cx="8825656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90A395-2DDA-443D-8E49-47712B201C53}" type="datetime1">
              <a:rPr lang="nb-NO" smtClean="0"/>
              <a:t>04.05.2022</a:t>
            </a:fld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5AE922-6A57-4D6C-94A1-9D1C616035F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95108000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1447800"/>
            <a:ext cx="8825659" cy="1981200"/>
          </a:xfrm>
        </p:spPr>
        <p:txBody>
          <a:bodyPr/>
          <a:lstStyle>
            <a:lvl1pPr>
              <a:defRPr sz="48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8825659" cy="23622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58A27C-2213-46A8-884D-8BFA5A283DE5}" type="datetime1">
              <a:rPr lang="nb-NO" smtClean="0"/>
              <a:t>04.05.2022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5AE922-6A57-4D6C-94A1-9D1C616035F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34704331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tat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74801" y="1447800"/>
            <a:ext cx="7999315" cy="2323374"/>
          </a:xfrm>
        </p:spPr>
        <p:txBody>
          <a:bodyPr/>
          <a:lstStyle>
            <a:lvl1pPr>
              <a:defRPr sz="48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4"/>
          </p:nvPr>
        </p:nvSpPr>
        <p:spPr>
          <a:xfrm>
            <a:off x="1930400" y="3771174"/>
            <a:ext cx="7279649" cy="342174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>
              <a:buNone/>
              <a:defRPr lang="en-US" sz="1400" b="0" i="0" kern="1200" cap="small" dirty="0">
                <a:solidFill>
                  <a:schemeClr val="bg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0" indent="0">
              <a:buNone/>
            </a:pPr>
            <a:r>
              <a:rPr lang="nb-NO"/>
              <a:t>Klikk for å redigere tekststiler i malen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4350657"/>
            <a:ext cx="8825659" cy="16764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A69600-4DFA-4FB5-82E3-B847760013BD}" type="datetime1">
              <a:rPr lang="nb-NO" smtClean="0"/>
              <a:t>04.05.2022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5AE922-6A57-4D6C-94A1-9D1C616035FD}" type="slidenum">
              <a:rPr lang="nb-NO" smtClean="0"/>
              <a:t>‹#›</a:t>
            </a:fld>
            <a:endParaRPr lang="nb-NO"/>
          </a:p>
        </p:txBody>
      </p:sp>
      <p:sp>
        <p:nvSpPr>
          <p:cNvPr id="12" name="TextBox 11"/>
          <p:cNvSpPr txBox="1"/>
          <p:nvPr/>
        </p:nvSpPr>
        <p:spPr>
          <a:xfrm>
            <a:off x="898295" y="971253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30490" y="2613787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418642484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8DBAD0C-7FB6-4652-87AA-A678753BF1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8" y="453495"/>
            <a:ext cx="10590002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98617" y="1644652"/>
            <a:ext cx="10590003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FF0F6B-AA6E-4B16-90F1-26987BBE96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7" name="Date_DateCustomA">
            <a:extLst>
              <a:ext uri="{FF2B5EF4-FFF2-40B4-BE49-F238E27FC236}">
                <a16:creationId xmlns:a16="http://schemas.microsoft.com/office/drawing/2014/main" id="{FDCD1E09-F97D-49B0-8DE9-0E701EFB5FB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3B98ADA4-E8FA-45D8-A667-5B7FA1A67187}" type="datetime1">
              <a:rPr lang="en-GB" smtClean="0"/>
              <a:t>04/05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8524234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vnek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3124201"/>
            <a:ext cx="8825660" cy="165318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4777381"/>
            <a:ext cx="8825659" cy="860400"/>
          </a:xfrm>
        </p:spPr>
        <p:txBody>
          <a:bodyPr anchor="t"/>
          <a:lstStyle>
            <a:lvl1pPr marL="0" indent="0" algn="l">
              <a:buNone/>
              <a:defRPr sz="2000" cap="none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19F670-24BC-4EE0-AFA3-CBFDF439D238}" type="datetime1">
              <a:rPr lang="nb-NO" smtClean="0"/>
              <a:t>04.05.2022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5AE922-6A57-4D6C-94A1-9D1C616035F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48376461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kolo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2947" y="1981200"/>
            <a:ext cx="2946866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5"/>
          </p:nvPr>
        </p:nvSpPr>
        <p:spPr>
          <a:xfrm>
            <a:off x="652463" y="2667000"/>
            <a:ext cx="2927350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3659" y="1981200"/>
            <a:ext cx="293624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6"/>
          </p:nvPr>
        </p:nvSpPr>
        <p:spPr>
          <a:xfrm>
            <a:off x="3873106" y="2667000"/>
            <a:ext cx="2946794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1981200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17"/>
          </p:nvPr>
        </p:nvSpPr>
        <p:spPr>
          <a:xfrm>
            <a:off x="7124700" y="2667000"/>
            <a:ext cx="2932113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5BA5FB-185D-4A25-B687-A301B4A8C636}" type="datetime1">
              <a:rPr lang="nb-NO" smtClean="0"/>
              <a:t>04.05.2022</a:t>
            </a:fld>
            <a:endParaRPr lang="nb-NO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5AE922-6A57-4D6C-94A1-9D1C616035F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93505598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kolonner for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2463" y="4250949"/>
            <a:ext cx="294005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9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652463" y="2209800"/>
            <a:ext cx="2940050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8"/>
          </p:nvPr>
        </p:nvSpPr>
        <p:spPr>
          <a:xfrm>
            <a:off x="652463" y="4827211"/>
            <a:ext cx="2940050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9375" y="4250949"/>
            <a:ext cx="2930525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0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3889374" y="2209800"/>
            <a:ext cx="2930525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9"/>
          </p:nvPr>
        </p:nvSpPr>
        <p:spPr>
          <a:xfrm>
            <a:off x="3888022" y="4827210"/>
            <a:ext cx="2934406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4250949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1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124699" y="2209800"/>
            <a:ext cx="2932113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7124575" y="4827208"/>
            <a:ext cx="2935997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35223E-CEFE-48BF-9EA1-BC37F79A100C}" type="datetime1">
              <a:rPr lang="nb-NO" smtClean="0"/>
              <a:t>04.05.2022</a:t>
            </a:fld>
            <a:endParaRPr lang="nb-NO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5AE922-6A57-4D6C-94A1-9D1C616035F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79240516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 anchorCtr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3CB5F8-FD80-4508-91F7-00119769EE85}" type="datetime1">
              <a:rPr lang="nb-NO" smtClean="0"/>
              <a:t>04.05.2022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5AE922-6A57-4D6C-94A1-9D1C616035F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7112827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04212" y="430213"/>
            <a:ext cx="1752601" cy="5826125"/>
          </a:xfrm>
        </p:spPr>
        <p:txBody>
          <a:bodyPr vert="eaVert" anchor="b" anchorCtr="0"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52463" y="887414"/>
            <a:ext cx="7423149" cy="5368924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0B4C51-9FC6-4F93-9402-B0A731BDFAF3}" type="datetime1">
              <a:rPr lang="nb-NO" smtClean="0"/>
              <a:t>04.05.2022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5AE922-6A57-4D6C-94A1-9D1C616035F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59703435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 T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7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" y="1"/>
            <a:ext cx="12189884" cy="63055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1"/>
            <a:ext cx="12189885" cy="63055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83635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ormal sid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499797" y="274639"/>
            <a:ext cx="10972800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99797" y="1600201"/>
            <a:ext cx="10972800" cy="4525963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317340217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ormal side tekst s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/>
          <p:cNvSpPr/>
          <p:nvPr userDrawn="1"/>
        </p:nvSpPr>
        <p:spPr>
          <a:xfrm>
            <a:off x="0" y="0"/>
            <a:ext cx="12192000" cy="63093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>
              <a:solidFill>
                <a:prstClr val="white"/>
              </a:solidFill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499797" y="274639"/>
            <a:ext cx="10972800" cy="1143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99797" y="1600201"/>
            <a:ext cx="10972800" cy="45259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860036354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499797" y="274639"/>
            <a:ext cx="10972800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99797" y="1600201"/>
            <a:ext cx="53848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652889767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tekst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499798" y="274639"/>
            <a:ext cx="5404181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99797" y="1600201"/>
            <a:ext cx="53848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 hasCustomPrompt="1"/>
          </p:nvPr>
        </p:nvSpPr>
        <p:spPr>
          <a:xfrm>
            <a:off x="6197600" y="0"/>
            <a:ext cx="5994400" cy="6309320"/>
          </a:xfrm>
          <a:noFill/>
        </p:spPr>
        <p:txBody>
          <a:bodyPr anchor="ctr">
            <a:normAutofit/>
          </a:bodyPr>
          <a:lstStyle>
            <a:lvl1pPr>
              <a:defRPr sz="2000" b="0" u="none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Objekt/bilde </a:t>
            </a:r>
          </a:p>
          <a:p>
            <a:pPr lvl="0"/>
            <a:r>
              <a:rPr lang="nb-NO"/>
              <a:t>Gjerne på hvit bakgrunn, </a:t>
            </a:r>
            <a:br>
              <a:rPr lang="nb-NO"/>
            </a:br>
            <a:r>
              <a:rPr lang="nb-NO"/>
              <a:t>eller som fyller hele rammen </a:t>
            </a:r>
            <a:br>
              <a:rPr lang="nb-NO"/>
            </a:br>
            <a:r>
              <a:rPr lang="nb-NO"/>
              <a:t>uten å gå over det grå </a:t>
            </a:r>
            <a:r>
              <a:rPr lang="nb-NO" err="1"/>
              <a:t>bunnfeltet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7387349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AE865576-C688-4E63-82CB-FB6477AAE622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8" y="1644652"/>
            <a:ext cx="4886961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9478155-5C9E-4D4A-AA75-125DF35A1CB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500071" y="1644651"/>
            <a:ext cx="4888549" cy="406241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B842E0E-6D91-4141-882C-6C91050C6F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8" name="Date_DateCustomA">
            <a:extLst>
              <a:ext uri="{FF2B5EF4-FFF2-40B4-BE49-F238E27FC236}">
                <a16:creationId xmlns:a16="http://schemas.microsoft.com/office/drawing/2014/main" id="{C64885CE-5A72-464C-A675-4AEA666E3E6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851C8650-3279-4A76-90A4-98B51440301C}" type="datetime1">
              <a:rPr lang="en-GB" smtClean="0"/>
              <a:t>04/05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22555939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3795117"/>
            <a:ext cx="10363200" cy="1362075"/>
          </a:xfrm>
        </p:spPr>
        <p:txBody>
          <a:bodyPr anchor="t">
            <a:noAutofit/>
          </a:bodyPr>
          <a:lstStyle>
            <a:lvl1pPr algn="l">
              <a:defRPr sz="2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1988840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452916049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ld Birdsey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" y="1042"/>
            <a:ext cx="12181732" cy="6316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88496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w Birdsey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 bwMode="auto">
          <a:xfrm>
            <a:off x="0" y="1"/>
            <a:ext cx="12192000" cy="6315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82325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mal sort bakgrunn (bilder/figurer på sor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2"/>
          <p:cNvSpPr>
            <a:spLocks noGrp="1"/>
          </p:cNvSpPr>
          <p:nvPr>
            <p:ph type="pic" idx="1"/>
          </p:nvPr>
        </p:nvSpPr>
        <p:spPr>
          <a:xfrm>
            <a:off x="1603243" y="452671"/>
            <a:ext cx="8985515" cy="5504524"/>
          </a:xfr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nb-NO"/>
              <a:t>Klikk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1794290352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lysbilde Brannb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" y="2"/>
            <a:ext cx="12189884" cy="6311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30718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emal hvit bakgrunn (bilder/figurer på hvit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2"/>
          <p:cNvSpPr>
            <a:spLocks noGrp="1"/>
          </p:cNvSpPr>
          <p:nvPr>
            <p:ph type="pic" idx="1"/>
          </p:nvPr>
        </p:nvSpPr>
        <p:spPr>
          <a:xfrm>
            <a:off x="1603243" y="452671"/>
            <a:ext cx="8985515" cy="5504524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nb-NO"/>
              <a:t>Klikk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2571501535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115B5-22B3-3341-8606-329944385CDD}" type="datetimeFigureOut">
              <a:rPr lang="en-US" smtClean="0"/>
              <a:t>5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0F1FF-46A1-4F4C-A154-7A0A3DE72A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8425965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115B5-22B3-3341-8606-329944385CDD}" type="datetimeFigureOut">
              <a:rPr lang="en-US" smtClean="0"/>
              <a:t>5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0F1FF-46A1-4F4C-A154-7A0A3DE72A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3659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115B5-22B3-3341-8606-329944385CDD}" type="datetimeFigureOut">
              <a:rPr lang="en-US" smtClean="0"/>
              <a:t>5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0F1FF-46A1-4F4C-A154-7A0A3DE72A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4601567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115B5-22B3-3341-8606-329944385CDD}" type="datetimeFigureOut">
              <a:rPr lang="en-US" smtClean="0"/>
              <a:t>5/4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0F1FF-46A1-4F4C-A154-7A0A3DE72A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244457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AE865576-C688-4E63-82CB-FB6477AAE622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8" y="1644652"/>
            <a:ext cx="4072467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3" name="Content Placeholder 4">
            <a:extLst>
              <a:ext uri="{FF2B5EF4-FFF2-40B4-BE49-F238E27FC236}">
                <a16:creationId xmlns:a16="http://schemas.microsoft.com/office/drawing/2014/main" id="{535335C1-5736-449E-B5A3-80EF8EFB92D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85578" y="1644651"/>
            <a:ext cx="5703042" cy="406241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4485281A-363B-4F1C-8128-EA4AF52562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8" name="Date_DateCustomA">
            <a:extLst>
              <a:ext uri="{FF2B5EF4-FFF2-40B4-BE49-F238E27FC236}">
                <a16:creationId xmlns:a16="http://schemas.microsoft.com/office/drawing/2014/main" id="{B0E6362C-AD60-4A3E-B1BD-8ACCD0B3D7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B13202A9-DE11-408D-9B8A-7630BF567349}" type="datetime1">
              <a:rPr lang="en-GB" smtClean="0"/>
              <a:t>04/05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0761972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115B5-22B3-3341-8606-329944385CDD}" type="datetimeFigureOut">
              <a:rPr lang="en-US" smtClean="0"/>
              <a:t>5/4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0F1FF-46A1-4F4C-A154-7A0A3DE72A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6668115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115B5-22B3-3341-8606-329944385CDD}" type="datetimeFigureOut">
              <a:rPr lang="en-US" smtClean="0"/>
              <a:t>5/4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0F1FF-46A1-4F4C-A154-7A0A3DE72A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5790340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115B5-22B3-3341-8606-329944385CDD}" type="datetimeFigureOut">
              <a:rPr lang="en-US" smtClean="0"/>
              <a:t>5/4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0F1FF-46A1-4F4C-A154-7A0A3DE72A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0280755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115B5-22B3-3341-8606-329944385CDD}" type="datetimeFigureOut">
              <a:rPr lang="en-US" smtClean="0"/>
              <a:t>5/4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0F1FF-46A1-4F4C-A154-7A0A3DE72A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102531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ikonet for å legge til et bild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115B5-22B3-3341-8606-329944385CDD}" type="datetimeFigureOut">
              <a:rPr lang="en-US" smtClean="0"/>
              <a:t>5/4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0F1FF-46A1-4F4C-A154-7A0A3DE72A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4996521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115B5-22B3-3341-8606-329944385CDD}" type="datetimeFigureOut">
              <a:rPr lang="en-US" smtClean="0"/>
              <a:t>5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0F1FF-46A1-4F4C-A154-7A0A3DE72A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7221835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115B5-22B3-3341-8606-329944385CDD}" type="datetimeFigureOut">
              <a:rPr lang="en-US" smtClean="0"/>
              <a:t>5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0F1FF-46A1-4F4C-A154-7A0A3DE72A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503961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AE865576-C688-4E63-82CB-FB6477AAE622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7" y="1644652"/>
            <a:ext cx="5701454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414EC495-A6B9-4C60-A011-7047269C9CE9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7314565" y="1644651"/>
            <a:ext cx="4074055" cy="406241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60EC9E1-A6E7-4EDC-A604-820C98771D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9" name="Date_DateCustomA">
            <a:extLst>
              <a:ext uri="{FF2B5EF4-FFF2-40B4-BE49-F238E27FC236}">
                <a16:creationId xmlns:a16="http://schemas.microsoft.com/office/drawing/2014/main" id="{73643761-53E5-4729-8F9C-AC57323CEE0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8620D795-7D6C-4DDD-9364-2C8C35AA87F6}" type="datetime1">
              <a:rPr lang="en-GB" smtClean="0"/>
              <a:t>04/05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006566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con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8959428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98617" y="1644652"/>
            <a:ext cx="10590003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6FB39600-48A6-438C-ACEE-E7C3FBF9C3A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572539" y="452439"/>
            <a:ext cx="801068" cy="800779"/>
          </a:xfrm>
          <a:noFill/>
          <a:ln>
            <a:noFill/>
          </a:ln>
        </p:spPr>
        <p:txBody>
          <a:bodyPr lIns="38399" tIns="0"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con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4DE7E55-1B3D-4B43-B1B5-DE5E4FAB98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8" name="Date_DateCustomA">
            <a:extLst>
              <a:ext uri="{FF2B5EF4-FFF2-40B4-BE49-F238E27FC236}">
                <a16:creationId xmlns:a16="http://schemas.microsoft.com/office/drawing/2014/main" id="{F5D459F2-4C14-4DC3-8A9D-B1E9DF21E4C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9B90C0BA-1BD5-469D-8018-C447C1EB2A93}" type="datetime1">
              <a:rPr lang="en-GB" smtClean="0"/>
              <a:t>04/05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789204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con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487125B-AD53-4CA5-922E-72C96A67D7AA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7" y="1644652"/>
            <a:ext cx="8959428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9CFFD8C0-0E93-4388-A9E5-6DB36C4D48D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572538" y="1644652"/>
            <a:ext cx="818272" cy="817976"/>
          </a:xfrm>
          <a:noFill/>
          <a:ln>
            <a:noFill/>
          </a:ln>
        </p:spPr>
        <p:txBody>
          <a:bodyPr lIns="38399" tIns="0"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con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E31502FD-B05E-464F-8932-42D027579D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9" name="Date_DateCustomA">
            <a:extLst>
              <a:ext uri="{FF2B5EF4-FFF2-40B4-BE49-F238E27FC236}">
                <a16:creationId xmlns:a16="http://schemas.microsoft.com/office/drawing/2014/main" id="{AA65EC4C-43E8-483C-B54B-30D5535BB4C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02DADF78-B3EF-4042-B2F9-5AAFBCE5A22E}" type="datetime1">
              <a:rPr lang="en-GB" smtClean="0"/>
              <a:t>04/05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933282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llustration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487125B-AD53-4CA5-922E-72C96A67D7AA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7" y="1644652"/>
            <a:ext cx="6515948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9CFFD8C0-0E93-4388-A9E5-6DB36C4D48D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129058" y="1644653"/>
            <a:ext cx="3259562" cy="3239941"/>
          </a:xfrm>
          <a:noFill/>
          <a:ln>
            <a:noFill/>
          </a:ln>
        </p:spPr>
        <p:txBody>
          <a:bodyPr lIns="38399" tIns="0"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>
                <a:effectLst/>
              </a:rPr>
              <a:t>illustration</a:t>
            </a:r>
            <a:endParaRPr lang="en-GB" noProof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FB97A6BE-821A-4BF5-AFE7-9A048351C6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9" name="Date_DateCustomA">
            <a:extLst>
              <a:ext uri="{FF2B5EF4-FFF2-40B4-BE49-F238E27FC236}">
                <a16:creationId xmlns:a16="http://schemas.microsoft.com/office/drawing/2014/main" id="{11815BEB-2C63-4CBF-9795-6F15022666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8BA51A42-5836-428D-B66B-B65A92E2CCAA}" type="datetime1">
              <a:rPr lang="en-GB" smtClean="0"/>
              <a:t>04/05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302531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 illustration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AE865576-C688-4E63-82CB-FB6477AAE622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7" y="1644652"/>
            <a:ext cx="5701454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86587FC-F18B-4FBE-8CD2-663B9BA8C73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14566" y="1644268"/>
            <a:ext cx="4074055" cy="406279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>
                <a:effectLst/>
              </a:rPr>
              <a:t>illustration</a:t>
            </a:r>
            <a:endParaRPr lang="en-GB" noProof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9B89233D-8149-4491-95B2-DE11051C86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8" name="Date_DateCustomA">
            <a:extLst>
              <a:ext uri="{FF2B5EF4-FFF2-40B4-BE49-F238E27FC236}">
                <a16:creationId xmlns:a16="http://schemas.microsoft.com/office/drawing/2014/main" id="{D2C9554E-F561-4DDA-B278-92702108D9B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136937CD-C8B6-42FA-9EC6-EF300AFFE646}" type="datetime1">
              <a:rPr lang="en-GB" smtClean="0"/>
              <a:t>04/05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703043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fac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B9C9E16-4544-49A4-A136-929E64BE7AA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8" y="1644652"/>
            <a:ext cx="7330441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9007D2D-A158-459C-BE2E-0A1D348DA7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43552" y="1644390"/>
            <a:ext cx="2445069" cy="4062675"/>
          </a:xfrm>
        </p:spPr>
        <p:txBody>
          <a:bodyPr lIns="0"/>
          <a:lstStyle>
            <a:lvl1pPr marL="0" indent="0">
              <a:lnSpc>
                <a:spcPct val="80000"/>
              </a:lnSpc>
              <a:spcAft>
                <a:spcPts val="1200"/>
              </a:spcAft>
              <a:buFont typeface="Arial" panose="020B0604020202020204" pitchFamily="34" charset="0"/>
              <a:buChar char="​"/>
              <a:defRPr sz="4799" b="1" cap="all" spc="-150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600" baseline="0">
                <a:solidFill>
                  <a:schemeClr val="tx2"/>
                </a:solidFill>
              </a:defRPr>
            </a:lvl2pPr>
            <a:lvl3pPr marL="251950" indent="-251950">
              <a:lnSpc>
                <a:spcPct val="100000"/>
              </a:lnSpc>
              <a:buFont typeface="Verdana" panose="020B0604030504040204" pitchFamily="34" charset="0"/>
              <a:buChar char="•"/>
              <a:defRPr sz="1600" i="0" baseline="0">
                <a:solidFill>
                  <a:schemeClr val="tx2"/>
                </a:solidFill>
              </a:defRPr>
            </a:lvl3pPr>
            <a:lvl4pPr marL="271409" indent="-271409">
              <a:lnSpc>
                <a:spcPct val="100000"/>
              </a:lnSpc>
              <a:buFont typeface="+mj-lt"/>
              <a:buAutoNum type="arabicPeriod"/>
              <a:defRPr sz="1600">
                <a:solidFill>
                  <a:schemeClr val="tx2"/>
                </a:solidFill>
              </a:defRPr>
            </a:lvl4pPr>
            <a:lvl5pPr marL="271409" indent="-271409">
              <a:lnSpc>
                <a:spcPct val="100000"/>
              </a:lnSpc>
              <a:buFont typeface="+mj-lt"/>
              <a:buAutoNum type="alphaUcPeriod"/>
              <a:defRPr sz="1600" b="0" cap="none" spc="-50" baseline="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>
                <a:solidFill>
                  <a:schemeClr val="tx2"/>
                </a:solidFill>
              </a:defRPr>
            </a:lvl7pPr>
            <a:lvl8pPr marL="271409" indent="-271409">
              <a:buClr>
                <a:schemeClr val="tx2"/>
              </a:buClr>
              <a:buFont typeface="+mj-lt"/>
              <a:buAutoNum type="arabicParenR"/>
              <a:defRPr sz="1000">
                <a:solidFill>
                  <a:schemeClr val="tx2"/>
                </a:solidFill>
              </a:defRPr>
            </a:lvl8pPr>
            <a:lvl9pPr marL="271409" indent="-271409">
              <a:buClr>
                <a:schemeClr val="tx2"/>
              </a:buClr>
              <a:buFont typeface="+mj-lt"/>
              <a:buAutoNum type="alphaLcParenR"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/>
              <a:t>12,3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99C5C721-7970-4C21-B42B-33753616C1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943552" y="4991259"/>
            <a:ext cx="2445068" cy="715807"/>
          </a:xfrm>
        </p:spPr>
        <p:txBody>
          <a:bodyPr lIns="0" anchor="b" anchorCtr="0"/>
          <a:lstStyle>
            <a:lvl1pPr marL="228554" indent="-228554">
              <a:lnSpc>
                <a:spcPct val="80000"/>
              </a:lnSpc>
              <a:spcAft>
                <a:spcPts val="1200"/>
              </a:spcAft>
              <a:buFont typeface="+mj-lt"/>
              <a:buAutoNum type="arabicParenR"/>
              <a:defRPr sz="1000" b="0" i="1" cap="none" spc="0" baseline="0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Not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BDD567F-EFA3-4304-9F2D-5128B34EFFF1}"/>
              </a:ext>
            </a:extLst>
          </p:cNvPr>
          <p:cNvGrpSpPr/>
          <p:nvPr userDrawn="1"/>
        </p:nvGrpSpPr>
        <p:grpSpPr>
          <a:xfrm>
            <a:off x="-1980751" y="3537801"/>
            <a:ext cx="1797025" cy="2906915"/>
            <a:chOff x="12403271" y="-1"/>
            <a:chExt cx="1796791" cy="2907588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FA367DCD-123C-45F4-87EB-1586FA603E3A}"/>
                </a:ext>
              </a:extLst>
            </p:cNvPr>
            <p:cNvGrpSpPr/>
            <p:nvPr userDrawn="1"/>
          </p:nvGrpSpPr>
          <p:grpSpPr>
            <a:xfrm>
              <a:off x="12403271" y="-1"/>
              <a:ext cx="1796791" cy="2907588"/>
              <a:chOff x="9009867" y="1645032"/>
              <a:chExt cx="2365739" cy="3828268"/>
            </a:xfrm>
          </p:grpSpPr>
          <p:sp>
            <p:nvSpPr>
              <p:cNvPr id="17" name="Rectangle: Rounded Corners 16">
                <a:extLst>
                  <a:ext uri="{FF2B5EF4-FFF2-40B4-BE49-F238E27FC236}">
                    <a16:creationId xmlns:a16="http://schemas.microsoft.com/office/drawing/2014/main" id="{93B8FE7B-9EF6-429C-AC7B-79E85DFB481D}"/>
                  </a:ext>
                </a:extLst>
              </p:cNvPr>
              <p:cNvSpPr/>
              <p:nvPr/>
            </p:nvSpPr>
            <p:spPr>
              <a:xfrm>
                <a:off x="9009867" y="1645032"/>
                <a:ext cx="2365739" cy="3828268"/>
              </a:xfrm>
              <a:prstGeom prst="roundRect">
                <a:avLst>
                  <a:gd name="adj" fmla="val 2970"/>
                </a:avLst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>
                  <a:solidFill>
                    <a:schemeClr val="accent3"/>
                  </a:solidFill>
                </a:endParaRPr>
              </a:p>
            </p:txBody>
          </p:sp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132FA97E-008F-4B07-B688-A7B22404D82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9182748" y="1852126"/>
                <a:ext cx="599367" cy="280555"/>
              </a:xfrm>
              <a:prstGeom prst="rect">
                <a:avLst/>
              </a:prstGeom>
            </p:spPr>
          </p:pic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8F49FA4C-A0C7-484D-9CD0-A2B1528B3A2E}"/>
                  </a:ext>
                </a:extLst>
              </p:cNvPr>
              <p:cNvSpPr txBox="1"/>
              <p:nvPr/>
            </p:nvSpPr>
            <p:spPr bwMode="auto">
              <a:xfrm>
                <a:off x="9199275" y="2239970"/>
                <a:ext cx="1887588" cy="8509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12697" marR="0" indent="-25395" algn="l" defTabSz="457109" rtl="0" eaLnBrk="0" fontAlgn="base" latinLnBrk="0" hangingPunct="0">
                  <a:spcBef>
                    <a:spcPct val="0"/>
                  </a:spcBef>
                  <a:spcAft>
                    <a:spcPts val="600"/>
                  </a:spcAft>
                  <a:buClrTx/>
                  <a:buSzTx/>
                  <a:tabLst/>
                </a:pPr>
                <a:r>
                  <a:rPr kumimoji="0" lang="en-GB" sz="7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LIST LEVELS (BULLET LEVELS) </a:t>
                </a:r>
                <a:br>
                  <a:rPr kumimoji="0" lang="en-GB" sz="7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br>
                  <a:rPr kumimoji="0" lang="en-GB" sz="7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r>
                  <a:rPr kumimoji="0" lang="en-GB" sz="7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USE ABOVE TOOL IN THE TAB HOME TO CHANGE TEXT STYLES (ALSO USE TAB FUNCTION)</a:t>
                </a:r>
              </a:p>
            </p:txBody>
          </p:sp>
        </p:grp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760E582F-46F7-4DF2-ABCB-E07E85419FF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414617" y="1122667"/>
              <a:ext cx="1261627" cy="1565633"/>
            </a:xfrm>
            <a:prstGeom prst="rect">
              <a:avLst/>
            </a:prstGeom>
          </p:spPr>
        </p:pic>
      </p:grp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67D61A51-31AF-4082-AFF9-2D4AE9DB7C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19" name="Date_DateCustomA">
            <a:extLst>
              <a:ext uri="{FF2B5EF4-FFF2-40B4-BE49-F238E27FC236}">
                <a16:creationId xmlns:a16="http://schemas.microsoft.com/office/drawing/2014/main" id="{8BB7FA2D-0C66-4D42-8CC8-567BD958137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6E10093C-62DA-496A-9DBF-6F8D26F3BF2E}" type="datetime1">
              <a:rPr lang="en-GB" smtClean="0"/>
              <a:t>04/05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428458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EDE2E1B-CCB6-4628-9427-9741CBB646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3E882F57-3570-4F57-8B4B-CF730AF1396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C134D392-34DF-4272-BB36-9355E6AD85A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D4989170-BF2A-4979-B85B-40AC1865DF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815ABA-5AD9-4CFD-83D4-B9B9C9C5CC9C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A95523FE-1C6C-462F-81DB-C9184E1D05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9AF8DDF4-A3C1-41B9-A213-10BE095995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DC2A16-8918-4093-8FB3-00182BD6EED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9834027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wo fact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B9C9E16-4544-49A4-A136-929E64BE7AA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8" y="1644652"/>
            <a:ext cx="4072466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59CAE46-C6D8-48BD-A372-1CDE93E9CC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85579" y="1644390"/>
            <a:ext cx="2443479" cy="4062675"/>
          </a:xfrm>
        </p:spPr>
        <p:txBody>
          <a:bodyPr lIns="0"/>
          <a:lstStyle>
            <a:lvl1pPr marL="0" indent="0">
              <a:lnSpc>
                <a:spcPct val="80000"/>
              </a:lnSpc>
              <a:spcAft>
                <a:spcPts val="1200"/>
              </a:spcAft>
              <a:buFont typeface="Arial" panose="020B0604020202020204" pitchFamily="34" charset="0"/>
              <a:buChar char="​"/>
              <a:defRPr sz="4799" b="1" cap="all" spc="-150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600" baseline="0">
                <a:solidFill>
                  <a:schemeClr val="tx2"/>
                </a:solidFill>
              </a:defRPr>
            </a:lvl2pPr>
            <a:lvl3pPr marL="251950" indent="-251950">
              <a:lnSpc>
                <a:spcPct val="100000"/>
              </a:lnSpc>
              <a:buFont typeface="Verdana" panose="020B0604030504040204" pitchFamily="34" charset="0"/>
              <a:buChar char="•"/>
              <a:defRPr sz="1600" i="0" baseline="0">
                <a:solidFill>
                  <a:schemeClr val="tx2"/>
                </a:solidFill>
              </a:defRPr>
            </a:lvl3pPr>
            <a:lvl4pPr marL="271409" indent="-271409">
              <a:lnSpc>
                <a:spcPct val="100000"/>
              </a:lnSpc>
              <a:buFont typeface="+mj-lt"/>
              <a:buAutoNum type="arabicPeriod"/>
              <a:defRPr sz="1600">
                <a:solidFill>
                  <a:schemeClr val="tx2"/>
                </a:solidFill>
              </a:defRPr>
            </a:lvl4pPr>
            <a:lvl5pPr marL="271409" indent="-271409">
              <a:lnSpc>
                <a:spcPct val="100000"/>
              </a:lnSpc>
              <a:buFont typeface="+mj-lt"/>
              <a:buAutoNum type="alphaUcPeriod"/>
              <a:defRPr sz="1600" b="0" cap="none" spc="-50" baseline="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>
                <a:solidFill>
                  <a:schemeClr val="tx2"/>
                </a:solidFill>
              </a:defRPr>
            </a:lvl7pPr>
            <a:lvl8pPr marL="271409" indent="-271409">
              <a:buClr>
                <a:schemeClr val="tx2"/>
              </a:buClr>
              <a:buFont typeface="+mj-lt"/>
              <a:buAutoNum type="arabicParenR"/>
              <a:defRPr sz="1000">
                <a:solidFill>
                  <a:schemeClr val="tx2"/>
                </a:solidFill>
              </a:defRPr>
            </a:lvl8pPr>
            <a:lvl9pPr marL="271409" indent="-271409">
              <a:buClr>
                <a:schemeClr val="tx2"/>
              </a:buClr>
              <a:buFont typeface="+mj-lt"/>
              <a:buAutoNum type="alphaLcParenR"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/>
              <a:t>12,9%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67908BB7-3AA9-46B8-9F51-F98F86B5DB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943552" y="1644390"/>
            <a:ext cx="2445068" cy="4062675"/>
          </a:xfrm>
        </p:spPr>
        <p:txBody>
          <a:bodyPr lIns="0"/>
          <a:lstStyle>
            <a:lvl1pPr marL="0" indent="0">
              <a:lnSpc>
                <a:spcPct val="80000"/>
              </a:lnSpc>
              <a:spcAft>
                <a:spcPts val="1200"/>
              </a:spcAft>
              <a:buFont typeface="Arial" panose="020B0604020202020204" pitchFamily="34" charset="0"/>
              <a:buChar char="​"/>
              <a:defRPr sz="4799" b="1" cap="all" spc="-150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600" baseline="0">
                <a:solidFill>
                  <a:schemeClr val="tx2"/>
                </a:solidFill>
              </a:defRPr>
            </a:lvl2pPr>
            <a:lvl3pPr marL="251950" indent="-251950">
              <a:lnSpc>
                <a:spcPct val="100000"/>
              </a:lnSpc>
              <a:buFont typeface="Verdana" panose="020B0604030504040204" pitchFamily="34" charset="0"/>
              <a:buChar char="•"/>
              <a:defRPr sz="1600" i="0" baseline="0">
                <a:solidFill>
                  <a:schemeClr val="tx2"/>
                </a:solidFill>
              </a:defRPr>
            </a:lvl3pPr>
            <a:lvl4pPr marL="271409" indent="-271409">
              <a:lnSpc>
                <a:spcPct val="100000"/>
              </a:lnSpc>
              <a:buFont typeface="+mj-lt"/>
              <a:buAutoNum type="arabicPeriod"/>
              <a:defRPr sz="1600">
                <a:solidFill>
                  <a:schemeClr val="tx2"/>
                </a:solidFill>
              </a:defRPr>
            </a:lvl4pPr>
            <a:lvl5pPr marL="271409" indent="-271409">
              <a:lnSpc>
                <a:spcPct val="100000"/>
              </a:lnSpc>
              <a:buFont typeface="+mj-lt"/>
              <a:buAutoNum type="alphaUcPeriod"/>
              <a:defRPr sz="1600" b="0" cap="none" spc="-50" baseline="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>
                <a:solidFill>
                  <a:schemeClr val="tx2"/>
                </a:solidFill>
              </a:defRPr>
            </a:lvl7pPr>
            <a:lvl8pPr marL="271409" indent="-271409">
              <a:buClr>
                <a:schemeClr val="tx2"/>
              </a:buClr>
              <a:buFont typeface="+mj-lt"/>
              <a:buAutoNum type="arabicParenR"/>
              <a:defRPr sz="1000">
                <a:solidFill>
                  <a:schemeClr val="tx2"/>
                </a:solidFill>
              </a:defRPr>
            </a:lvl8pPr>
            <a:lvl9pPr marL="271409" indent="-271409">
              <a:buClr>
                <a:schemeClr val="tx2"/>
              </a:buClr>
              <a:buFont typeface="+mj-lt"/>
              <a:buAutoNum type="alphaLcParenR"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/>
              <a:t>12,9%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CE9B38D5-AD3D-4AE8-88F2-0F9D25BB30C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15" name="Date_DateCustomA">
            <a:extLst>
              <a:ext uri="{FF2B5EF4-FFF2-40B4-BE49-F238E27FC236}">
                <a16:creationId xmlns:a16="http://schemas.microsoft.com/office/drawing/2014/main" id="{1AC23FC6-140A-4E04-B1F9-995F52FC873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A79F0066-3164-42E7-92E6-6ECB81B57310}" type="datetime1">
              <a:rPr lang="en-GB" smtClean="0"/>
              <a:t>04/05/2022</a:t>
            </a:fld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82F1A21-DB0B-44A1-8EBE-E26897290FD2}"/>
              </a:ext>
            </a:extLst>
          </p:cNvPr>
          <p:cNvGrpSpPr/>
          <p:nvPr userDrawn="1"/>
        </p:nvGrpSpPr>
        <p:grpSpPr>
          <a:xfrm>
            <a:off x="-1980751" y="3537801"/>
            <a:ext cx="1797025" cy="2906915"/>
            <a:chOff x="12403271" y="-1"/>
            <a:chExt cx="1796791" cy="2907588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CA6B9EE2-783B-41AA-AC77-4DB0F5ED032D}"/>
                </a:ext>
              </a:extLst>
            </p:cNvPr>
            <p:cNvGrpSpPr/>
            <p:nvPr userDrawn="1"/>
          </p:nvGrpSpPr>
          <p:grpSpPr>
            <a:xfrm>
              <a:off x="12403271" y="-1"/>
              <a:ext cx="1796791" cy="2907588"/>
              <a:chOff x="9009867" y="1645032"/>
              <a:chExt cx="2365739" cy="3828268"/>
            </a:xfrm>
          </p:grpSpPr>
          <p:sp>
            <p:nvSpPr>
              <p:cNvPr id="19" name="Rectangle: Rounded Corners 18">
                <a:extLst>
                  <a:ext uri="{FF2B5EF4-FFF2-40B4-BE49-F238E27FC236}">
                    <a16:creationId xmlns:a16="http://schemas.microsoft.com/office/drawing/2014/main" id="{01B83249-39D6-4252-BB3B-A6D96E90F9B0}"/>
                  </a:ext>
                </a:extLst>
              </p:cNvPr>
              <p:cNvSpPr/>
              <p:nvPr/>
            </p:nvSpPr>
            <p:spPr>
              <a:xfrm>
                <a:off x="9009867" y="1645032"/>
                <a:ext cx="2365739" cy="3828268"/>
              </a:xfrm>
              <a:prstGeom prst="roundRect">
                <a:avLst>
                  <a:gd name="adj" fmla="val 2970"/>
                </a:avLst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>
                  <a:solidFill>
                    <a:schemeClr val="accent3"/>
                  </a:solidFill>
                </a:endParaRPr>
              </a:p>
            </p:txBody>
          </p:sp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C1B093AE-E011-42FE-AB95-66C9BFBDFA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9182748" y="1852126"/>
                <a:ext cx="599367" cy="280555"/>
              </a:xfrm>
              <a:prstGeom prst="rect">
                <a:avLst/>
              </a:prstGeom>
            </p:spPr>
          </p:pic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C5F1A727-495B-4982-B3C7-671F9B44F5C2}"/>
                  </a:ext>
                </a:extLst>
              </p:cNvPr>
              <p:cNvSpPr txBox="1"/>
              <p:nvPr/>
            </p:nvSpPr>
            <p:spPr bwMode="auto">
              <a:xfrm>
                <a:off x="9199275" y="2239970"/>
                <a:ext cx="1887588" cy="8509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12697" marR="0" indent="-25395" algn="l" defTabSz="457109" rtl="0" eaLnBrk="0" fontAlgn="base" latinLnBrk="0" hangingPunct="0">
                  <a:spcBef>
                    <a:spcPct val="0"/>
                  </a:spcBef>
                  <a:spcAft>
                    <a:spcPts val="600"/>
                  </a:spcAft>
                  <a:buClrTx/>
                  <a:buSzTx/>
                  <a:tabLst/>
                </a:pPr>
                <a:r>
                  <a:rPr kumimoji="0" lang="en-GB" sz="7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LIST LEVELS (BULLET LEVELS) </a:t>
                </a:r>
                <a:br>
                  <a:rPr kumimoji="0" lang="en-GB" sz="7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br>
                  <a:rPr kumimoji="0" lang="en-GB" sz="7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r>
                  <a:rPr kumimoji="0" lang="en-GB" sz="7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USE ABOVE TOOL IN THE TAB HOME TO CHANGE TEXT STYLES (ALSO USE TAB FUNCTION)</a:t>
                </a:r>
              </a:p>
            </p:txBody>
          </p:sp>
        </p:grp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6BE0B471-FCB7-47D8-9FB4-678E9DA02E8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414617" y="1122667"/>
              <a:ext cx="1261627" cy="15656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2771096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 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8" y="453495"/>
            <a:ext cx="10590002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056592" y="1644652"/>
            <a:ext cx="7332028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344D76E6-1904-4038-80C4-8BC46CEBB70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8618" y="1644390"/>
            <a:ext cx="2443480" cy="4062675"/>
          </a:xfrm>
        </p:spPr>
        <p:txBody>
          <a:bodyPr lIns="0"/>
          <a:lstStyle>
            <a:lvl1pPr marL="0" indent="0">
              <a:lnSpc>
                <a:spcPct val="80000"/>
              </a:lnSpc>
              <a:spcAft>
                <a:spcPts val="1200"/>
              </a:spcAft>
              <a:buFont typeface="Arial" panose="020B0604020202020204" pitchFamily="34" charset="0"/>
              <a:buChar char="​"/>
              <a:defRPr sz="4799" b="1" cap="all" spc="-150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600" baseline="0">
                <a:solidFill>
                  <a:schemeClr val="tx2"/>
                </a:solidFill>
              </a:defRPr>
            </a:lvl2pPr>
            <a:lvl3pPr marL="251950" indent="-251950">
              <a:lnSpc>
                <a:spcPct val="100000"/>
              </a:lnSpc>
              <a:buFont typeface="Verdana" panose="020B0604030504040204" pitchFamily="34" charset="0"/>
              <a:buChar char="•"/>
              <a:defRPr sz="1600" i="0" baseline="0">
                <a:solidFill>
                  <a:schemeClr val="tx2"/>
                </a:solidFill>
              </a:defRPr>
            </a:lvl3pPr>
            <a:lvl4pPr marL="271409" indent="-271409">
              <a:lnSpc>
                <a:spcPct val="100000"/>
              </a:lnSpc>
              <a:buFont typeface="+mj-lt"/>
              <a:buAutoNum type="arabicPeriod"/>
              <a:defRPr sz="1600">
                <a:solidFill>
                  <a:schemeClr val="tx2"/>
                </a:solidFill>
              </a:defRPr>
            </a:lvl4pPr>
            <a:lvl5pPr marL="271409" indent="-271409">
              <a:lnSpc>
                <a:spcPct val="100000"/>
              </a:lnSpc>
              <a:buFont typeface="+mj-lt"/>
              <a:buAutoNum type="alphaUcPeriod"/>
              <a:defRPr sz="1600" b="0" cap="none" spc="-50" baseline="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>
                <a:solidFill>
                  <a:schemeClr val="tx2"/>
                </a:solidFill>
              </a:defRPr>
            </a:lvl7pPr>
            <a:lvl8pPr marL="271409" indent="-271409">
              <a:buClr>
                <a:schemeClr val="tx2"/>
              </a:buClr>
              <a:buFont typeface="+mj-lt"/>
              <a:buAutoNum type="arabicParenR"/>
              <a:defRPr sz="1000">
                <a:solidFill>
                  <a:schemeClr val="tx2"/>
                </a:solidFill>
              </a:defRPr>
            </a:lvl8pPr>
            <a:lvl9pPr marL="271409" indent="-271409">
              <a:buClr>
                <a:schemeClr val="tx2"/>
              </a:buClr>
              <a:buFont typeface="+mj-lt"/>
              <a:buAutoNum type="alphaLcParenR"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/>
              <a:t>12,9%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6CAB1BFF-44E8-48FF-AF80-4144B6650A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8618" y="4991259"/>
            <a:ext cx="2443479" cy="715807"/>
          </a:xfrm>
        </p:spPr>
        <p:txBody>
          <a:bodyPr lIns="0" anchor="b" anchorCtr="0"/>
          <a:lstStyle>
            <a:lvl1pPr marL="228554" indent="-228554">
              <a:lnSpc>
                <a:spcPct val="80000"/>
              </a:lnSpc>
              <a:spcAft>
                <a:spcPts val="1200"/>
              </a:spcAft>
              <a:buFont typeface="+mj-lt"/>
              <a:buAutoNum type="arabicParenR"/>
              <a:defRPr sz="1000" b="0" i="1" cap="none" spc="0" baseline="0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Not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7" name="Footer Placeholder 4">
            <a:extLst>
              <a:ext uri="{FF2B5EF4-FFF2-40B4-BE49-F238E27FC236}">
                <a16:creationId xmlns:a16="http://schemas.microsoft.com/office/drawing/2014/main" id="{BB98BEF1-8B24-44DD-B00E-B069E4D5CA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29" name="Date_DateCustomA">
            <a:extLst>
              <a:ext uri="{FF2B5EF4-FFF2-40B4-BE49-F238E27FC236}">
                <a16:creationId xmlns:a16="http://schemas.microsoft.com/office/drawing/2014/main" id="{5AF2CA37-37E6-4F35-A8D3-13E15E8256C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FE8FCDCF-FAAC-48D8-97CE-71AEDA9EFE29}" type="datetime1">
              <a:rPr lang="en-GB" smtClean="0"/>
              <a:t>04/05/2022</a:t>
            </a:fld>
            <a:endParaRPr lang="en-GB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C08E95C-A108-449E-AA24-2989A4642A1B}"/>
              </a:ext>
            </a:extLst>
          </p:cNvPr>
          <p:cNvGrpSpPr/>
          <p:nvPr userDrawn="1"/>
        </p:nvGrpSpPr>
        <p:grpSpPr>
          <a:xfrm>
            <a:off x="-1980751" y="3537801"/>
            <a:ext cx="1797025" cy="2906915"/>
            <a:chOff x="12403271" y="-1"/>
            <a:chExt cx="1796791" cy="2907588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67BA9E9-E6FD-43CD-9C63-CB59B98DE9FA}"/>
                </a:ext>
              </a:extLst>
            </p:cNvPr>
            <p:cNvGrpSpPr/>
            <p:nvPr userDrawn="1"/>
          </p:nvGrpSpPr>
          <p:grpSpPr>
            <a:xfrm>
              <a:off x="12403271" y="-1"/>
              <a:ext cx="1796791" cy="2907588"/>
              <a:chOff x="9009867" y="1645032"/>
              <a:chExt cx="2365739" cy="3828268"/>
            </a:xfrm>
          </p:grpSpPr>
          <p:sp>
            <p:nvSpPr>
              <p:cNvPr id="18" name="Rectangle: Rounded Corners 17">
                <a:extLst>
                  <a:ext uri="{FF2B5EF4-FFF2-40B4-BE49-F238E27FC236}">
                    <a16:creationId xmlns:a16="http://schemas.microsoft.com/office/drawing/2014/main" id="{C4ED11A2-1FA8-4D5C-95DC-296255DA7DE6}"/>
                  </a:ext>
                </a:extLst>
              </p:cNvPr>
              <p:cNvSpPr/>
              <p:nvPr/>
            </p:nvSpPr>
            <p:spPr>
              <a:xfrm>
                <a:off x="9009867" y="1645032"/>
                <a:ext cx="2365739" cy="3828268"/>
              </a:xfrm>
              <a:prstGeom prst="roundRect">
                <a:avLst>
                  <a:gd name="adj" fmla="val 2970"/>
                </a:avLst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>
                  <a:solidFill>
                    <a:schemeClr val="accent3"/>
                  </a:solidFill>
                </a:endParaRPr>
              </a:p>
            </p:txBody>
          </p:sp>
          <p:pic>
            <p:nvPicPr>
              <p:cNvPr id="19" name="Picture 18">
                <a:extLst>
                  <a:ext uri="{FF2B5EF4-FFF2-40B4-BE49-F238E27FC236}">
                    <a16:creationId xmlns:a16="http://schemas.microsoft.com/office/drawing/2014/main" id="{65E16663-E9F6-4D4C-9422-559BC29D6C4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9182748" y="1852126"/>
                <a:ext cx="599367" cy="280555"/>
              </a:xfrm>
              <a:prstGeom prst="rect">
                <a:avLst/>
              </a:prstGeom>
            </p:spPr>
          </p:pic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28EF9199-7D6F-4B6A-AF35-F75259366BE9}"/>
                  </a:ext>
                </a:extLst>
              </p:cNvPr>
              <p:cNvSpPr txBox="1"/>
              <p:nvPr/>
            </p:nvSpPr>
            <p:spPr bwMode="auto">
              <a:xfrm>
                <a:off x="9199275" y="2239970"/>
                <a:ext cx="1887588" cy="8509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12697" marR="0" indent="-25395" algn="l" defTabSz="457109" rtl="0" eaLnBrk="0" fontAlgn="base" latinLnBrk="0" hangingPunct="0">
                  <a:spcBef>
                    <a:spcPct val="0"/>
                  </a:spcBef>
                  <a:spcAft>
                    <a:spcPts val="600"/>
                  </a:spcAft>
                  <a:buClrTx/>
                  <a:buSzTx/>
                  <a:tabLst/>
                </a:pPr>
                <a:r>
                  <a:rPr kumimoji="0" lang="en-GB" sz="7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LIST LEVELS (BULLET LEVELS) </a:t>
                </a:r>
                <a:br>
                  <a:rPr kumimoji="0" lang="en-GB" sz="7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br>
                  <a:rPr kumimoji="0" lang="en-GB" sz="7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r>
                  <a:rPr kumimoji="0" lang="en-GB" sz="7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USE ABOVE TOOL IN THE TAB HOME TO CHANGE TEXT STYLES (ALSO USE TAB FUNCTION)</a:t>
                </a:r>
              </a:p>
            </p:txBody>
          </p:sp>
        </p:grp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B77BCF0F-D12B-4ADD-B578-30EC974B1EF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414617" y="1122667"/>
              <a:ext cx="1261627" cy="15656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7316419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B6556C8-A731-4240-9800-194A4F70A1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8" y="452438"/>
            <a:ext cx="4072466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F530FD33-AB9C-4A88-9BBB-1E385B91358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8618" y="1644652"/>
            <a:ext cx="4072467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9C52035C-C8B1-4C44-976C-626BFFA7790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85578" y="5388899"/>
            <a:ext cx="5703042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685578" y="536905"/>
            <a:ext cx="5703042" cy="4851994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49DC368E-8BDB-41BB-B406-A3B0A25665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11" name="Date_DateCustomA">
            <a:extLst>
              <a:ext uri="{FF2B5EF4-FFF2-40B4-BE49-F238E27FC236}">
                <a16:creationId xmlns:a16="http://schemas.microsoft.com/office/drawing/2014/main" id="{6531AD21-BE76-4592-909B-A3B96386805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7E088B74-D5F8-4D6D-B466-6D0723103653}" type="datetime1">
              <a:rPr lang="en-GB" smtClean="0"/>
              <a:t>04/05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734711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2CDE71F-8FC2-4DE4-9423-EE57143478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2443480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BB1DDA8-1E6E-4FBF-BB03-A4586ACC43CE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8" y="1644652"/>
            <a:ext cx="2443480" cy="4061090"/>
          </a:xfrm>
        </p:spPr>
        <p:txBody>
          <a:bodyPr/>
          <a:lstStyle>
            <a:lvl4pPr>
              <a:defRPr sz="1400"/>
            </a:lvl4pPr>
            <a:lvl5pPr>
              <a:defRPr spc="-100" baseline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9159BA8D-3D13-45A1-A0BE-92A0162F20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56592" y="5388899"/>
            <a:ext cx="7332029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056592" y="536905"/>
            <a:ext cx="7332029" cy="4851994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E7D9B79D-FD5C-45BD-97EA-6B24E7C004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9" name="Date_DateCustomA">
            <a:extLst>
              <a:ext uri="{FF2B5EF4-FFF2-40B4-BE49-F238E27FC236}">
                <a16:creationId xmlns:a16="http://schemas.microsoft.com/office/drawing/2014/main" id="{11E666E0-9E5A-4A77-8B2D-91C35C22746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2EEB1991-01A7-4A1C-9C66-872C05E5583D}" type="datetime1">
              <a:rPr lang="en-GB" smtClean="0"/>
              <a:t>04/05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690428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8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685580" y="1644652"/>
            <a:ext cx="5703041" cy="3744247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BB1DDA8-1E6E-4FBF-BB03-A4586ACC43CE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8" y="1644652"/>
            <a:ext cx="4072467" cy="4062413"/>
          </a:xfrm>
        </p:spPr>
        <p:txBody>
          <a:bodyPr/>
          <a:lstStyle>
            <a:lvl4pPr>
              <a:defRPr sz="1400"/>
            </a:lvl4pPr>
            <a:lvl5pPr>
              <a:defRPr spc="-100" baseline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385A6CB6-503A-43E4-95E9-49CCA6BE0AA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85578" y="5388899"/>
            <a:ext cx="5703042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5BE177DB-3D97-4178-B41E-C5E88E6EF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11" name="Date_DateCustomA">
            <a:extLst>
              <a:ext uri="{FF2B5EF4-FFF2-40B4-BE49-F238E27FC236}">
                <a16:creationId xmlns:a16="http://schemas.microsoft.com/office/drawing/2014/main" id="{A29EE775-E260-4614-9C8B-28623B33C6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310C8F63-746D-49AA-89DD-F720C3C3E8E3}" type="datetime1">
              <a:rPr lang="en-GB" smtClean="0"/>
              <a:t>04/05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7715827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1644652"/>
            <a:ext cx="2443480" cy="3744247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10A7420-B42B-4A1E-801C-58F73E98E7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E94D7C6-6298-49CF-9E54-6442A65BE7E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56592" y="1644652"/>
            <a:ext cx="7332029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36C9629C-CF41-41C8-B234-06D2B62B58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7029" y="5388899"/>
            <a:ext cx="2445068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72ED723-2034-4873-8F5F-84CD3DF067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11" name="Date_DateCustomA">
            <a:extLst>
              <a:ext uri="{FF2B5EF4-FFF2-40B4-BE49-F238E27FC236}">
                <a16:creationId xmlns:a16="http://schemas.microsoft.com/office/drawing/2014/main" id="{70AABF26-1E97-4163-9AEB-8A08056A2CF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07D9B8B2-2B26-4659-AFD3-8F852FE9A4D5}" type="datetime1">
              <a:rPr lang="en-GB" smtClean="0"/>
              <a:t>04/05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76975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536905"/>
            <a:ext cx="10590002" cy="4851993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613110" y="906489"/>
            <a:ext cx="3257974" cy="215754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9159BA8D-3D13-45A1-A0BE-92A0162F20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7029" y="5388899"/>
            <a:ext cx="10591592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40854D9-4A7F-43DD-ADEE-729ECE38A7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9" name="Date_DateCustomA">
            <a:extLst>
              <a:ext uri="{FF2B5EF4-FFF2-40B4-BE49-F238E27FC236}">
                <a16:creationId xmlns:a16="http://schemas.microsoft.com/office/drawing/2014/main" id="{13B009AD-71AF-4311-AB8D-836DCA3740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A2D02C2F-C8D1-4CA6-BC85-74B401D907FB}" type="datetime1">
              <a:rPr lang="en-GB" smtClean="0"/>
              <a:t>04/05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909184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EA48E567-47F5-4B08-99D6-069385ECEC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3950CBF-72E1-4385-99DA-211C9A719C8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97029" y="5387834"/>
            <a:ext cx="4074055" cy="317907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5D561B5-A7F3-463C-BD8C-C2813F3D379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685578" y="5387835"/>
            <a:ext cx="5703042" cy="317907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79B77179-6BCC-4E37-AE98-B3C52EB6D1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98618" y="1644652"/>
            <a:ext cx="4072467" cy="3743181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685578" y="1644652"/>
            <a:ext cx="5703042" cy="3744247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C5F701B6-51A4-429E-BAE7-303D346C10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12" name="Date_DateCustomA">
            <a:extLst>
              <a:ext uri="{FF2B5EF4-FFF2-40B4-BE49-F238E27FC236}">
                <a16:creationId xmlns:a16="http://schemas.microsoft.com/office/drawing/2014/main" id="{AF6FCEB8-934A-4A77-A838-C33FC03CC5F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9317641B-8A6E-4000-8D18-8C26E74C5E0D}" type="datetime1">
              <a:rPr lang="en-GB" smtClean="0"/>
              <a:t>04/05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508528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8" y="452438"/>
            <a:ext cx="10590002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1644652"/>
            <a:ext cx="8144935" cy="3744247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8618" y="5387835"/>
            <a:ext cx="8144935" cy="317907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89424118-58CD-42CA-86D2-8D172442E46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758046" y="1644652"/>
            <a:ext cx="1630575" cy="3744248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5AEC6E4-C3EF-4192-856D-9039F171C48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758046" y="5387835"/>
            <a:ext cx="1630575" cy="317907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C5D31929-EC68-4BA9-818F-D9E7F43918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14" name="Date_DateCustomA">
            <a:extLst>
              <a:ext uri="{FF2B5EF4-FFF2-40B4-BE49-F238E27FC236}">
                <a16:creationId xmlns:a16="http://schemas.microsoft.com/office/drawing/2014/main" id="{F7836BF7-FD55-405A-874B-61C805C2E3C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49976E51-1FC3-4474-950D-AA48067650FE}" type="datetime1">
              <a:rPr lang="en-GB" smtClean="0"/>
              <a:t>04/05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61519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 and fac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2AD88E7-3B12-4449-81F1-3C8219EE77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8618" y="5387835"/>
            <a:ext cx="3257974" cy="317907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F7D20742-1518-4D1C-84E0-A50DB3F71AB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871084" y="5387835"/>
            <a:ext cx="3257974" cy="317907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1644652"/>
            <a:ext cx="3257974" cy="3744247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F0DD355-BD0E-4C7A-AAD1-CDB85E6B5D3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871085" y="1644650"/>
            <a:ext cx="3257973" cy="3744249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2AD0405A-0FD7-4F0F-AF7F-B2047DF5CF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43552" y="1644390"/>
            <a:ext cx="2445069" cy="4062675"/>
          </a:xfrm>
        </p:spPr>
        <p:txBody>
          <a:bodyPr lIns="0"/>
          <a:lstStyle>
            <a:lvl1pPr marL="0" indent="0">
              <a:lnSpc>
                <a:spcPct val="80000"/>
              </a:lnSpc>
              <a:spcAft>
                <a:spcPts val="1200"/>
              </a:spcAft>
              <a:buFont typeface="Arial" panose="020B0604020202020204" pitchFamily="34" charset="0"/>
              <a:buChar char="​"/>
              <a:defRPr sz="4799" b="1" cap="all" spc="-150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600" baseline="0">
                <a:solidFill>
                  <a:schemeClr val="tx2"/>
                </a:solidFill>
              </a:defRPr>
            </a:lvl2pPr>
            <a:lvl3pPr marL="251950" indent="-251950">
              <a:lnSpc>
                <a:spcPct val="100000"/>
              </a:lnSpc>
              <a:buFont typeface="Verdana" panose="020B0604030504040204" pitchFamily="34" charset="0"/>
              <a:buChar char="•"/>
              <a:defRPr sz="1600" i="0" baseline="0">
                <a:solidFill>
                  <a:schemeClr val="tx2"/>
                </a:solidFill>
              </a:defRPr>
            </a:lvl3pPr>
            <a:lvl4pPr marL="271409" indent="-271409">
              <a:lnSpc>
                <a:spcPct val="100000"/>
              </a:lnSpc>
              <a:buFont typeface="+mj-lt"/>
              <a:buAutoNum type="arabicPeriod"/>
              <a:defRPr sz="1600">
                <a:solidFill>
                  <a:schemeClr val="tx2"/>
                </a:solidFill>
              </a:defRPr>
            </a:lvl4pPr>
            <a:lvl5pPr marL="271409" indent="-271409">
              <a:lnSpc>
                <a:spcPct val="100000"/>
              </a:lnSpc>
              <a:buFont typeface="+mj-lt"/>
              <a:buAutoNum type="alphaUcPeriod"/>
              <a:defRPr sz="1600" b="0" cap="none" spc="-50" baseline="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>
                <a:solidFill>
                  <a:schemeClr val="tx2"/>
                </a:solidFill>
              </a:defRPr>
            </a:lvl7pPr>
            <a:lvl8pPr marL="271409" indent="-271409">
              <a:buClr>
                <a:schemeClr val="tx2"/>
              </a:buClr>
              <a:buFont typeface="+mj-lt"/>
              <a:buAutoNum type="arabicParenR"/>
              <a:defRPr sz="1000">
                <a:solidFill>
                  <a:schemeClr val="tx2"/>
                </a:solidFill>
              </a:defRPr>
            </a:lvl8pPr>
            <a:lvl9pPr marL="271409" indent="-271409">
              <a:buClr>
                <a:schemeClr val="tx2"/>
              </a:buClr>
              <a:buFont typeface="+mj-lt"/>
              <a:buAutoNum type="alphaLcParenR"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/>
              <a:t>12,9%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918E1753-D849-4306-90F0-AE9E3B1E43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16" name="Date_DateCustomA">
            <a:extLst>
              <a:ext uri="{FF2B5EF4-FFF2-40B4-BE49-F238E27FC236}">
                <a16:creationId xmlns:a16="http://schemas.microsoft.com/office/drawing/2014/main" id="{4824DA6C-1660-454E-AE9F-DA89A04C5D0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19B1F6A8-6B7A-461C-8C18-9117AB04685F}" type="datetime1">
              <a:rPr lang="en-GB" smtClean="0"/>
              <a:t>04/05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12899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467B4A0-71C9-4823-A7A8-8732E628BB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334CF0BE-94A8-4A72-9F23-1D298BDAC0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7F2DE55C-6076-4D17-A2A6-FFA35E4DBF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56786428-E0B3-45F0-A6CE-17D4CAA0FDA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BA41353E-3C65-4654-A4FD-091C22B78AA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5FF465FC-AA8D-4B4C-B54A-7D53CF73E0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815ABA-5AD9-4CFD-83D4-B9B9C9C5CC9C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8BB92014-673A-4179-ADC0-0F4D39D9EF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05811CE-57A7-4088-9BCC-000DD84508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DC2A16-8918-4093-8FB3-00182BD6EED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3635261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FA0290B9-8984-4B63-9584-E3AE12BC84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8618" y="5387835"/>
            <a:ext cx="4886961" cy="317907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A7ABCE10-41F5-4BFF-B780-36E38A40F95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500070" y="5387835"/>
            <a:ext cx="2443482" cy="317908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6B139212-6CFC-41D2-8FC4-04AFFFB5F67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758046" y="5387835"/>
            <a:ext cx="1630575" cy="317907"/>
          </a:xfrm>
        </p:spPr>
        <p:txBody>
          <a:bodyPr lIns="0" anchor="b" anchorCtr="0"/>
          <a:lstStyle>
            <a:lvl1pPr marL="0" indent="0" algn="l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1644652"/>
            <a:ext cx="4886961" cy="3744247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F0DD355-BD0E-4C7A-AAD1-CDB85E6B5D3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500071" y="1644650"/>
            <a:ext cx="2443480" cy="3744249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spcAft>
                <a:spcPts val="0"/>
              </a:spcAft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79B77179-6BCC-4E37-AE98-B3C52EB6D1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758046" y="1644652"/>
            <a:ext cx="1630575" cy="3744248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spcAft>
                <a:spcPts val="0"/>
              </a:spcAft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5874BC50-6BE9-4C0E-B354-8E1950E1DE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15" name="Date_DateCustomA">
            <a:extLst>
              <a:ext uri="{FF2B5EF4-FFF2-40B4-BE49-F238E27FC236}">
                <a16:creationId xmlns:a16="http://schemas.microsoft.com/office/drawing/2014/main" id="{A27BE1DC-8318-4E12-A678-697DBD2158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670B47BD-1B93-49E8-8F1A-50F28146FAEE}" type="datetime1">
              <a:rPr lang="en-GB" smtClean="0"/>
              <a:t>04/05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1503116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69AAF93-6D36-4195-82B9-DF0720EC52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8617" y="5387835"/>
            <a:ext cx="5701454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3E2CB951-B63B-4713-9C55-151E8F70764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14564" y="5387835"/>
            <a:ext cx="1628988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4ABF96D0-72C6-404F-8711-EC888AA24B2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758046" y="5387835"/>
            <a:ext cx="1630575" cy="318166"/>
          </a:xfrm>
        </p:spPr>
        <p:txBody>
          <a:bodyPr lIns="0" anchor="b" anchorCtr="0"/>
          <a:lstStyle>
            <a:lvl1pPr marL="0" indent="0" algn="l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7029" y="1644652"/>
            <a:ext cx="5703042" cy="3744247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F0DD355-BD0E-4C7A-AAD1-CDB85E6B5D3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314564" y="1644650"/>
            <a:ext cx="1628988" cy="3744249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79B77179-6BCC-4E37-AE98-B3C52EB6D1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758046" y="1644652"/>
            <a:ext cx="1630575" cy="3744248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B6ABE9CB-A3E8-48D2-82D8-BB162FBC2A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16" name="Date_DateCustomA">
            <a:extLst>
              <a:ext uri="{FF2B5EF4-FFF2-40B4-BE49-F238E27FC236}">
                <a16:creationId xmlns:a16="http://schemas.microsoft.com/office/drawing/2014/main" id="{F8AC17EF-756D-46C0-9E6D-5F5BC14621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98217C0B-9033-4A97-8B9B-43B4113B467B}" type="datetime1">
              <a:rPr lang="en-GB" smtClean="0"/>
              <a:t>04/05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365908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923A1CA0-6B95-4682-8F2B-A2CB29E9A0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7029" y="5387835"/>
            <a:ext cx="5703041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7F8FEFC5-5B98-4110-A017-739F63CE87B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14565" y="5387835"/>
            <a:ext cx="1628987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EED6E484-ADE4-491D-A306-116A904F427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758046" y="3144372"/>
            <a:ext cx="1630575" cy="318166"/>
          </a:xfrm>
        </p:spPr>
        <p:txBody>
          <a:bodyPr lIns="0" anchor="b" anchorCtr="0"/>
          <a:lstStyle>
            <a:lvl1pPr marL="0" indent="0" algn="l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1D494126-0696-4DB9-B563-2B5C9722422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758046" y="5387835"/>
            <a:ext cx="1630575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1644652"/>
            <a:ext cx="5701453" cy="3744247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spcAft>
                <a:spcPts val="0"/>
              </a:spcAft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F0DD355-BD0E-4C7A-AAD1-CDB85E6B5D3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314566" y="1644650"/>
            <a:ext cx="1628987" cy="3744249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spcAft>
                <a:spcPts val="0"/>
              </a:spcAft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79B77179-6BCC-4E37-AE98-B3C52EB6D1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758046" y="1644652"/>
            <a:ext cx="1630575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spcAft>
                <a:spcPts val="0"/>
              </a:spcAft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4FC1400A-42D9-4C67-90D8-FACAEC66223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758046" y="3905375"/>
            <a:ext cx="1630575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spcAft>
                <a:spcPts val="0"/>
              </a:spcAft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4567020D-E32F-49AD-ADAE-9E64ADBB8F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18" name="Date_DateCustomA">
            <a:extLst>
              <a:ext uri="{FF2B5EF4-FFF2-40B4-BE49-F238E27FC236}">
                <a16:creationId xmlns:a16="http://schemas.microsoft.com/office/drawing/2014/main" id="{32279A45-1217-4472-8344-3C0A19130A7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893200B9-2419-488B-B3B4-69557D1FB50C}" type="datetime1">
              <a:rPr lang="en-GB" smtClean="0"/>
              <a:t>04/05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287926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7">
            <a:extLst>
              <a:ext uri="{FF2B5EF4-FFF2-40B4-BE49-F238E27FC236}">
                <a16:creationId xmlns:a16="http://schemas.microsoft.com/office/drawing/2014/main" id="{6DA88F43-D409-4504-A063-DA4B451A47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1644652"/>
            <a:ext cx="5701453" cy="3744247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7030" y="5387835"/>
            <a:ext cx="5703042" cy="317907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A1F7B2BE-FFF8-4897-A35A-DDFEEB4911B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14564" y="3145672"/>
            <a:ext cx="4074056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F0DD355-BD0E-4C7A-AAD1-CDB85E6B5D3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314564" y="1644651"/>
            <a:ext cx="4074056" cy="1483525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735B3C8D-4ACE-428F-8AD3-7A13F1213FD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314566" y="5387835"/>
            <a:ext cx="1628987" cy="318166"/>
          </a:xfrm>
        </p:spPr>
        <p:txBody>
          <a:bodyPr lIns="0" anchor="b" anchorCtr="0"/>
          <a:lstStyle>
            <a:lvl1pPr marL="0" indent="0" algn="l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C7A95160-7865-47B1-BBD0-32DA9C96FEC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758044" y="5387835"/>
            <a:ext cx="1630576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E3623DC9-8DA0-4C2E-9B79-E43514C6D03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7314566" y="3905374"/>
            <a:ext cx="1628987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4FC1400A-42D9-4C67-90D8-FACAEC66223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758044" y="3905375"/>
            <a:ext cx="1630576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651A90D8-504E-4DC5-901B-5180BA0DE1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21" name="Date_DateCustomA">
            <a:extLst>
              <a:ext uri="{FF2B5EF4-FFF2-40B4-BE49-F238E27FC236}">
                <a16:creationId xmlns:a16="http://schemas.microsoft.com/office/drawing/2014/main" id="{C64ACC7F-7EC9-4D88-B2D9-4BD783C75A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F36191CC-81E4-40E2-A3EA-FD9630412644}" type="datetime1">
              <a:rPr lang="en-GB" smtClean="0"/>
              <a:t>04/05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334596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images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7030" y="5388899"/>
            <a:ext cx="5703042" cy="316843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42DF0A72-5AF0-4ACE-B2DB-4155F465E0B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14564" y="3144193"/>
            <a:ext cx="1628988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0F958486-0A01-4664-898B-849018028B9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314564" y="5387953"/>
            <a:ext cx="1628988" cy="318166"/>
          </a:xfrm>
        </p:spPr>
        <p:txBody>
          <a:bodyPr lIns="0" anchor="b" anchorCtr="0"/>
          <a:lstStyle>
            <a:lvl1pPr marL="0" indent="0" algn="l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72AE0D8A-202F-43F6-AB72-839F68F575A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758044" y="3144193"/>
            <a:ext cx="1630576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553D49DA-A17B-44D7-8EBB-64C685A230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758044" y="5387953"/>
            <a:ext cx="1630576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1644652"/>
            <a:ext cx="5701453" cy="3744247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F0DD355-BD0E-4C7A-AAD1-CDB85E6B5D3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314564" y="1644651"/>
            <a:ext cx="1628988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E3623DC9-8DA0-4C2E-9B79-E43514C6D03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7314564" y="3905374"/>
            <a:ext cx="1628988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79B77179-6BCC-4E37-AE98-B3C52EB6D1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758044" y="1644652"/>
            <a:ext cx="1630576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4FC1400A-42D9-4C67-90D8-FACAEC66223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758045" y="3905375"/>
            <a:ext cx="1630575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itle 7">
            <a:extLst>
              <a:ext uri="{FF2B5EF4-FFF2-40B4-BE49-F238E27FC236}">
                <a16:creationId xmlns:a16="http://schemas.microsoft.com/office/drawing/2014/main" id="{109E8909-9BF2-426F-A556-859081C99C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89EC51AE-5F71-4517-A9E0-7E30DE0DEA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23" name="Date_DateCustomA">
            <a:extLst>
              <a:ext uri="{FF2B5EF4-FFF2-40B4-BE49-F238E27FC236}">
                <a16:creationId xmlns:a16="http://schemas.microsoft.com/office/drawing/2014/main" id="{9986C71A-FB30-4BC3-80B0-20BC541703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F178DCDE-D1A1-4EB4-8F09-37541DFBB130}" type="datetime1">
              <a:rPr lang="en-GB" smtClean="0"/>
              <a:t>04/05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4997173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images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7029" y="5387953"/>
            <a:ext cx="3259562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F02B0B2F-7F53-4AFC-9446-DB6C5777E69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75849" y="3145672"/>
            <a:ext cx="6486776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0662756F-E3F0-402D-9E22-0BE6B392C8C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871085" y="5387953"/>
            <a:ext cx="1625812" cy="318166"/>
          </a:xfrm>
        </p:spPr>
        <p:txBody>
          <a:bodyPr lIns="0" anchor="b" anchorCtr="0"/>
          <a:lstStyle>
            <a:lvl1pPr marL="0" indent="0" algn="l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BE7208CB-CE86-4F3D-B12C-D8268891AA4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314566" y="5387953"/>
            <a:ext cx="1628987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06E02B92-F862-4F76-B8DC-8C3D1FC7F97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758046" y="5387953"/>
            <a:ext cx="1630575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1644652"/>
            <a:ext cx="3257974" cy="3744247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F0DD355-BD0E-4C7A-AAD1-CDB85E6B5D3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871084" y="1644651"/>
            <a:ext cx="6517536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BD840AF9-BBF8-4202-BC96-375E5BEB71AA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871085" y="3905096"/>
            <a:ext cx="1628987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E3623DC9-8DA0-4C2E-9B79-E43514C6D03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7314566" y="3905374"/>
            <a:ext cx="1628987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4FC1400A-42D9-4C67-90D8-FACAEC66223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758045" y="3905375"/>
            <a:ext cx="1630575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7" name="Title 7">
            <a:extLst>
              <a:ext uri="{FF2B5EF4-FFF2-40B4-BE49-F238E27FC236}">
                <a16:creationId xmlns:a16="http://schemas.microsoft.com/office/drawing/2014/main" id="{299AE5C6-8512-40FE-B386-E39B565975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DB9DA6D0-8869-4337-BEAF-0ADAFE06FB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24" name="Date_DateCustomA">
            <a:extLst>
              <a:ext uri="{FF2B5EF4-FFF2-40B4-BE49-F238E27FC236}">
                <a16:creationId xmlns:a16="http://schemas.microsoft.com/office/drawing/2014/main" id="{A387D7D7-69FC-41FF-BDFD-687A499B612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5944EB0A-8F31-4F12-A58B-82FA23A642B9}" type="datetime1">
              <a:rPr lang="en-GB" smtClean="0"/>
              <a:t>04/05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941225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ull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/>
          <p:cNvSpPr/>
          <p:nvPr userDrawn="1"/>
        </p:nvSpPr>
        <p:spPr>
          <a:xfrm>
            <a:off x="0" y="0"/>
            <a:ext cx="12191187" cy="685641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-1" y="0"/>
            <a:ext cx="12194787" cy="6860012"/>
          </a:xfrm>
          <a:solidFill>
            <a:srgbClr val="F6F6F4"/>
          </a:solidFill>
        </p:spPr>
        <p:txBody>
          <a:bodyPr tIns="0" anchor="t" anchorCtr="0"/>
          <a:lstStyle>
            <a:lvl1pPr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7034" y="452439"/>
            <a:ext cx="10556574" cy="1056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1C804A56-02C2-4000-8DE1-4C682601C7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798617" y="6158174"/>
            <a:ext cx="1220559" cy="255541"/>
          </a:xfrm>
          <a:custGeom>
            <a:avLst/>
            <a:gdLst>
              <a:gd name="connsiteX0" fmla="*/ 10555461 w 20742935"/>
              <a:gd name="connsiteY0" fmla="*/ 2313797 h 4374000"/>
              <a:gd name="connsiteX1" fmla="*/ 11078393 w 20742935"/>
              <a:gd name="connsiteY1" fmla="*/ 2313797 h 4374000"/>
              <a:gd name="connsiteX2" fmla="*/ 11427013 w 20742935"/>
              <a:gd name="connsiteY2" fmla="*/ 2549249 h 4374000"/>
              <a:gd name="connsiteX3" fmla="*/ 11097761 w 20742935"/>
              <a:gd name="connsiteY3" fmla="*/ 2784701 h 4374000"/>
              <a:gd name="connsiteX4" fmla="*/ 10555461 w 20742935"/>
              <a:gd name="connsiteY4" fmla="*/ 2784701 h 4374000"/>
              <a:gd name="connsiteX5" fmla="*/ 10555461 w 20742935"/>
              <a:gd name="connsiteY5" fmla="*/ 2313797 h 4374000"/>
              <a:gd name="connsiteX6" fmla="*/ 5442357 w 20742935"/>
              <a:gd name="connsiteY6" fmla="*/ 1627063 h 4374000"/>
              <a:gd name="connsiteX7" fmla="*/ 5732875 w 20742935"/>
              <a:gd name="connsiteY7" fmla="*/ 2313797 h 4374000"/>
              <a:gd name="connsiteX8" fmla="*/ 5151840 w 20742935"/>
              <a:gd name="connsiteY8" fmla="*/ 2313797 h 4374000"/>
              <a:gd name="connsiteX9" fmla="*/ 2556552 w 20742935"/>
              <a:gd name="connsiteY9" fmla="*/ 1509337 h 4374000"/>
              <a:gd name="connsiteX10" fmla="*/ 3002012 w 20742935"/>
              <a:gd name="connsiteY10" fmla="*/ 1509337 h 4374000"/>
              <a:gd name="connsiteX11" fmla="*/ 3350633 w 20742935"/>
              <a:gd name="connsiteY11" fmla="*/ 1803652 h 4374000"/>
              <a:gd name="connsiteX12" fmla="*/ 3002012 w 20742935"/>
              <a:gd name="connsiteY12" fmla="*/ 2117588 h 4374000"/>
              <a:gd name="connsiteX13" fmla="*/ 2556552 w 20742935"/>
              <a:gd name="connsiteY13" fmla="*/ 2117588 h 4374000"/>
              <a:gd name="connsiteX14" fmla="*/ 2556552 w 20742935"/>
              <a:gd name="connsiteY14" fmla="*/ 1509337 h 4374000"/>
              <a:gd name="connsiteX15" fmla="*/ 10555461 w 20742935"/>
              <a:gd name="connsiteY15" fmla="*/ 1489716 h 4374000"/>
              <a:gd name="connsiteX16" fmla="*/ 11000921 w 20742935"/>
              <a:gd name="connsiteY16" fmla="*/ 1489716 h 4374000"/>
              <a:gd name="connsiteX17" fmla="*/ 11310807 w 20742935"/>
              <a:gd name="connsiteY17" fmla="*/ 1725168 h 4374000"/>
              <a:gd name="connsiteX18" fmla="*/ 10981553 w 20742935"/>
              <a:gd name="connsiteY18" fmla="*/ 1940999 h 4374000"/>
              <a:gd name="connsiteX19" fmla="*/ 10555461 w 20742935"/>
              <a:gd name="connsiteY19" fmla="*/ 1940999 h 4374000"/>
              <a:gd name="connsiteX20" fmla="*/ 10555461 w 20742935"/>
              <a:gd name="connsiteY20" fmla="*/ 1489716 h 4374000"/>
              <a:gd name="connsiteX21" fmla="*/ 10342417 w 20742935"/>
              <a:gd name="connsiteY21" fmla="*/ 1097297 h 4374000"/>
              <a:gd name="connsiteX22" fmla="*/ 10110001 w 20742935"/>
              <a:gd name="connsiteY22" fmla="*/ 1332749 h 4374000"/>
              <a:gd name="connsiteX23" fmla="*/ 10110001 w 20742935"/>
              <a:gd name="connsiteY23" fmla="*/ 2941669 h 4374000"/>
              <a:gd name="connsiteX24" fmla="*/ 10342417 w 20742935"/>
              <a:gd name="connsiteY24" fmla="*/ 3177120 h 4374000"/>
              <a:gd name="connsiteX25" fmla="*/ 11097761 w 20742935"/>
              <a:gd name="connsiteY25" fmla="*/ 3177120 h 4374000"/>
              <a:gd name="connsiteX26" fmla="*/ 11872473 w 20742935"/>
              <a:gd name="connsiteY26" fmla="*/ 2608112 h 4374000"/>
              <a:gd name="connsiteX27" fmla="*/ 11485117 w 20742935"/>
              <a:gd name="connsiteY27" fmla="*/ 2097967 h 4374000"/>
              <a:gd name="connsiteX28" fmla="*/ 11756267 w 20742935"/>
              <a:gd name="connsiteY28" fmla="*/ 1627063 h 4374000"/>
              <a:gd name="connsiteX29" fmla="*/ 11620693 w 20742935"/>
              <a:gd name="connsiteY29" fmla="*/ 1273886 h 4374000"/>
              <a:gd name="connsiteX30" fmla="*/ 11078393 w 20742935"/>
              <a:gd name="connsiteY30" fmla="*/ 1097297 h 4374000"/>
              <a:gd name="connsiteX31" fmla="*/ 2324139 w 20742935"/>
              <a:gd name="connsiteY31" fmla="*/ 1097297 h 4374000"/>
              <a:gd name="connsiteX32" fmla="*/ 2091725 w 20742935"/>
              <a:gd name="connsiteY32" fmla="*/ 1332749 h 4374000"/>
              <a:gd name="connsiteX33" fmla="*/ 2091725 w 20742935"/>
              <a:gd name="connsiteY33" fmla="*/ 2961290 h 4374000"/>
              <a:gd name="connsiteX34" fmla="*/ 2324139 w 20742935"/>
              <a:gd name="connsiteY34" fmla="*/ 3196741 h 4374000"/>
              <a:gd name="connsiteX35" fmla="*/ 2556552 w 20742935"/>
              <a:gd name="connsiteY35" fmla="*/ 2961290 h 4374000"/>
              <a:gd name="connsiteX36" fmla="*/ 2556552 w 20742935"/>
              <a:gd name="connsiteY36" fmla="*/ 2510007 h 4374000"/>
              <a:gd name="connsiteX37" fmla="*/ 2905173 w 20742935"/>
              <a:gd name="connsiteY37" fmla="*/ 2510007 h 4374000"/>
              <a:gd name="connsiteX38" fmla="*/ 3350633 w 20742935"/>
              <a:gd name="connsiteY38" fmla="*/ 3079016 h 4374000"/>
              <a:gd name="connsiteX39" fmla="*/ 3563679 w 20742935"/>
              <a:gd name="connsiteY39" fmla="*/ 3196741 h 4374000"/>
              <a:gd name="connsiteX40" fmla="*/ 3796093 w 20742935"/>
              <a:gd name="connsiteY40" fmla="*/ 2980911 h 4374000"/>
              <a:gd name="connsiteX41" fmla="*/ 3718621 w 20742935"/>
              <a:gd name="connsiteY41" fmla="*/ 2804322 h 4374000"/>
              <a:gd name="connsiteX42" fmla="*/ 3408736 w 20742935"/>
              <a:gd name="connsiteY42" fmla="*/ 2431523 h 4374000"/>
              <a:gd name="connsiteX43" fmla="*/ 3815461 w 20742935"/>
              <a:gd name="connsiteY43" fmla="*/ 1784031 h 4374000"/>
              <a:gd name="connsiteX44" fmla="*/ 3641150 w 20742935"/>
              <a:gd name="connsiteY44" fmla="*/ 1313128 h 4374000"/>
              <a:gd name="connsiteX45" fmla="*/ 3040748 w 20742935"/>
              <a:gd name="connsiteY45" fmla="*/ 1097297 h 4374000"/>
              <a:gd name="connsiteX46" fmla="*/ 2324139 w 20742935"/>
              <a:gd name="connsiteY46" fmla="*/ 1097297 h 4374000"/>
              <a:gd name="connsiteX47" fmla="*/ 17799025 w 20742935"/>
              <a:gd name="connsiteY47" fmla="*/ 1077676 h 4374000"/>
              <a:gd name="connsiteX48" fmla="*/ 17585981 w 20742935"/>
              <a:gd name="connsiteY48" fmla="*/ 1313128 h 4374000"/>
              <a:gd name="connsiteX49" fmla="*/ 17585981 w 20742935"/>
              <a:gd name="connsiteY49" fmla="*/ 2941669 h 4374000"/>
              <a:gd name="connsiteX50" fmla="*/ 17799025 w 20742935"/>
              <a:gd name="connsiteY50" fmla="*/ 3177120 h 4374000"/>
              <a:gd name="connsiteX51" fmla="*/ 18883625 w 20742935"/>
              <a:gd name="connsiteY51" fmla="*/ 3177120 h 4374000"/>
              <a:gd name="connsiteX52" fmla="*/ 19077301 w 20742935"/>
              <a:gd name="connsiteY52" fmla="*/ 2980911 h 4374000"/>
              <a:gd name="connsiteX53" fmla="*/ 18883625 w 20742935"/>
              <a:gd name="connsiteY53" fmla="*/ 2765080 h 4374000"/>
              <a:gd name="connsiteX54" fmla="*/ 18031441 w 20742935"/>
              <a:gd name="connsiteY54" fmla="*/ 2765080 h 4374000"/>
              <a:gd name="connsiteX55" fmla="*/ 18031441 w 20742935"/>
              <a:gd name="connsiteY55" fmla="*/ 1313128 h 4374000"/>
              <a:gd name="connsiteX56" fmla="*/ 17799025 w 20742935"/>
              <a:gd name="connsiteY56" fmla="*/ 1077676 h 4374000"/>
              <a:gd name="connsiteX57" fmla="*/ 15707301 w 20742935"/>
              <a:gd name="connsiteY57" fmla="*/ 1077676 h 4374000"/>
              <a:gd name="connsiteX58" fmla="*/ 15474889 w 20742935"/>
              <a:gd name="connsiteY58" fmla="*/ 1313128 h 4374000"/>
              <a:gd name="connsiteX59" fmla="*/ 15474889 w 20742935"/>
              <a:gd name="connsiteY59" fmla="*/ 2941669 h 4374000"/>
              <a:gd name="connsiteX60" fmla="*/ 15707301 w 20742935"/>
              <a:gd name="connsiteY60" fmla="*/ 3177120 h 4374000"/>
              <a:gd name="connsiteX61" fmla="*/ 16772533 w 20742935"/>
              <a:gd name="connsiteY61" fmla="*/ 3177120 h 4374000"/>
              <a:gd name="connsiteX62" fmla="*/ 16985577 w 20742935"/>
              <a:gd name="connsiteY62" fmla="*/ 2980911 h 4374000"/>
              <a:gd name="connsiteX63" fmla="*/ 16772533 w 20742935"/>
              <a:gd name="connsiteY63" fmla="*/ 2765080 h 4374000"/>
              <a:gd name="connsiteX64" fmla="*/ 15939717 w 20742935"/>
              <a:gd name="connsiteY64" fmla="*/ 2765080 h 4374000"/>
              <a:gd name="connsiteX65" fmla="*/ 15939717 w 20742935"/>
              <a:gd name="connsiteY65" fmla="*/ 1313128 h 4374000"/>
              <a:gd name="connsiteX66" fmla="*/ 15707301 w 20742935"/>
              <a:gd name="connsiteY66" fmla="*/ 1077676 h 4374000"/>
              <a:gd name="connsiteX67" fmla="*/ 7417875 w 20742935"/>
              <a:gd name="connsiteY67" fmla="*/ 1077676 h 4374000"/>
              <a:gd name="connsiteX68" fmla="*/ 7166093 w 20742935"/>
              <a:gd name="connsiteY68" fmla="*/ 1293507 h 4374000"/>
              <a:gd name="connsiteX69" fmla="*/ 7166093 w 20742935"/>
              <a:gd name="connsiteY69" fmla="*/ 2961290 h 4374000"/>
              <a:gd name="connsiteX70" fmla="*/ 7398507 w 20742935"/>
              <a:gd name="connsiteY70" fmla="*/ 3196741 h 4374000"/>
              <a:gd name="connsiteX71" fmla="*/ 7611553 w 20742935"/>
              <a:gd name="connsiteY71" fmla="*/ 2961290 h 4374000"/>
              <a:gd name="connsiteX72" fmla="*/ 7611553 w 20742935"/>
              <a:gd name="connsiteY72" fmla="*/ 1940999 h 4374000"/>
              <a:gd name="connsiteX73" fmla="*/ 7998909 w 20742935"/>
              <a:gd name="connsiteY73" fmla="*/ 2549249 h 4374000"/>
              <a:gd name="connsiteX74" fmla="*/ 8192589 w 20742935"/>
              <a:gd name="connsiteY74" fmla="*/ 2666975 h 4374000"/>
              <a:gd name="connsiteX75" fmla="*/ 8386265 w 20742935"/>
              <a:gd name="connsiteY75" fmla="*/ 2549249 h 4374000"/>
              <a:gd name="connsiteX76" fmla="*/ 8773621 w 20742935"/>
              <a:gd name="connsiteY76" fmla="*/ 1921378 h 4374000"/>
              <a:gd name="connsiteX77" fmla="*/ 8773621 w 20742935"/>
              <a:gd name="connsiteY77" fmla="*/ 2961290 h 4374000"/>
              <a:gd name="connsiteX78" fmla="*/ 9006037 w 20742935"/>
              <a:gd name="connsiteY78" fmla="*/ 3196741 h 4374000"/>
              <a:gd name="connsiteX79" fmla="*/ 9238449 w 20742935"/>
              <a:gd name="connsiteY79" fmla="*/ 2961290 h 4374000"/>
              <a:gd name="connsiteX80" fmla="*/ 9238449 w 20742935"/>
              <a:gd name="connsiteY80" fmla="*/ 1293507 h 4374000"/>
              <a:gd name="connsiteX81" fmla="*/ 8986669 w 20742935"/>
              <a:gd name="connsiteY81" fmla="*/ 1077676 h 4374000"/>
              <a:gd name="connsiteX82" fmla="*/ 8734887 w 20742935"/>
              <a:gd name="connsiteY82" fmla="*/ 1215023 h 4374000"/>
              <a:gd name="connsiteX83" fmla="*/ 8211955 w 20742935"/>
              <a:gd name="connsiteY83" fmla="*/ 2097967 h 4374000"/>
              <a:gd name="connsiteX84" fmla="*/ 7669657 w 20742935"/>
              <a:gd name="connsiteY84" fmla="*/ 1215023 h 4374000"/>
              <a:gd name="connsiteX85" fmla="*/ 7417875 w 20742935"/>
              <a:gd name="connsiteY85" fmla="*/ 1077676 h 4374000"/>
              <a:gd name="connsiteX86" fmla="*/ 5461725 w 20742935"/>
              <a:gd name="connsiteY86" fmla="*/ 1058055 h 4374000"/>
              <a:gd name="connsiteX87" fmla="*/ 5171208 w 20742935"/>
              <a:gd name="connsiteY87" fmla="*/ 1234644 h 4374000"/>
              <a:gd name="connsiteX88" fmla="*/ 4454599 w 20742935"/>
              <a:gd name="connsiteY88" fmla="*/ 2882806 h 4374000"/>
              <a:gd name="connsiteX89" fmla="*/ 4435231 w 20742935"/>
              <a:gd name="connsiteY89" fmla="*/ 3000532 h 4374000"/>
              <a:gd name="connsiteX90" fmla="*/ 4648277 w 20742935"/>
              <a:gd name="connsiteY90" fmla="*/ 3196741 h 4374000"/>
              <a:gd name="connsiteX91" fmla="*/ 4841955 w 20742935"/>
              <a:gd name="connsiteY91" fmla="*/ 3059395 h 4374000"/>
              <a:gd name="connsiteX92" fmla="*/ 4996897 w 20742935"/>
              <a:gd name="connsiteY92" fmla="*/ 2706217 h 4374000"/>
              <a:gd name="connsiteX93" fmla="*/ 5907185 w 20742935"/>
              <a:gd name="connsiteY93" fmla="*/ 2706217 h 4374000"/>
              <a:gd name="connsiteX94" fmla="*/ 6042760 w 20742935"/>
              <a:gd name="connsiteY94" fmla="*/ 3059395 h 4374000"/>
              <a:gd name="connsiteX95" fmla="*/ 6255805 w 20742935"/>
              <a:gd name="connsiteY95" fmla="*/ 3196741 h 4374000"/>
              <a:gd name="connsiteX96" fmla="*/ 6468853 w 20742935"/>
              <a:gd name="connsiteY96" fmla="*/ 3000532 h 4374000"/>
              <a:gd name="connsiteX97" fmla="*/ 6449485 w 20742935"/>
              <a:gd name="connsiteY97" fmla="*/ 2882806 h 4374000"/>
              <a:gd name="connsiteX98" fmla="*/ 5732875 w 20742935"/>
              <a:gd name="connsiteY98" fmla="*/ 1234644 h 4374000"/>
              <a:gd name="connsiteX99" fmla="*/ 5461725 w 20742935"/>
              <a:gd name="connsiteY99" fmla="*/ 1058055 h 4374000"/>
              <a:gd name="connsiteX100" fmla="*/ 847119 w 20742935"/>
              <a:gd name="connsiteY100" fmla="*/ 0 h 4374000"/>
              <a:gd name="connsiteX101" fmla="*/ 14021983 w 20742935"/>
              <a:gd name="connsiteY101" fmla="*/ 0 h 4374000"/>
              <a:gd name="connsiteX102" fmla="*/ 14021847 w 20742935"/>
              <a:gd name="connsiteY102" fmla="*/ 630 h 4374000"/>
              <a:gd name="connsiteX103" fmla="*/ 13789889 w 20742935"/>
              <a:gd name="connsiteY103" fmla="*/ 1077676 h 4374000"/>
              <a:gd name="connsiteX104" fmla="*/ 13615577 w 20742935"/>
              <a:gd name="connsiteY104" fmla="*/ 1058055 h 4374000"/>
              <a:gd name="connsiteX105" fmla="*/ 12511613 w 20742935"/>
              <a:gd name="connsiteY105" fmla="*/ 2137209 h 4374000"/>
              <a:gd name="connsiteX106" fmla="*/ 13596209 w 20742935"/>
              <a:gd name="connsiteY106" fmla="*/ 3216362 h 4374000"/>
              <a:gd name="connsiteX107" fmla="*/ 14700175 w 20742935"/>
              <a:gd name="connsiteY107" fmla="*/ 2137209 h 4374000"/>
              <a:gd name="connsiteX108" fmla="*/ 14583969 w 20742935"/>
              <a:gd name="connsiteY108" fmla="*/ 1646684 h 4374000"/>
              <a:gd name="connsiteX109" fmla="*/ 14196613 w 20742935"/>
              <a:gd name="connsiteY109" fmla="*/ 1940999 h 4374000"/>
              <a:gd name="connsiteX110" fmla="*/ 14235349 w 20742935"/>
              <a:gd name="connsiteY110" fmla="*/ 2137209 h 4374000"/>
              <a:gd name="connsiteX111" fmla="*/ 13615577 w 20742935"/>
              <a:gd name="connsiteY111" fmla="*/ 2784701 h 4374000"/>
              <a:gd name="connsiteX112" fmla="*/ 12976439 w 20742935"/>
              <a:gd name="connsiteY112" fmla="*/ 2137209 h 4374000"/>
              <a:gd name="connsiteX113" fmla="*/ 13596209 w 20742935"/>
              <a:gd name="connsiteY113" fmla="*/ 1489716 h 4374000"/>
              <a:gd name="connsiteX114" fmla="*/ 13693049 w 20742935"/>
              <a:gd name="connsiteY114" fmla="*/ 1489716 h 4374000"/>
              <a:gd name="connsiteX115" fmla="*/ 13518737 w 20742935"/>
              <a:gd name="connsiteY115" fmla="*/ 2274556 h 4374000"/>
              <a:gd name="connsiteX116" fmla="*/ 13576841 w 20742935"/>
              <a:gd name="connsiteY116" fmla="*/ 2313797 h 4374000"/>
              <a:gd name="connsiteX117" fmla="*/ 15302449 w 20742935"/>
              <a:gd name="connsiteY117" fmla="*/ 208867 h 4374000"/>
              <a:gd name="connsiteX118" fmla="*/ 15473677 w 20742935"/>
              <a:gd name="connsiteY118" fmla="*/ 0 h 4374000"/>
              <a:gd name="connsiteX119" fmla="*/ 19895817 w 20742935"/>
              <a:gd name="connsiteY119" fmla="*/ 0 h 4374000"/>
              <a:gd name="connsiteX120" fmla="*/ 20086775 w 20742935"/>
              <a:gd name="connsiteY120" fmla="*/ 11552 h 4374000"/>
              <a:gd name="connsiteX121" fmla="*/ 20739957 w 20742935"/>
              <a:gd name="connsiteY121" fmla="*/ 787481 h 4374000"/>
              <a:gd name="connsiteX122" fmla="*/ 20742935 w 20742935"/>
              <a:gd name="connsiteY122" fmla="*/ 901016 h 4374000"/>
              <a:gd name="connsiteX123" fmla="*/ 20742935 w 20742935"/>
              <a:gd name="connsiteY123" fmla="*/ 3471506 h 4374000"/>
              <a:gd name="connsiteX124" fmla="*/ 20739957 w 20742935"/>
              <a:gd name="connsiteY124" fmla="*/ 3585041 h 4374000"/>
              <a:gd name="connsiteX125" fmla="*/ 19871385 w 20742935"/>
              <a:gd name="connsiteY125" fmla="*/ 4374000 h 4374000"/>
              <a:gd name="connsiteX126" fmla="*/ 871552 w 20742935"/>
              <a:gd name="connsiteY126" fmla="*/ 4374000 h 4374000"/>
              <a:gd name="connsiteX127" fmla="*/ 0 w 20742935"/>
              <a:gd name="connsiteY127" fmla="*/ 3471435 h 4374000"/>
              <a:gd name="connsiteX128" fmla="*/ 0 w 20742935"/>
              <a:gd name="connsiteY128" fmla="*/ 901087 h 4374000"/>
              <a:gd name="connsiteX129" fmla="*/ 656161 w 20742935"/>
              <a:gd name="connsiteY129" fmla="*/ 11552 h 437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</a:cxnLst>
            <a:rect l="l" t="t" r="r" b="b"/>
            <a:pathLst>
              <a:path w="20742935" h="4374000">
                <a:moveTo>
                  <a:pt x="10555461" y="2313797"/>
                </a:moveTo>
                <a:cubicBezTo>
                  <a:pt x="10555461" y="2313797"/>
                  <a:pt x="10555461" y="2313797"/>
                  <a:pt x="11078393" y="2313797"/>
                </a:cubicBezTo>
                <a:cubicBezTo>
                  <a:pt x="11310807" y="2313797"/>
                  <a:pt x="11427013" y="2411902"/>
                  <a:pt x="11427013" y="2549249"/>
                </a:cubicBezTo>
                <a:cubicBezTo>
                  <a:pt x="11427013" y="2706217"/>
                  <a:pt x="11291439" y="2784701"/>
                  <a:pt x="11097761" y="2784701"/>
                </a:cubicBezTo>
                <a:cubicBezTo>
                  <a:pt x="11097761" y="2784701"/>
                  <a:pt x="11097761" y="2784701"/>
                  <a:pt x="10555461" y="2784701"/>
                </a:cubicBezTo>
                <a:cubicBezTo>
                  <a:pt x="10555461" y="2784701"/>
                  <a:pt x="10555461" y="2784701"/>
                  <a:pt x="10555461" y="2313797"/>
                </a:cubicBezTo>
                <a:close/>
                <a:moveTo>
                  <a:pt x="5442357" y="1627063"/>
                </a:moveTo>
                <a:cubicBezTo>
                  <a:pt x="5442357" y="1627063"/>
                  <a:pt x="5442357" y="1627063"/>
                  <a:pt x="5732875" y="2313797"/>
                </a:cubicBezTo>
                <a:cubicBezTo>
                  <a:pt x="5732875" y="2313797"/>
                  <a:pt x="5732875" y="2313797"/>
                  <a:pt x="5151840" y="2313797"/>
                </a:cubicBezTo>
                <a:close/>
                <a:moveTo>
                  <a:pt x="2556552" y="1509337"/>
                </a:moveTo>
                <a:cubicBezTo>
                  <a:pt x="2556552" y="1509337"/>
                  <a:pt x="2556552" y="1509337"/>
                  <a:pt x="3002012" y="1509337"/>
                </a:cubicBezTo>
                <a:cubicBezTo>
                  <a:pt x="3215058" y="1509337"/>
                  <a:pt x="3350633" y="1607442"/>
                  <a:pt x="3350633" y="1803652"/>
                </a:cubicBezTo>
                <a:cubicBezTo>
                  <a:pt x="3350633" y="1980241"/>
                  <a:pt x="3234426" y="2117588"/>
                  <a:pt x="3002012" y="2117588"/>
                </a:cubicBezTo>
                <a:cubicBezTo>
                  <a:pt x="3002012" y="2117588"/>
                  <a:pt x="3002012" y="2117588"/>
                  <a:pt x="2556552" y="2117588"/>
                </a:cubicBezTo>
                <a:cubicBezTo>
                  <a:pt x="2556552" y="2117588"/>
                  <a:pt x="2556552" y="2117588"/>
                  <a:pt x="2556552" y="1509337"/>
                </a:cubicBezTo>
                <a:close/>
                <a:moveTo>
                  <a:pt x="10555461" y="1489716"/>
                </a:moveTo>
                <a:cubicBezTo>
                  <a:pt x="10555461" y="1489716"/>
                  <a:pt x="10555461" y="1489716"/>
                  <a:pt x="11000921" y="1489716"/>
                </a:cubicBezTo>
                <a:cubicBezTo>
                  <a:pt x="11194601" y="1489716"/>
                  <a:pt x="11310807" y="1568200"/>
                  <a:pt x="11310807" y="1725168"/>
                </a:cubicBezTo>
                <a:cubicBezTo>
                  <a:pt x="11310807" y="1882136"/>
                  <a:pt x="11175233" y="1940999"/>
                  <a:pt x="10981553" y="1940999"/>
                </a:cubicBezTo>
                <a:cubicBezTo>
                  <a:pt x="10981553" y="1940999"/>
                  <a:pt x="10981553" y="1940999"/>
                  <a:pt x="10555461" y="1940999"/>
                </a:cubicBezTo>
                <a:cubicBezTo>
                  <a:pt x="10555461" y="1940999"/>
                  <a:pt x="10555461" y="1940999"/>
                  <a:pt x="10555461" y="1489716"/>
                </a:cubicBezTo>
                <a:close/>
                <a:moveTo>
                  <a:pt x="10342417" y="1097297"/>
                </a:moveTo>
                <a:cubicBezTo>
                  <a:pt x="10206841" y="1097297"/>
                  <a:pt x="10110001" y="1175781"/>
                  <a:pt x="10110001" y="1332749"/>
                </a:cubicBezTo>
                <a:cubicBezTo>
                  <a:pt x="10110001" y="1332749"/>
                  <a:pt x="10110001" y="1332749"/>
                  <a:pt x="10110001" y="2941669"/>
                </a:cubicBezTo>
                <a:cubicBezTo>
                  <a:pt x="10110001" y="3098637"/>
                  <a:pt x="10206841" y="3177120"/>
                  <a:pt x="10342417" y="3177120"/>
                </a:cubicBezTo>
                <a:cubicBezTo>
                  <a:pt x="10342417" y="3177120"/>
                  <a:pt x="10342417" y="3177120"/>
                  <a:pt x="11097761" y="3177120"/>
                </a:cubicBezTo>
                <a:cubicBezTo>
                  <a:pt x="11562589" y="3177120"/>
                  <a:pt x="11872473" y="3000532"/>
                  <a:pt x="11872473" y="2608112"/>
                </a:cubicBezTo>
                <a:cubicBezTo>
                  <a:pt x="11872473" y="2313797"/>
                  <a:pt x="11717531" y="2176451"/>
                  <a:pt x="11485117" y="2097967"/>
                </a:cubicBezTo>
                <a:cubicBezTo>
                  <a:pt x="11640061" y="1999862"/>
                  <a:pt x="11756267" y="1882136"/>
                  <a:pt x="11756267" y="1627063"/>
                </a:cubicBezTo>
                <a:cubicBezTo>
                  <a:pt x="11756267" y="1489716"/>
                  <a:pt x="11717531" y="1371991"/>
                  <a:pt x="11620693" y="1273886"/>
                </a:cubicBezTo>
                <a:cubicBezTo>
                  <a:pt x="11504485" y="1156160"/>
                  <a:pt x="11310807" y="1097297"/>
                  <a:pt x="11078393" y="1097297"/>
                </a:cubicBezTo>
                <a:close/>
                <a:moveTo>
                  <a:pt x="2324139" y="1097297"/>
                </a:moveTo>
                <a:cubicBezTo>
                  <a:pt x="2188564" y="1097297"/>
                  <a:pt x="2091725" y="1175781"/>
                  <a:pt x="2091725" y="1332749"/>
                </a:cubicBezTo>
                <a:lnTo>
                  <a:pt x="2091725" y="2961290"/>
                </a:lnTo>
                <a:cubicBezTo>
                  <a:pt x="2091725" y="3118258"/>
                  <a:pt x="2188564" y="3196741"/>
                  <a:pt x="2324139" y="3196741"/>
                </a:cubicBezTo>
                <a:cubicBezTo>
                  <a:pt x="2459713" y="3196741"/>
                  <a:pt x="2556552" y="3118258"/>
                  <a:pt x="2556552" y="2961290"/>
                </a:cubicBezTo>
                <a:cubicBezTo>
                  <a:pt x="2556552" y="2961290"/>
                  <a:pt x="2556552" y="2961290"/>
                  <a:pt x="2556552" y="2510007"/>
                </a:cubicBezTo>
                <a:cubicBezTo>
                  <a:pt x="2556552" y="2510007"/>
                  <a:pt x="2556552" y="2510007"/>
                  <a:pt x="2905173" y="2510007"/>
                </a:cubicBezTo>
                <a:cubicBezTo>
                  <a:pt x="2905173" y="2510007"/>
                  <a:pt x="2905173" y="2510007"/>
                  <a:pt x="3350633" y="3079016"/>
                </a:cubicBezTo>
                <a:cubicBezTo>
                  <a:pt x="3408736" y="3157500"/>
                  <a:pt x="3466840" y="3196741"/>
                  <a:pt x="3563679" y="3196741"/>
                </a:cubicBezTo>
                <a:cubicBezTo>
                  <a:pt x="3679886" y="3196741"/>
                  <a:pt x="3796093" y="3098637"/>
                  <a:pt x="3796093" y="2980911"/>
                </a:cubicBezTo>
                <a:cubicBezTo>
                  <a:pt x="3796093" y="2902427"/>
                  <a:pt x="3757357" y="2863185"/>
                  <a:pt x="3718621" y="2804322"/>
                </a:cubicBezTo>
                <a:cubicBezTo>
                  <a:pt x="3718621" y="2804322"/>
                  <a:pt x="3718621" y="2804322"/>
                  <a:pt x="3408736" y="2431523"/>
                </a:cubicBezTo>
                <a:cubicBezTo>
                  <a:pt x="3660518" y="2313797"/>
                  <a:pt x="3815461" y="2117588"/>
                  <a:pt x="3815461" y="1784031"/>
                </a:cubicBezTo>
                <a:cubicBezTo>
                  <a:pt x="3815461" y="1587821"/>
                  <a:pt x="3757357" y="1430854"/>
                  <a:pt x="3641150" y="1313128"/>
                </a:cubicBezTo>
                <a:cubicBezTo>
                  <a:pt x="3505575" y="1175781"/>
                  <a:pt x="3311897" y="1097297"/>
                  <a:pt x="3040748" y="1097297"/>
                </a:cubicBezTo>
                <a:cubicBezTo>
                  <a:pt x="3040748" y="1097297"/>
                  <a:pt x="3040748" y="1097297"/>
                  <a:pt x="2324139" y="1097297"/>
                </a:cubicBezTo>
                <a:close/>
                <a:moveTo>
                  <a:pt x="17799025" y="1077676"/>
                </a:moveTo>
                <a:cubicBezTo>
                  <a:pt x="17682821" y="1077676"/>
                  <a:pt x="17585981" y="1156160"/>
                  <a:pt x="17585981" y="1313128"/>
                </a:cubicBezTo>
                <a:cubicBezTo>
                  <a:pt x="17585981" y="1313128"/>
                  <a:pt x="17585981" y="1313128"/>
                  <a:pt x="17585981" y="2941669"/>
                </a:cubicBezTo>
                <a:cubicBezTo>
                  <a:pt x="17585981" y="3098637"/>
                  <a:pt x="17682821" y="3177120"/>
                  <a:pt x="17799025" y="3177120"/>
                </a:cubicBezTo>
                <a:lnTo>
                  <a:pt x="18883625" y="3177120"/>
                </a:lnTo>
                <a:cubicBezTo>
                  <a:pt x="18999833" y="3177120"/>
                  <a:pt x="19077301" y="3098637"/>
                  <a:pt x="19077301" y="2980911"/>
                </a:cubicBezTo>
                <a:cubicBezTo>
                  <a:pt x="19077301" y="2843564"/>
                  <a:pt x="18999833" y="2765080"/>
                  <a:pt x="18883625" y="2765080"/>
                </a:cubicBezTo>
                <a:cubicBezTo>
                  <a:pt x="18883625" y="2765080"/>
                  <a:pt x="18883625" y="2765080"/>
                  <a:pt x="18031441" y="2765080"/>
                </a:cubicBezTo>
                <a:cubicBezTo>
                  <a:pt x="18031441" y="2765080"/>
                  <a:pt x="18031441" y="2765080"/>
                  <a:pt x="18031441" y="1313128"/>
                </a:cubicBezTo>
                <a:cubicBezTo>
                  <a:pt x="18031441" y="1156160"/>
                  <a:pt x="17934601" y="1077676"/>
                  <a:pt x="17799025" y="1077676"/>
                </a:cubicBezTo>
                <a:close/>
                <a:moveTo>
                  <a:pt x="15707301" y="1077676"/>
                </a:moveTo>
                <a:cubicBezTo>
                  <a:pt x="15571727" y="1077676"/>
                  <a:pt x="15474889" y="1156160"/>
                  <a:pt x="15474889" y="1313128"/>
                </a:cubicBezTo>
                <a:cubicBezTo>
                  <a:pt x="15474889" y="1313128"/>
                  <a:pt x="15474889" y="1313128"/>
                  <a:pt x="15474889" y="2941669"/>
                </a:cubicBezTo>
                <a:cubicBezTo>
                  <a:pt x="15474889" y="3098637"/>
                  <a:pt x="15571727" y="3177120"/>
                  <a:pt x="15707301" y="3177120"/>
                </a:cubicBezTo>
                <a:lnTo>
                  <a:pt x="16772533" y="3177120"/>
                </a:lnTo>
                <a:cubicBezTo>
                  <a:pt x="16888737" y="3177120"/>
                  <a:pt x="16985577" y="3098637"/>
                  <a:pt x="16985577" y="2980911"/>
                </a:cubicBezTo>
                <a:cubicBezTo>
                  <a:pt x="16985577" y="2843564"/>
                  <a:pt x="16888737" y="2765080"/>
                  <a:pt x="16772533" y="2765080"/>
                </a:cubicBezTo>
                <a:cubicBezTo>
                  <a:pt x="16772533" y="2765080"/>
                  <a:pt x="16772533" y="2765080"/>
                  <a:pt x="15939717" y="2765080"/>
                </a:cubicBezTo>
                <a:cubicBezTo>
                  <a:pt x="15939717" y="2765080"/>
                  <a:pt x="15939717" y="2765080"/>
                  <a:pt x="15939717" y="1313128"/>
                </a:cubicBezTo>
                <a:cubicBezTo>
                  <a:pt x="15939717" y="1156160"/>
                  <a:pt x="15842877" y="1077676"/>
                  <a:pt x="15707301" y="1077676"/>
                </a:cubicBezTo>
                <a:close/>
                <a:moveTo>
                  <a:pt x="7417875" y="1077676"/>
                </a:moveTo>
                <a:cubicBezTo>
                  <a:pt x="7301669" y="1077676"/>
                  <a:pt x="7166093" y="1156160"/>
                  <a:pt x="7166093" y="1293507"/>
                </a:cubicBezTo>
                <a:cubicBezTo>
                  <a:pt x="7166093" y="1293507"/>
                  <a:pt x="7166093" y="1293507"/>
                  <a:pt x="7166093" y="2961290"/>
                </a:cubicBezTo>
                <a:cubicBezTo>
                  <a:pt x="7166093" y="3118258"/>
                  <a:pt x="7262933" y="3196741"/>
                  <a:pt x="7398507" y="3196741"/>
                </a:cubicBezTo>
                <a:cubicBezTo>
                  <a:pt x="7514713" y="3196741"/>
                  <a:pt x="7611553" y="3118258"/>
                  <a:pt x="7611553" y="2961290"/>
                </a:cubicBezTo>
                <a:cubicBezTo>
                  <a:pt x="7611553" y="2961290"/>
                  <a:pt x="7611553" y="2961290"/>
                  <a:pt x="7611553" y="1940999"/>
                </a:cubicBezTo>
                <a:cubicBezTo>
                  <a:pt x="7611553" y="1940999"/>
                  <a:pt x="7611553" y="1940999"/>
                  <a:pt x="7998909" y="2549249"/>
                </a:cubicBezTo>
                <a:cubicBezTo>
                  <a:pt x="8057013" y="2627733"/>
                  <a:pt x="8115117" y="2666975"/>
                  <a:pt x="8192589" y="2666975"/>
                </a:cubicBezTo>
                <a:cubicBezTo>
                  <a:pt x="8289427" y="2666975"/>
                  <a:pt x="8347531" y="2627733"/>
                  <a:pt x="8386265" y="2549249"/>
                </a:cubicBezTo>
                <a:cubicBezTo>
                  <a:pt x="8386265" y="2549249"/>
                  <a:pt x="8386265" y="2549249"/>
                  <a:pt x="8773621" y="1921378"/>
                </a:cubicBezTo>
                <a:cubicBezTo>
                  <a:pt x="8773621" y="1921378"/>
                  <a:pt x="8773621" y="1921378"/>
                  <a:pt x="8773621" y="2961290"/>
                </a:cubicBezTo>
                <a:cubicBezTo>
                  <a:pt x="8773621" y="3118258"/>
                  <a:pt x="8870461" y="3196741"/>
                  <a:pt x="9006037" y="3196741"/>
                </a:cubicBezTo>
                <a:cubicBezTo>
                  <a:pt x="9141611" y="3196741"/>
                  <a:pt x="9238449" y="3118258"/>
                  <a:pt x="9238449" y="2961290"/>
                </a:cubicBezTo>
                <a:lnTo>
                  <a:pt x="9238449" y="1293507"/>
                </a:lnTo>
                <a:cubicBezTo>
                  <a:pt x="9238449" y="1156160"/>
                  <a:pt x="9102875" y="1077676"/>
                  <a:pt x="8986669" y="1077676"/>
                </a:cubicBezTo>
                <a:cubicBezTo>
                  <a:pt x="8870461" y="1077676"/>
                  <a:pt x="8792989" y="1116918"/>
                  <a:pt x="8734887" y="1215023"/>
                </a:cubicBezTo>
                <a:cubicBezTo>
                  <a:pt x="8734887" y="1215023"/>
                  <a:pt x="8734887" y="1215023"/>
                  <a:pt x="8211955" y="2097967"/>
                </a:cubicBezTo>
                <a:cubicBezTo>
                  <a:pt x="8211955" y="2097967"/>
                  <a:pt x="8211955" y="2097967"/>
                  <a:pt x="7669657" y="1215023"/>
                </a:cubicBezTo>
                <a:cubicBezTo>
                  <a:pt x="7611553" y="1116918"/>
                  <a:pt x="7534081" y="1077676"/>
                  <a:pt x="7417875" y="1077676"/>
                </a:cubicBezTo>
                <a:close/>
                <a:moveTo>
                  <a:pt x="5461725" y="1058055"/>
                </a:moveTo>
                <a:cubicBezTo>
                  <a:pt x="5306783" y="1058055"/>
                  <a:pt x="5229311" y="1136539"/>
                  <a:pt x="5171208" y="1234644"/>
                </a:cubicBezTo>
                <a:cubicBezTo>
                  <a:pt x="5171208" y="1234644"/>
                  <a:pt x="5171208" y="1234644"/>
                  <a:pt x="4454599" y="2882806"/>
                </a:cubicBezTo>
                <a:cubicBezTo>
                  <a:pt x="4435231" y="2922048"/>
                  <a:pt x="4435231" y="2961290"/>
                  <a:pt x="4435231" y="3000532"/>
                </a:cubicBezTo>
                <a:cubicBezTo>
                  <a:pt x="4435231" y="3118258"/>
                  <a:pt x="4532070" y="3196741"/>
                  <a:pt x="4648277" y="3196741"/>
                </a:cubicBezTo>
                <a:cubicBezTo>
                  <a:pt x="4745116" y="3196741"/>
                  <a:pt x="4803219" y="3157500"/>
                  <a:pt x="4841955" y="3059395"/>
                </a:cubicBezTo>
                <a:cubicBezTo>
                  <a:pt x="4841955" y="3059395"/>
                  <a:pt x="4841955" y="3059395"/>
                  <a:pt x="4996897" y="2706217"/>
                </a:cubicBezTo>
                <a:cubicBezTo>
                  <a:pt x="4996897" y="2706217"/>
                  <a:pt x="4996897" y="2706217"/>
                  <a:pt x="5907185" y="2706217"/>
                </a:cubicBezTo>
                <a:lnTo>
                  <a:pt x="6042760" y="3059395"/>
                </a:lnTo>
                <a:cubicBezTo>
                  <a:pt x="6081495" y="3157500"/>
                  <a:pt x="6158967" y="3196741"/>
                  <a:pt x="6255805" y="3196741"/>
                </a:cubicBezTo>
                <a:cubicBezTo>
                  <a:pt x="6372013" y="3196741"/>
                  <a:pt x="6468853" y="3118258"/>
                  <a:pt x="6468853" y="3000532"/>
                </a:cubicBezTo>
                <a:cubicBezTo>
                  <a:pt x="6468853" y="2961290"/>
                  <a:pt x="6468853" y="2922048"/>
                  <a:pt x="6449485" y="2882806"/>
                </a:cubicBezTo>
                <a:cubicBezTo>
                  <a:pt x="6449485" y="2882806"/>
                  <a:pt x="6449485" y="2882806"/>
                  <a:pt x="5732875" y="1234644"/>
                </a:cubicBezTo>
                <a:cubicBezTo>
                  <a:pt x="5674771" y="1136539"/>
                  <a:pt x="5597300" y="1058055"/>
                  <a:pt x="5461725" y="1058055"/>
                </a:cubicBezTo>
                <a:close/>
                <a:moveTo>
                  <a:pt x="847119" y="0"/>
                </a:moveTo>
                <a:lnTo>
                  <a:pt x="14021983" y="0"/>
                </a:lnTo>
                <a:lnTo>
                  <a:pt x="14021847" y="630"/>
                </a:lnTo>
                <a:cubicBezTo>
                  <a:pt x="14018669" y="15384"/>
                  <a:pt x="13993249" y="133416"/>
                  <a:pt x="13789889" y="1077676"/>
                </a:cubicBezTo>
                <a:cubicBezTo>
                  <a:pt x="13731785" y="1058055"/>
                  <a:pt x="13673681" y="1058055"/>
                  <a:pt x="13615577" y="1058055"/>
                </a:cubicBezTo>
                <a:cubicBezTo>
                  <a:pt x="12976439" y="1058055"/>
                  <a:pt x="12511613" y="1548579"/>
                  <a:pt x="12511613" y="2137209"/>
                </a:cubicBezTo>
                <a:cubicBezTo>
                  <a:pt x="12511613" y="2745459"/>
                  <a:pt x="12957071" y="3216362"/>
                  <a:pt x="13596209" y="3216362"/>
                </a:cubicBezTo>
                <a:cubicBezTo>
                  <a:pt x="14235349" y="3216362"/>
                  <a:pt x="14700175" y="2725838"/>
                  <a:pt x="14700175" y="2137209"/>
                </a:cubicBezTo>
                <a:cubicBezTo>
                  <a:pt x="14700175" y="1960620"/>
                  <a:pt x="14661441" y="1784031"/>
                  <a:pt x="14583969" y="1646684"/>
                </a:cubicBezTo>
                <a:cubicBezTo>
                  <a:pt x="14583969" y="1646684"/>
                  <a:pt x="14583969" y="1646684"/>
                  <a:pt x="14196613" y="1940999"/>
                </a:cubicBezTo>
                <a:cubicBezTo>
                  <a:pt x="14215981" y="1999862"/>
                  <a:pt x="14235349" y="2078346"/>
                  <a:pt x="14235349" y="2137209"/>
                </a:cubicBezTo>
                <a:cubicBezTo>
                  <a:pt x="14235349" y="2510007"/>
                  <a:pt x="13983565" y="2784701"/>
                  <a:pt x="13615577" y="2784701"/>
                </a:cubicBezTo>
                <a:cubicBezTo>
                  <a:pt x="13247589" y="2784701"/>
                  <a:pt x="12976439" y="2490386"/>
                  <a:pt x="12976439" y="2137209"/>
                </a:cubicBezTo>
                <a:cubicBezTo>
                  <a:pt x="12976439" y="1784031"/>
                  <a:pt x="13228221" y="1489716"/>
                  <a:pt x="13596209" y="1489716"/>
                </a:cubicBezTo>
                <a:cubicBezTo>
                  <a:pt x="13634945" y="1489716"/>
                  <a:pt x="13654313" y="1489716"/>
                  <a:pt x="13693049" y="1489716"/>
                </a:cubicBezTo>
                <a:cubicBezTo>
                  <a:pt x="13693049" y="1489716"/>
                  <a:pt x="13693049" y="1489716"/>
                  <a:pt x="13518737" y="2274556"/>
                </a:cubicBezTo>
                <a:cubicBezTo>
                  <a:pt x="13518737" y="2274556"/>
                  <a:pt x="13518737" y="2274556"/>
                  <a:pt x="13576841" y="2313797"/>
                </a:cubicBezTo>
                <a:cubicBezTo>
                  <a:pt x="13576841" y="2313797"/>
                  <a:pt x="13576841" y="2313797"/>
                  <a:pt x="15302449" y="208867"/>
                </a:cubicBezTo>
                <a:lnTo>
                  <a:pt x="15473677" y="0"/>
                </a:lnTo>
                <a:lnTo>
                  <a:pt x="19895817" y="0"/>
                </a:lnTo>
                <a:lnTo>
                  <a:pt x="20086775" y="11552"/>
                </a:lnTo>
                <a:cubicBezTo>
                  <a:pt x="20517065" y="68345"/>
                  <a:pt x="20714017" y="312956"/>
                  <a:pt x="20739957" y="787481"/>
                </a:cubicBezTo>
                <a:lnTo>
                  <a:pt x="20742935" y="901016"/>
                </a:lnTo>
                <a:lnTo>
                  <a:pt x="20742935" y="3471506"/>
                </a:lnTo>
                <a:lnTo>
                  <a:pt x="20739957" y="3585041"/>
                </a:lnTo>
                <a:cubicBezTo>
                  <a:pt x="20710027" y="4132570"/>
                  <a:pt x="20452417" y="4374000"/>
                  <a:pt x="19871385" y="4374000"/>
                </a:cubicBezTo>
                <a:lnTo>
                  <a:pt x="871552" y="4374000"/>
                </a:lnTo>
                <a:cubicBezTo>
                  <a:pt x="251782" y="4374000"/>
                  <a:pt x="0" y="4099306"/>
                  <a:pt x="0" y="3471435"/>
                </a:cubicBezTo>
                <a:cubicBezTo>
                  <a:pt x="0" y="3471435"/>
                  <a:pt x="0" y="3471435"/>
                  <a:pt x="0" y="901087"/>
                </a:cubicBezTo>
                <a:cubicBezTo>
                  <a:pt x="0" y="351700"/>
                  <a:pt x="192771" y="72714"/>
                  <a:pt x="656161" y="11552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GB"/>
              <a:t>vel</a:t>
            </a:r>
          </a:p>
        </p:txBody>
      </p:sp>
      <p:sp>
        <p:nvSpPr>
          <p:cNvPr id="11" name="Slide Number Placeholder 5" hidden="1">
            <a:extLst>
              <a:ext uri="{FF2B5EF4-FFF2-40B4-BE49-F238E27FC236}">
                <a16:creationId xmlns:a16="http://schemas.microsoft.com/office/drawing/2014/main" id="{F8065A6C-B087-4C37-B9BF-238078D124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2" name="Footer Placeholder 4" hidden="1">
            <a:extLst>
              <a:ext uri="{FF2B5EF4-FFF2-40B4-BE49-F238E27FC236}">
                <a16:creationId xmlns:a16="http://schemas.microsoft.com/office/drawing/2014/main" id="{E644527C-AD14-4EB9-ADCA-31C61EBA65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100" baseline="0">
                <a:noFill/>
              </a:defRPr>
            </a:lvl1pPr>
          </a:lstStyle>
          <a:p>
            <a:pPr algn="r"/>
            <a:endParaRPr lang="x-none"/>
          </a:p>
        </p:txBody>
      </p:sp>
      <p:sp>
        <p:nvSpPr>
          <p:cNvPr id="13" name="Date_DateCustomA" hidden="1">
            <a:extLst>
              <a:ext uri="{FF2B5EF4-FFF2-40B4-BE49-F238E27FC236}">
                <a16:creationId xmlns:a16="http://schemas.microsoft.com/office/drawing/2014/main" id="{264006B7-F2E6-4F4A-8D05-3F44F8F318B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buNone/>
              <a:defRPr lang="en-GB" sz="100" smtClean="0">
                <a:noFill/>
              </a:defRPr>
            </a:lvl1pPr>
          </a:lstStyle>
          <a:p>
            <a:pPr algn="r"/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2311605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/>
          <p:cNvSpPr/>
          <p:nvPr userDrawn="1"/>
        </p:nvSpPr>
        <p:spPr>
          <a:xfrm>
            <a:off x="0" y="0"/>
            <a:ext cx="12191187" cy="685641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-1" y="0"/>
            <a:ext cx="12194787" cy="6860012"/>
          </a:xfrm>
          <a:solidFill>
            <a:srgbClr val="F6F6F4"/>
          </a:solidFill>
        </p:spPr>
        <p:txBody>
          <a:bodyPr tIns="0" anchor="t" anchorCtr="0"/>
          <a:lstStyle>
            <a:lvl1pPr marL="0" indent="0" algn="ctr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D502E4A2-448F-4BE7-8814-15A06BDE1CF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798617" y="6158174"/>
            <a:ext cx="1220559" cy="255541"/>
          </a:xfrm>
          <a:custGeom>
            <a:avLst/>
            <a:gdLst>
              <a:gd name="connsiteX0" fmla="*/ 10555461 w 20742935"/>
              <a:gd name="connsiteY0" fmla="*/ 2313797 h 4374000"/>
              <a:gd name="connsiteX1" fmla="*/ 11078393 w 20742935"/>
              <a:gd name="connsiteY1" fmla="*/ 2313797 h 4374000"/>
              <a:gd name="connsiteX2" fmla="*/ 11427013 w 20742935"/>
              <a:gd name="connsiteY2" fmla="*/ 2549249 h 4374000"/>
              <a:gd name="connsiteX3" fmla="*/ 11097761 w 20742935"/>
              <a:gd name="connsiteY3" fmla="*/ 2784701 h 4374000"/>
              <a:gd name="connsiteX4" fmla="*/ 10555461 w 20742935"/>
              <a:gd name="connsiteY4" fmla="*/ 2784701 h 4374000"/>
              <a:gd name="connsiteX5" fmla="*/ 10555461 w 20742935"/>
              <a:gd name="connsiteY5" fmla="*/ 2313797 h 4374000"/>
              <a:gd name="connsiteX6" fmla="*/ 5442357 w 20742935"/>
              <a:gd name="connsiteY6" fmla="*/ 1627063 h 4374000"/>
              <a:gd name="connsiteX7" fmla="*/ 5732875 w 20742935"/>
              <a:gd name="connsiteY7" fmla="*/ 2313797 h 4374000"/>
              <a:gd name="connsiteX8" fmla="*/ 5151840 w 20742935"/>
              <a:gd name="connsiteY8" fmla="*/ 2313797 h 4374000"/>
              <a:gd name="connsiteX9" fmla="*/ 2556552 w 20742935"/>
              <a:gd name="connsiteY9" fmla="*/ 1509337 h 4374000"/>
              <a:gd name="connsiteX10" fmla="*/ 3002012 w 20742935"/>
              <a:gd name="connsiteY10" fmla="*/ 1509337 h 4374000"/>
              <a:gd name="connsiteX11" fmla="*/ 3350633 w 20742935"/>
              <a:gd name="connsiteY11" fmla="*/ 1803652 h 4374000"/>
              <a:gd name="connsiteX12" fmla="*/ 3002012 w 20742935"/>
              <a:gd name="connsiteY12" fmla="*/ 2117588 h 4374000"/>
              <a:gd name="connsiteX13" fmla="*/ 2556552 w 20742935"/>
              <a:gd name="connsiteY13" fmla="*/ 2117588 h 4374000"/>
              <a:gd name="connsiteX14" fmla="*/ 2556552 w 20742935"/>
              <a:gd name="connsiteY14" fmla="*/ 1509337 h 4374000"/>
              <a:gd name="connsiteX15" fmla="*/ 10555461 w 20742935"/>
              <a:gd name="connsiteY15" fmla="*/ 1489716 h 4374000"/>
              <a:gd name="connsiteX16" fmla="*/ 11000921 w 20742935"/>
              <a:gd name="connsiteY16" fmla="*/ 1489716 h 4374000"/>
              <a:gd name="connsiteX17" fmla="*/ 11310807 w 20742935"/>
              <a:gd name="connsiteY17" fmla="*/ 1725168 h 4374000"/>
              <a:gd name="connsiteX18" fmla="*/ 10981553 w 20742935"/>
              <a:gd name="connsiteY18" fmla="*/ 1940999 h 4374000"/>
              <a:gd name="connsiteX19" fmla="*/ 10555461 w 20742935"/>
              <a:gd name="connsiteY19" fmla="*/ 1940999 h 4374000"/>
              <a:gd name="connsiteX20" fmla="*/ 10555461 w 20742935"/>
              <a:gd name="connsiteY20" fmla="*/ 1489716 h 4374000"/>
              <a:gd name="connsiteX21" fmla="*/ 10342417 w 20742935"/>
              <a:gd name="connsiteY21" fmla="*/ 1097297 h 4374000"/>
              <a:gd name="connsiteX22" fmla="*/ 10110001 w 20742935"/>
              <a:gd name="connsiteY22" fmla="*/ 1332749 h 4374000"/>
              <a:gd name="connsiteX23" fmla="*/ 10110001 w 20742935"/>
              <a:gd name="connsiteY23" fmla="*/ 2941669 h 4374000"/>
              <a:gd name="connsiteX24" fmla="*/ 10342417 w 20742935"/>
              <a:gd name="connsiteY24" fmla="*/ 3177120 h 4374000"/>
              <a:gd name="connsiteX25" fmla="*/ 11097761 w 20742935"/>
              <a:gd name="connsiteY25" fmla="*/ 3177120 h 4374000"/>
              <a:gd name="connsiteX26" fmla="*/ 11872473 w 20742935"/>
              <a:gd name="connsiteY26" fmla="*/ 2608112 h 4374000"/>
              <a:gd name="connsiteX27" fmla="*/ 11485117 w 20742935"/>
              <a:gd name="connsiteY27" fmla="*/ 2097967 h 4374000"/>
              <a:gd name="connsiteX28" fmla="*/ 11756267 w 20742935"/>
              <a:gd name="connsiteY28" fmla="*/ 1627063 h 4374000"/>
              <a:gd name="connsiteX29" fmla="*/ 11620693 w 20742935"/>
              <a:gd name="connsiteY29" fmla="*/ 1273886 h 4374000"/>
              <a:gd name="connsiteX30" fmla="*/ 11078393 w 20742935"/>
              <a:gd name="connsiteY30" fmla="*/ 1097297 h 4374000"/>
              <a:gd name="connsiteX31" fmla="*/ 2324139 w 20742935"/>
              <a:gd name="connsiteY31" fmla="*/ 1097297 h 4374000"/>
              <a:gd name="connsiteX32" fmla="*/ 2091725 w 20742935"/>
              <a:gd name="connsiteY32" fmla="*/ 1332749 h 4374000"/>
              <a:gd name="connsiteX33" fmla="*/ 2091725 w 20742935"/>
              <a:gd name="connsiteY33" fmla="*/ 2961290 h 4374000"/>
              <a:gd name="connsiteX34" fmla="*/ 2324139 w 20742935"/>
              <a:gd name="connsiteY34" fmla="*/ 3196741 h 4374000"/>
              <a:gd name="connsiteX35" fmla="*/ 2556552 w 20742935"/>
              <a:gd name="connsiteY35" fmla="*/ 2961290 h 4374000"/>
              <a:gd name="connsiteX36" fmla="*/ 2556552 w 20742935"/>
              <a:gd name="connsiteY36" fmla="*/ 2510007 h 4374000"/>
              <a:gd name="connsiteX37" fmla="*/ 2905173 w 20742935"/>
              <a:gd name="connsiteY37" fmla="*/ 2510007 h 4374000"/>
              <a:gd name="connsiteX38" fmla="*/ 3350633 w 20742935"/>
              <a:gd name="connsiteY38" fmla="*/ 3079016 h 4374000"/>
              <a:gd name="connsiteX39" fmla="*/ 3563679 w 20742935"/>
              <a:gd name="connsiteY39" fmla="*/ 3196741 h 4374000"/>
              <a:gd name="connsiteX40" fmla="*/ 3796093 w 20742935"/>
              <a:gd name="connsiteY40" fmla="*/ 2980911 h 4374000"/>
              <a:gd name="connsiteX41" fmla="*/ 3718621 w 20742935"/>
              <a:gd name="connsiteY41" fmla="*/ 2804322 h 4374000"/>
              <a:gd name="connsiteX42" fmla="*/ 3408736 w 20742935"/>
              <a:gd name="connsiteY42" fmla="*/ 2431523 h 4374000"/>
              <a:gd name="connsiteX43" fmla="*/ 3815461 w 20742935"/>
              <a:gd name="connsiteY43" fmla="*/ 1784031 h 4374000"/>
              <a:gd name="connsiteX44" fmla="*/ 3641150 w 20742935"/>
              <a:gd name="connsiteY44" fmla="*/ 1313128 h 4374000"/>
              <a:gd name="connsiteX45" fmla="*/ 3040748 w 20742935"/>
              <a:gd name="connsiteY45" fmla="*/ 1097297 h 4374000"/>
              <a:gd name="connsiteX46" fmla="*/ 2324139 w 20742935"/>
              <a:gd name="connsiteY46" fmla="*/ 1097297 h 4374000"/>
              <a:gd name="connsiteX47" fmla="*/ 17799025 w 20742935"/>
              <a:gd name="connsiteY47" fmla="*/ 1077676 h 4374000"/>
              <a:gd name="connsiteX48" fmla="*/ 17585981 w 20742935"/>
              <a:gd name="connsiteY48" fmla="*/ 1313128 h 4374000"/>
              <a:gd name="connsiteX49" fmla="*/ 17585981 w 20742935"/>
              <a:gd name="connsiteY49" fmla="*/ 2941669 h 4374000"/>
              <a:gd name="connsiteX50" fmla="*/ 17799025 w 20742935"/>
              <a:gd name="connsiteY50" fmla="*/ 3177120 h 4374000"/>
              <a:gd name="connsiteX51" fmla="*/ 18883625 w 20742935"/>
              <a:gd name="connsiteY51" fmla="*/ 3177120 h 4374000"/>
              <a:gd name="connsiteX52" fmla="*/ 19077301 w 20742935"/>
              <a:gd name="connsiteY52" fmla="*/ 2980911 h 4374000"/>
              <a:gd name="connsiteX53" fmla="*/ 18883625 w 20742935"/>
              <a:gd name="connsiteY53" fmla="*/ 2765080 h 4374000"/>
              <a:gd name="connsiteX54" fmla="*/ 18031441 w 20742935"/>
              <a:gd name="connsiteY54" fmla="*/ 2765080 h 4374000"/>
              <a:gd name="connsiteX55" fmla="*/ 18031441 w 20742935"/>
              <a:gd name="connsiteY55" fmla="*/ 1313128 h 4374000"/>
              <a:gd name="connsiteX56" fmla="*/ 17799025 w 20742935"/>
              <a:gd name="connsiteY56" fmla="*/ 1077676 h 4374000"/>
              <a:gd name="connsiteX57" fmla="*/ 15707301 w 20742935"/>
              <a:gd name="connsiteY57" fmla="*/ 1077676 h 4374000"/>
              <a:gd name="connsiteX58" fmla="*/ 15474889 w 20742935"/>
              <a:gd name="connsiteY58" fmla="*/ 1313128 h 4374000"/>
              <a:gd name="connsiteX59" fmla="*/ 15474889 w 20742935"/>
              <a:gd name="connsiteY59" fmla="*/ 2941669 h 4374000"/>
              <a:gd name="connsiteX60" fmla="*/ 15707301 w 20742935"/>
              <a:gd name="connsiteY60" fmla="*/ 3177120 h 4374000"/>
              <a:gd name="connsiteX61" fmla="*/ 16772533 w 20742935"/>
              <a:gd name="connsiteY61" fmla="*/ 3177120 h 4374000"/>
              <a:gd name="connsiteX62" fmla="*/ 16985577 w 20742935"/>
              <a:gd name="connsiteY62" fmla="*/ 2980911 h 4374000"/>
              <a:gd name="connsiteX63" fmla="*/ 16772533 w 20742935"/>
              <a:gd name="connsiteY63" fmla="*/ 2765080 h 4374000"/>
              <a:gd name="connsiteX64" fmla="*/ 15939717 w 20742935"/>
              <a:gd name="connsiteY64" fmla="*/ 2765080 h 4374000"/>
              <a:gd name="connsiteX65" fmla="*/ 15939717 w 20742935"/>
              <a:gd name="connsiteY65" fmla="*/ 1313128 h 4374000"/>
              <a:gd name="connsiteX66" fmla="*/ 15707301 w 20742935"/>
              <a:gd name="connsiteY66" fmla="*/ 1077676 h 4374000"/>
              <a:gd name="connsiteX67" fmla="*/ 7417875 w 20742935"/>
              <a:gd name="connsiteY67" fmla="*/ 1077676 h 4374000"/>
              <a:gd name="connsiteX68" fmla="*/ 7166093 w 20742935"/>
              <a:gd name="connsiteY68" fmla="*/ 1293507 h 4374000"/>
              <a:gd name="connsiteX69" fmla="*/ 7166093 w 20742935"/>
              <a:gd name="connsiteY69" fmla="*/ 2961290 h 4374000"/>
              <a:gd name="connsiteX70" fmla="*/ 7398507 w 20742935"/>
              <a:gd name="connsiteY70" fmla="*/ 3196741 h 4374000"/>
              <a:gd name="connsiteX71" fmla="*/ 7611553 w 20742935"/>
              <a:gd name="connsiteY71" fmla="*/ 2961290 h 4374000"/>
              <a:gd name="connsiteX72" fmla="*/ 7611553 w 20742935"/>
              <a:gd name="connsiteY72" fmla="*/ 1940999 h 4374000"/>
              <a:gd name="connsiteX73" fmla="*/ 7998909 w 20742935"/>
              <a:gd name="connsiteY73" fmla="*/ 2549249 h 4374000"/>
              <a:gd name="connsiteX74" fmla="*/ 8192589 w 20742935"/>
              <a:gd name="connsiteY74" fmla="*/ 2666975 h 4374000"/>
              <a:gd name="connsiteX75" fmla="*/ 8386265 w 20742935"/>
              <a:gd name="connsiteY75" fmla="*/ 2549249 h 4374000"/>
              <a:gd name="connsiteX76" fmla="*/ 8773621 w 20742935"/>
              <a:gd name="connsiteY76" fmla="*/ 1921378 h 4374000"/>
              <a:gd name="connsiteX77" fmla="*/ 8773621 w 20742935"/>
              <a:gd name="connsiteY77" fmla="*/ 2961290 h 4374000"/>
              <a:gd name="connsiteX78" fmla="*/ 9006037 w 20742935"/>
              <a:gd name="connsiteY78" fmla="*/ 3196741 h 4374000"/>
              <a:gd name="connsiteX79" fmla="*/ 9238449 w 20742935"/>
              <a:gd name="connsiteY79" fmla="*/ 2961290 h 4374000"/>
              <a:gd name="connsiteX80" fmla="*/ 9238449 w 20742935"/>
              <a:gd name="connsiteY80" fmla="*/ 1293507 h 4374000"/>
              <a:gd name="connsiteX81" fmla="*/ 8986669 w 20742935"/>
              <a:gd name="connsiteY81" fmla="*/ 1077676 h 4374000"/>
              <a:gd name="connsiteX82" fmla="*/ 8734887 w 20742935"/>
              <a:gd name="connsiteY82" fmla="*/ 1215023 h 4374000"/>
              <a:gd name="connsiteX83" fmla="*/ 8211955 w 20742935"/>
              <a:gd name="connsiteY83" fmla="*/ 2097967 h 4374000"/>
              <a:gd name="connsiteX84" fmla="*/ 7669657 w 20742935"/>
              <a:gd name="connsiteY84" fmla="*/ 1215023 h 4374000"/>
              <a:gd name="connsiteX85" fmla="*/ 7417875 w 20742935"/>
              <a:gd name="connsiteY85" fmla="*/ 1077676 h 4374000"/>
              <a:gd name="connsiteX86" fmla="*/ 5461725 w 20742935"/>
              <a:gd name="connsiteY86" fmla="*/ 1058055 h 4374000"/>
              <a:gd name="connsiteX87" fmla="*/ 5171208 w 20742935"/>
              <a:gd name="connsiteY87" fmla="*/ 1234644 h 4374000"/>
              <a:gd name="connsiteX88" fmla="*/ 4454599 w 20742935"/>
              <a:gd name="connsiteY88" fmla="*/ 2882806 h 4374000"/>
              <a:gd name="connsiteX89" fmla="*/ 4435231 w 20742935"/>
              <a:gd name="connsiteY89" fmla="*/ 3000532 h 4374000"/>
              <a:gd name="connsiteX90" fmla="*/ 4648277 w 20742935"/>
              <a:gd name="connsiteY90" fmla="*/ 3196741 h 4374000"/>
              <a:gd name="connsiteX91" fmla="*/ 4841955 w 20742935"/>
              <a:gd name="connsiteY91" fmla="*/ 3059395 h 4374000"/>
              <a:gd name="connsiteX92" fmla="*/ 4996897 w 20742935"/>
              <a:gd name="connsiteY92" fmla="*/ 2706217 h 4374000"/>
              <a:gd name="connsiteX93" fmla="*/ 5907185 w 20742935"/>
              <a:gd name="connsiteY93" fmla="*/ 2706217 h 4374000"/>
              <a:gd name="connsiteX94" fmla="*/ 6042760 w 20742935"/>
              <a:gd name="connsiteY94" fmla="*/ 3059395 h 4374000"/>
              <a:gd name="connsiteX95" fmla="*/ 6255805 w 20742935"/>
              <a:gd name="connsiteY95" fmla="*/ 3196741 h 4374000"/>
              <a:gd name="connsiteX96" fmla="*/ 6468853 w 20742935"/>
              <a:gd name="connsiteY96" fmla="*/ 3000532 h 4374000"/>
              <a:gd name="connsiteX97" fmla="*/ 6449485 w 20742935"/>
              <a:gd name="connsiteY97" fmla="*/ 2882806 h 4374000"/>
              <a:gd name="connsiteX98" fmla="*/ 5732875 w 20742935"/>
              <a:gd name="connsiteY98" fmla="*/ 1234644 h 4374000"/>
              <a:gd name="connsiteX99" fmla="*/ 5461725 w 20742935"/>
              <a:gd name="connsiteY99" fmla="*/ 1058055 h 4374000"/>
              <a:gd name="connsiteX100" fmla="*/ 847119 w 20742935"/>
              <a:gd name="connsiteY100" fmla="*/ 0 h 4374000"/>
              <a:gd name="connsiteX101" fmla="*/ 14021983 w 20742935"/>
              <a:gd name="connsiteY101" fmla="*/ 0 h 4374000"/>
              <a:gd name="connsiteX102" fmla="*/ 14021847 w 20742935"/>
              <a:gd name="connsiteY102" fmla="*/ 630 h 4374000"/>
              <a:gd name="connsiteX103" fmla="*/ 13789889 w 20742935"/>
              <a:gd name="connsiteY103" fmla="*/ 1077676 h 4374000"/>
              <a:gd name="connsiteX104" fmla="*/ 13615577 w 20742935"/>
              <a:gd name="connsiteY104" fmla="*/ 1058055 h 4374000"/>
              <a:gd name="connsiteX105" fmla="*/ 12511613 w 20742935"/>
              <a:gd name="connsiteY105" fmla="*/ 2137209 h 4374000"/>
              <a:gd name="connsiteX106" fmla="*/ 13596209 w 20742935"/>
              <a:gd name="connsiteY106" fmla="*/ 3216362 h 4374000"/>
              <a:gd name="connsiteX107" fmla="*/ 14700175 w 20742935"/>
              <a:gd name="connsiteY107" fmla="*/ 2137209 h 4374000"/>
              <a:gd name="connsiteX108" fmla="*/ 14583969 w 20742935"/>
              <a:gd name="connsiteY108" fmla="*/ 1646684 h 4374000"/>
              <a:gd name="connsiteX109" fmla="*/ 14196613 w 20742935"/>
              <a:gd name="connsiteY109" fmla="*/ 1940999 h 4374000"/>
              <a:gd name="connsiteX110" fmla="*/ 14235349 w 20742935"/>
              <a:gd name="connsiteY110" fmla="*/ 2137209 h 4374000"/>
              <a:gd name="connsiteX111" fmla="*/ 13615577 w 20742935"/>
              <a:gd name="connsiteY111" fmla="*/ 2784701 h 4374000"/>
              <a:gd name="connsiteX112" fmla="*/ 12976439 w 20742935"/>
              <a:gd name="connsiteY112" fmla="*/ 2137209 h 4374000"/>
              <a:gd name="connsiteX113" fmla="*/ 13596209 w 20742935"/>
              <a:gd name="connsiteY113" fmla="*/ 1489716 h 4374000"/>
              <a:gd name="connsiteX114" fmla="*/ 13693049 w 20742935"/>
              <a:gd name="connsiteY114" fmla="*/ 1489716 h 4374000"/>
              <a:gd name="connsiteX115" fmla="*/ 13518737 w 20742935"/>
              <a:gd name="connsiteY115" fmla="*/ 2274556 h 4374000"/>
              <a:gd name="connsiteX116" fmla="*/ 13576841 w 20742935"/>
              <a:gd name="connsiteY116" fmla="*/ 2313797 h 4374000"/>
              <a:gd name="connsiteX117" fmla="*/ 15302449 w 20742935"/>
              <a:gd name="connsiteY117" fmla="*/ 208867 h 4374000"/>
              <a:gd name="connsiteX118" fmla="*/ 15473677 w 20742935"/>
              <a:gd name="connsiteY118" fmla="*/ 0 h 4374000"/>
              <a:gd name="connsiteX119" fmla="*/ 19895817 w 20742935"/>
              <a:gd name="connsiteY119" fmla="*/ 0 h 4374000"/>
              <a:gd name="connsiteX120" fmla="*/ 20086775 w 20742935"/>
              <a:gd name="connsiteY120" fmla="*/ 11552 h 4374000"/>
              <a:gd name="connsiteX121" fmla="*/ 20739957 w 20742935"/>
              <a:gd name="connsiteY121" fmla="*/ 787481 h 4374000"/>
              <a:gd name="connsiteX122" fmla="*/ 20742935 w 20742935"/>
              <a:gd name="connsiteY122" fmla="*/ 901016 h 4374000"/>
              <a:gd name="connsiteX123" fmla="*/ 20742935 w 20742935"/>
              <a:gd name="connsiteY123" fmla="*/ 3471506 h 4374000"/>
              <a:gd name="connsiteX124" fmla="*/ 20739957 w 20742935"/>
              <a:gd name="connsiteY124" fmla="*/ 3585041 h 4374000"/>
              <a:gd name="connsiteX125" fmla="*/ 19871385 w 20742935"/>
              <a:gd name="connsiteY125" fmla="*/ 4374000 h 4374000"/>
              <a:gd name="connsiteX126" fmla="*/ 871552 w 20742935"/>
              <a:gd name="connsiteY126" fmla="*/ 4374000 h 4374000"/>
              <a:gd name="connsiteX127" fmla="*/ 0 w 20742935"/>
              <a:gd name="connsiteY127" fmla="*/ 3471435 h 4374000"/>
              <a:gd name="connsiteX128" fmla="*/ 0 w 20742935"/>
              <a:gd name="connsiteY128" fmla="*/ 901087 h 4374000"/>
              <a:gd name="connsiteX129" fmla="*/ 656161 w 20742935"/>
              <a:gd name="connsiteY129" fmla="*/ 11552 h 437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</a:cxnLst>
            <a:rect l="l" t="t" r="r" b="b"/>
            <a:pathLst>
              <a:path w="20742935" h="4374000">
                <a:moveTo>
                  <a:pt x="10555461" y="2313797"/>
                </a:moveTo>
                <a:cubicBezTo>
                  <a:pt x="10555461" y="2313797"/>
                  <a:pt x="10555461" y="2313797"/>
                  <a:pt x="11078393" y="2313797"/>
                </a:cubicBezTo>
                <a:cubicBezTo>
                  <a:pt x="11310807" y="2313797"/>
                  <a:pt x="11427013" y="2411902"/>
                  <a:pt x="11427013" y="2549249"/>
                </a:cubicBezTo>
                <a:cubicBezTo>
                  <a:pt x="11427013" y="2706217"/>
                  <a:pt x="11291439" y="2784701"/>
                  <a:pt x="11097761" y="2784701"/>
                </a:cubicBezTo>
                <a:cubicBezTo>
                  <a:pt x="11097761" y="2784701"/>
                  <a:pt x="11097761" y="2784701"/>
                  <a:pt x="10555461" y="2784701"/>
                </a:cubicBezTo>
                <a:cubicBezTo>
                  <a:pt x="10555461" y="2784701"/>
                  <a:pt x="10555461" y="2784701"/>
                  <a:pt x="10555461" y="2313797"/>
                </a:cubicBezTo>
                <a:close/>
                <a:moveTo>
                  <a:pt x="5442357" y="1627063"/>
                </a:moveTo>
                <a:cubicBezTo>
                  <a:pt x="5442357" y="1627063"/>
                  <a:pt x="5442357" y="1627063"/>
                  <a:pt x="5732875" y="2313797"/>
                </a:cubicBezTo>
                <a:cubicBezTo>
                  <a:pt x="5732875" y="2313797"/>
                  <a:pt x="5732875" y="2313797"/>
                  <a:pt x="5151840" y="2313797"/>
                </a:cubicBezTo>
                <a:close/>
                <a:moveTo>
                  <a:pt x="2556552" y="1509337"/>
                </a:moveTo>
                <a:cubicBezTo>
                  <a:pt x="2556552" y="1509337"/>
                  <a:pt x="2556552" y="1509337"/>
                  <a:pt x="3002012" y="1509337"/>
                </a:cubicBezTo>
                <a:cubicBezTo>
                  <a:pt x="3215058" y="1509337"/>
                  <a:pt x="3350633" y="1607442"/>
                  <a:pt x="3350633" y="1803652"/>
                </a:cubicBezTo>
                <a:cubicBezTo>
                  <a:pt x="3350633" y="1980241"/>
                  <a:pt x="3234426" y="2117588"/>
                  <a:pt x="3002012" y="2117588"/>
                </a:cubicBezTo>
                <a:cubicBezTo>
                  <a:pt x="3002012" y="2117588"/>
                  <a:pt x="3002012" y="2117588"/>
                  <a:pt x="2556552" y="2117588"/>
                </a:cubicBezTo>
                <a:cubicBezTo>
                  <a:pt x="2556552" y="2117588"/>
                  <a:pt x="2556552" y="2117588"/>
                  <a:pt x="2556552" y="1509337"/>
                </a:cubicBezTo>
                <a:close/>
                <a:moveTo>
                  <a:pt x="10555461" y="1489716"/>
                </a:moveTo>
                <a:cubicBezTo>
                  <a:pt x="10555461" y="1489716"/>
                  <a:pt x="10555461" y="1489716"/>
                  <a:pt x="11000921" y="1489716"/>
                </a:cubicBezTo>
                <a:cubicBezTo>
                  <a:pt x="11194601" y="1489716"/>
                  <a:pt x="11310807" y="1568200"/>
                  <a:pt x="11310807" y="1725168"/>
                </a:cubicBezTo>
                <a:cubicBezTo>
                  <a:pt x="11310807" y="1882136"/>
                  <a:pt x="11175233" y="1940999"/>
                  <a:pt x="10981553" y="1940999"/>
                </a:cubicBezTo>
                <a:cubicBezTo>
                  <a:pt x="10981553" y="1940999"/>
                  <a:pt x="10981553" y="1940999"/>
                  <a:pt x="10555461" y="1940999"/>
                </a:cubicBezTo>
                <a:cubicBezTo>
                  <a:pt x="10555461" y="1940999"/>
                  <a:pt x="10555461" y="1940999"/>
                  <a:pt x="10555461" y="1489716"/>
                </a:cubicBezTo>
                <a:close/>
                <a:moveTo>
                  <a:pt x="10342417" y="1097297"/>
                </a:moveTo>
                <a:cubicBezTo>
                  <a:pt x="10206841" y="1097297"/>
                  <a:pt x="10110001" y="1175781"/>
                  <a:pt x="10110001" y="1332749"/>
                </a:cubicBezTo>
                <a:cubicBezTo>
                  <a:pt x="10110001" y="1332749"/>
                  <a:pt x="10110001" y="1332749"/>
                  <a:pt x="10110001" y="2941669"/>
                </a:cubicBezTo>
                <a:cubicBezTo>
                  <a:pt x="10110001" y="3098637"/>
                  <a:pt x="10206841" y="3177120"/>
                  <a:pt x="10342417" y="3177120"/>
                </a:cubicBezTo>
                <a:cubicBezTo>
                  <a:pt x="10342417" y="3177120"/>
                  <a:pt x="10342417" y="3177120"/>
                  <a:pt x="11097761" y="3177120"/>
                </a:cubicBezTo>
                <a:cubicBezTo>
                  <a:pt x="11562589" y="3177120"/>
                  <a:pt x="11872473" y="3000532"/>
                  <a:pt x="11872473" y="2608112"/>
                </a:cubicBezTo>
                <a:cubicBezTo>
                  <a:pt x="11872473" y="2313797"/>
                  <a:pt x="11717531" y="2176451"/>
                  <a:pt x="11485117" y="2097967"/>
                </a:cubicBezTo>
                <a:cubicBezTo>
                  <a:pt x="11640061" y="1999862"/>
                  <a:pt x="11756267" y="1882136"/>
                  <a:pt x="11756267" y="1627063"/>
                </a:cubicBezTo>
                <a:cubicBezTo>
                  <a:pt x="11756267" y="1489716"/>
                  <a:pt x="11717531" y="1371991"/>
                  <a:pt x="11620693" y="1273886"/>
                </a:cubicBezTo>
                <a:cubicBezTo>
                  <a:pt x="11504485" y="1156160"/>
                  <a:pt x="11310807" y="1097297"/>
                  <a:pt x="11078393" y="1097297"/>
                </a:cubicBezTo>
                <a:close/>
                <a:moveTo>
                  <a:pt x="2324139" y="1097297"/>
                </a:moveTo>
                <a:cubicBezTo>
                  <a:pt x="2188564" y="1097297"/>
                  <a:pt x="2091725" y="1175781"/>
                  <a:pt x="2091725" y="1332749"/>
                </a:cubicBezTo>
                <a:lnTo>
                  <a:pt x="2091725" y="2961290"/>
                </a:lnTo>
                <a:cubicBezTo>
                  <a:pt x="2091725" y="3118258"/>
                  <a:pt x="2188564" y="3196741"/>
                  <a:pt x="2324139" y="3196741"/>
                </a:cubicBezTo>
                <a:cubicBezTo>
                  <a:pt x="2459713" y="3196741"/>
                  <a:pt x="2556552" y="3118258"/>
                  <a:pt x="2556552" y="2961290"/>
                </a:cubicBezTo>
                <a:cubicBezTo>
                  <a:pt x="2556552" y="2961290"/>
                  <a:pt x="2556552" y="2961290"/>
                  <a:pt x="2556552" y="2510007"/>
                </a:cubicBezTo>
                <a:cubicBezTo>
                  <a:pt x="2556552" y="2510007"/>
                  <a:pt x="2556552" y="2510007"/>
                  <a:pt x="2905173" y="2510007"/>
                </a:cubicBezTo>
                <a:cubicBezTo>
                  <a:pt x="2905173" y="2510007"/>
                  <a:pt x="2905173" y="2510007"/>
                  <a:pt x="3350633" y="3079016"/>
                </a:cubicBezTo>
                <a:cubicBezTo>
                  <a:pt x="3408736" y="3157500"/>
                  <a:pt x="3466840" y="3196741"/>
                  <a:pt x="3563679" y="3196741"/>
                </a:cubicBezTo>
                <a:cubicBezTo>
                  <a:pt x="3679886" y="3196741"/>
                  <a:pt x="3796093" y="3098637"/>
                  <a:pt x="3796093" y="2980911"/>
                </a:cubicBezTo>
                <a:cubicBezTo>
                  <a:pt x="3796093" y="2902427"/>
                  <a:pt x="3757357" y="2863185"/>
                  <a:pt x="3718621" y="2804322"/>
                </a:cubicBezTo>
                <a:cubicBezTo>
                  <a:pt x="3718621" y="2804322"/>
                  <a:pt x="3718621" y="2804322"/>
                  <a:pt x="3408736" y="2431523"/>
                </a:cubicBezTo>
                <a:cubicBezTo>
                  <a:pt x="3660518" y="2313797"/>
                  <a:pt x="3815461" y="2117588"/>
                  <a:pt x="3815461" y="1784031"/>
                </a:cubicBezTo>
                <a:cubicBezTo>
                  <a:pt x="3815461" y="1587821"/>
                  <a:pt x="3757357" y="1430854"/>
                  <a:pt x="3641150" y="1313128"/>
                </a:cubicBezTo>
                <a:cubicBezTo>
                  <a:pt x="3505575" y="1175781"/>
                  <a:pt x="3311897" y="1097297"/>
                  <a:pt x="3040748" y="1097297"/>
                </a:cubicBezTo>
                <a:cubicBezTo>
                  <a:pt x="3040748" y="1097297"/>
                  <a:pt x="3040748" y="1097297"/>
                  <a:pt x="2324139" y="1097297"/>
                </a:cubicBezTo>
                <a:close/>
                <a:moveTo>
                  <a:pt x="17799025" y="1077676"/>
                </a:moveTo>
                <a:cubicBezTo>
                  <a:pt x="17682821" y="1077676"/>
                  <a:pt x="17585981" y="1156160"/>
                  <a:pt x="17585981" y="1313128"/>
                </a:cubicBezTo>
                <a:cubicBezTo>
                  <a:pt x="17585981" y="1313128"/>
                  <a:pt x="17585981" y="1313128"/>
                  <a:pt x="17585981" y="2941669"/>
                </a:cubicBezTo>
                <a:cubicBezTo>
                  <a:pt x="17585981" y="3098637"/>
                  <a:pt x="17682821" y="3177120"/>
                  <a:pt x="17799025" y="3177120"/>
                </a:cubicBezTo>
                <a:lnTo>
                  <a:pt x="18883625" y="3177120"/>
                </a:lnTo>
                <a:cubicBezTo>
                  <a:pt x="18999833" y="3177120"/>
                  <a:pt x="19077301" y="3098637"/>
                  <a:pt x="19077301" y="2980911"/>
                </a:cubicBezTo>
                <a:cubicBezTo>
                  <a:pt x="19077301" y="2843564"/>
                  <a:pt x="18999833" y="2765080"/>
                  <a:pt x="18883625" y="2765080"/>
                </a:cubicBezTo>
                <a:cubicBezTo>
                  <a:pt x="18883625" y="2765080"/>
                  <a:pt x="18883625" y="2765080"/>
                  <a:pt x="18031441" y="2765080"/>
                </a:cubicBezTo>
                <a:cubicBezTo>
                  <a:pt x="18031441" y="2765080"/>
                  <a:pt x="18031441" y="2765080"/>
                  <a:pt x="18031441" y="1313128"/>
                </a:cubicBezTo>
                <a:cubicBezTo>
                  <a:pt x="18031441" y="1156160"/>
                  <a:pt x="17934601" y="1077676"/>
                  <a:pt x="17799025" y="1077676"/>
                </a:cubicBezTo>
                <a:close/>
                <a:moveTo>
                  <a:pt x="15707301" y="1077676"/>
                </a:moveTo>
                <a:cubicBezTo>
                  <a:pt x="15571727" y="1077676"/>
                  <a:pt x="15474889" y="1156160"/>
                  <a:pt x="15474889" y="1313128"/>
                </a:cubicBezTo>
                <a:cubicBezTo>
                  <a:pt x="15474889" y="1313128"/>
                  <a:pt x="15474889" y="1313128"/>
                  <a:pt x="15474889" y="2941669"/>
                </a:cubicBezTo>
                <a:cubicBezTo>
                  <a:pt x="15474889" y="3098637"/>
                  <a:pt x="15571727" y="3177120"/>
                  <a:pt x="15707301" y="3177120"/>
                </a:cubicBezTo>
                <a:lnTo>
                  <a:pt x="16772533" y="3177120"/>
                </a:lnTo>
                <a:cubicBezTo>
                  <a:pt x="16888737" y="3177120"/>
                  <a:pt x="16985577" y="3098637"/>
                  <a:pt x="16985577" y="2980911"/>
                </a:cubicBezTo>
                <a:cubicBezTo>
                  <a:pt x="16985577" y="2843564"/>
                  <a:pt x="16888737" y="2765080"/>
                  <a:pt x="16772533" y="2765080"/>
                </a:cubicBezTo>
                <a:cubicBezTo>
                  <a:pt x="16772533" y="2765080"/>
                  <a:pt x="16772533" y="2765080"/>
                  <a:pt x="15939717" y="2765080"/>
                </a:cubicBezTo>
                <a:cubicBezTo>
                  <a:pt x="15939717" y="2765080"/>
                  <a:pt x="15939717" y="2765080"/>
                  <a:pt x="15939717" y="1313128"/>
                </a:cubicBezTo>
                <a:cubicBezTo>
                  <a:pt x="15939717" y="1156160"/>
                  <a:pt x="15842877" y="1077676"/>
                  <a:pt x="15707301" y="1077676"/>
                </a:cubicBezTo>
                <a:close/>
                <a:moveTo>
                  <a:pt x="7417875" y="1077676"/>
                </a:moveTo>
                <a:cubicBezTo>
                  <a:pt x="7301669" y="1077676"/>
                  <a:pt x="7166093" y="1156160"/>
                  <a:pt x="7166093" y="1293507"/>
                </a:cubicBezTo>
                <a:cubicBezTo>
                  <a:pt x="7166093" y="1293507"/>
                  <a:pt x="7166093" y="1293507"/>
                  <a:pt x="7166093" y="2961290"/>
                </a:cubicBezTo>
                <a:cubicBezTo>
                  <a:pt x="7166093" y="3118258"/>
                  <a:pt x="7262933" y="3196741"/>
                  <a:pt x="7398507" y="3196741"/>
                </a:cubicBezTo>
                <a:cubicBezTo>
                  <a:pt x="7514713" y="3196741"/>
                  <a:pt x="7611553" y="3118258"/>
                  <a:pt x="7611553" y="2961290"/>
                </a:cubicBezTo>
                <a:cubicBezTo>
                  <a:pt x="7611553" y="2961290"/>
                  <a:pt x="7611553" y="2961290"/>
                  <a:pt x="7611553" y="1940999"/>
                </a:cubicBezTo>
                <a:cubicBezTo>
                  <a:pt x="7611553" y="1940999"/>
                  <a:pt x="7611553" y="1940999"/>
                  <a:pt x="7998909" y="2549249"/>
                </a:cubicBezTo>
                <a:cubicBezTo>
                  <a:pt x="8057013" y="2627733"/>
                  <a:pt x="8115117" y="2666975"/>
                  <a:pt x="8192589" y="2666975"/>
                </a:cubicBezTo>
                <a:cubicBezTo>
                  <a:pt x="8289427" y="2666975"/>
                  <a:pt x="8347531" y="2627733"/>
                  <a:pt x="8386265" y="2549249"/>
                </a:cubicBezTo>
                <a:cubicBezTo>
                  <a:pt x="8386265" y="2549249"/>
                  <a:pt x="8386265" y="2549249"/>
                  <a:pt x="8773621" y="1921378"/>
                </a:cubicBezTo>
                <a:cubicBezTo>
                  <a:pt x="8773621" y="1921378"/>
                  <a:pt x="8773621" y="1921378"/>
                  <a:pt x="8773621" y="2961290"/>
                </a:cubicBezTo>
                <a:cubicBezTo>
                  <a:pt x="8773621" y="3118258"/>
                  <a:pt x="8870461" y="3196741"/>
                  <a:pt x="9006037" y="3196741"/>
                </a:cubicBezTo>
                <a:cubicBezTo>
                  <a:pt x="9141611" y="3196741"/>
                  <a:pt x="9238449" y="3118258"/>
                  <a:pt x="9238449" y="2961290"/>
                </a:cubicBezTo>
                <a:lnTo>
                  <a:pt x="9238449" y="1293507"/>
                </a:lnTo>
                <a:cubicBezTo>
                  <a:pt x="9238449" y="1156160"/>
                  <a:pt x="9102875" y="1077676"/>
                  <a:pt x="8986669" y="1077676"/>
                </a:cubicBezTo>
                <a:cubicBezTo>
                  <a:pt x="8870461" y="1077676"/>
                  <a:pt x="8792989" y="1116918"/>
                  <a:pt x="8734887" y="1215023"/>
                </a:cubicBezTo>
                <a:cubicBezTo>
                  <a:pt x="8734887" y="1215023"/>
                  <a:pt x="8734887" y="1215023"/>
                  <a:pt x="8211955" y="2097967"/>
                </a:cubicBezTo>
                <a:cubicBezTo>
                  <a:pt x="8211955" y="2097967"/>
                  <a:pt x="8211955" y="2097967"/>
                  <a:pt x="7669657" y="1215023"/>
                </a:cubicBezTo>
                <a:cubicBezTo>
                  <a:pt x="7611553" y="1116918"/>
                  <a:pt x="7534081" y="1077676"/>
                  <a:pt x="7417875" y="1077676"/>
                </a:cubicBezTo>
                <a:close/>
                <a:moveTo>
                  <a:pt x="5461725" y="1058055"/>
                </a:moveTo>
                <a:cubicBezTo>
                  <a:pt x="5306783" y="1058055"/>
                  <a:pt x="5229311" y="1136539"/>
                  <a:pt x="5171208" y="1234644"/>
                </a:cubicBezTo>
                <a:cubicBezTo>
                  <a:pt x="5171208" y="1234644"/>
                  <a:pt x="5171208" y="1234644"/>
                  <a:pt x="4454599" y="2882806"/>
                </a:cubicBezTo>
                <a:cubicBezTo>
                  <a:pt x="4435231" y="2922048"/>
                  <a:pt x="4435231" y="2961290"/>
                  <a:pt x="4435231" y="3000532"/>
                </a:cubicBezTo>
                <a:cubicBezTo>
                  <a:pt x="4435231" y="3118258"/>
                  <a:pt x="4532070" y="3196741"/>
                  <a:pt x="4648277" y="3196741"/>
                </a:cubicBezTo>
                <a:cubicBezTo>
                  <a:pt x="4745116" y="3196741"/>
                  <a:pt x="4803219" y="3157500"/>
                  <a:pt x="4841955" y="3059395"/>
                </a:cubicBezTo>
                <a:cubicBezTo>
                  <a:pt x="4841955" y="3059395"/>
                  <a:pt x="4841955" y="3059395"/>
                  <a:pt x="4996897" y="2706217"/>
                </a:cubicBezTo>
                <a:cubicBezTo>
                  <a:pt x="4996897" y="2706217"/>
                  <a:pt x="4996897" y="2706217"/>
                  <a:pt x="5907185" y="2706217"/>
                </a:cubicBezTo>
                <a:lnTo>
                  <a:pt x="6042760" y="3059395"/>
                </a:lnTo>
                <a:cubicBezTo>
                  <a:pt x="6081495" y="3157500"/>
                  <a:pt x="6158967" y="3196741"/>
                  <a:pt x="6255805" y="3196741"/>
                </a:cubicBezTo>
                <a:cubicBezTo>
                  <a:pt x="6372013" y="3196741"/>
                  <a:pt x="6468853" y="3118258"/>
                  <a:pt x="6468853" y="3000532"/>
                </a:cubicBezTo>
                <a:cubicBezTo>
                  <a:pt x="6468853" y="2961290"/>
                  <a:pt x="6468853" y="2922048"/>
                  <a:pt x="6449485" y="2882806"/>
                </a:cubicBezTo>
                <a:cubicBezTo>
                  <a:pt x="6449485" y="2882806"/>
                  <a:pt x="6449485" y="2882806"/>
                  <a:pt x="5732875" y="1234644"/>
                </a:cubicBezTo>
                <a:cubicBezTo>
                  <a:pt x="5674771" y="1136539"/>
                  <a:pt x="5597300" y="1058055"/>
                  <a:pt x="5461725" y="1058055"/>
                </a:cubicBezTo>
                <a:close/>
                <a:moveTo>
                  <a:pt x="847119" y="0"/>
                </a:moveTo>
                <a:lnTo>
                  <a:pt x="14021983" y="0"/>
                </a:lnTo>
                <a:lnTo>
                  <a:pt x="14021847" y="630"/>
                </a:lnTo>
                <a:cubicBezTo>
                  <a:pt x="14018669" y="15384"/>
                  <a:pt x="13993249" y="133416"/>
                  <a:pt x="13789889" y="1077676"/>
                </a:cubicBezTo>
                <a:cubicBezTo>
                  <a:pt x="13731785" y="1058055"/>
                  <a:pt x="13673681" y="1058055"/>
                  <a:pt x="13615577" y="1058055"/>
                </a:cubicBezTo>
                <a:cubicBezTo>
                  <a:pt x="12976439" y="1058055"/>
                  <a:pt x="12511613" y="1548579"/>
                  <a:pt x="12511613" y="2137209"/>
                </a:cubicBezTo>
                <a:cubicBezTo>
                  <a:pt x="12511613" y="2745459"/>
                  <a:pt x="12957071" y="3216362"/>
                  <a:pt x="13596209" y="3216362"/>
                </a:cubicBezTo>
                <a:cubicBezTo>
                  <a:pt x="14235349" y="3216362"/>
                  <a:pt x="14700175" y="2725838"/>
                  <a:pt x="14700175" y="2137209"/>
                </a:cubicBezTo>
                <a:cubicBezTo>
                  <a:pt x="14700175" y="1960620"/>
                  <a:pt x="14661441" y="1784031"/>
                  <a:pt x="14583969" y="1646684"/>
                </a:cubicBezTo>
                <a:cubicBezTo>
                  <a:pt x="14583969" y="1646684"/>
                  <a:pt x="14583969" y="1646684"/>
                  <a:pt x="14196613" y="1940999"/>
                </a:cubicBezTo>
                <a:cubicBezTo>
                  <a:pt x="14215981" y="1999862"/>
                  <a:pt x="14235349" y="2078346"/>
                  <a:pt x="14235349" y="2137209"/>
                </a:cubicBezTo>
                <a:cubicBezTo>
                  <a:pt x="14235349" y="2510007"/>
                  <a:pt x="13983565" y="2784701"/>
                  <a:pt x="13615577" y="2784701"/>
                </a:cubicBezTo>
                <a:cubicBezTo>
                  <a:pt x="13247589" y="2784701"/>
                  <a:pt x="12976439" y="2490386"/>
                  <a:pt x="12976439" y="2137209"/>
                </a:cubicBezTo>
                <a:cubicBezTo>
                  <a:pt x="12976439" y="1784031"/>
                  <a:pt x="13228221" y="1489716"/>
                  <a:pt x="13596209" y="1489716"/>
                </a:cubicBezTo>
                <a:cubicBezTo>
                  <a:pt x="13634945" y="1489716"/>
                  <a:pt x="13654313" y="1489716"/>
                  <a:pt x="13693049" y="1489716"/>
                </a:cubicBezTo>
                <a:cubicBezTo>
                  <a:pt x="13693049" y="1489716"/>
                  <a:pt x="13693049" y="1489716"/>
                  <a:pt x="13518737" y="2274556"/>
                </a:cubicBezTo>
                <a:cubicBezTo>
                  <a:pt x="13518737" y="2274556"/>
                  <a:pt x="13518737" y="2274556"/>
                  <a:pt x="13576841" y="2313797"/>
                </a:cubicBezTo>
                <a:cubicBezTo>
                  <a:pt x="13576841" y="2313797"/>
                  <a:pt x="13576841" y="2313797"/>
                  <a:pt x="15302449" y="208867"/>
                </a:cubicBezTo>
                <a:lnTo>
                  <a:pt x="15473677" y="0"/>
                </a:lnTo>
                <a:lnTo>
                  <a:pt x="19895817" y="0"/>
                </a:lnTo>
                <a:lnTo>
                  <a:pt x="20086775" y="11552"/>
                </a:lnTo>
                <a:cubicBezTo>
                  <a:pt x="20517065" y="68345"/>
                  <a:pt x="20714017" y="312956"/>
                  <a:pt x="20739957" y="787481"/>
                </a:cubicBezTo>
                <a:lnTo>
                  <a:pt x="20742935" y="901016"/>
                </a:lnTo>
                <a:lnTo>
                  <a:pt x="20742935" y="3471506"/>
                </a:lnTo>
                <a:lnTo>
                  <a:pt x="20739957" y="3585041"/>
                </a:lnTo>
                <a:cubicBezTo>
                  <a:pt x="20710027" y="4132570"/>
                  <a:pt x="20452417" y="4374000"/>
                  <a:pt x="19871385" y="4374000"/>
                </a:cubicBezTo>
                <a:lnTo>
                  <a:pt x="871552" y="4374000"/>
                </a:lnTo>
                <a:cubicBezTo>
                  <a:pt x="251782" y="4374000"/>
                  <a:pt x="0" y="4099306"/>
                  <a:pt x="0" y="3471435"/>
                </a:cubicBezTo>
                <a:cubicBezTo>
                  <a:pt x="0" y="3471435"/>
                  <a:pt x="0" y="3471435"/>
                  <a:pt x="0" y="901087"/>
                </a:cubicBezTo>
                <a:cubicBezTo>
                  <a:pt x="0" y="351700"/>
                  <a:pt x="192771" y="72714"/>
                  <a:pt x="656161" y="11552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GB"/>
              <a:t>vel</a:t>
            </a:r>
          </a:p>
        </p:txBody>
      </p:sp>
      <p:sp>
        <p:nvSpPr>
          <p:cNvPr id="10" name="Slide Number Placeholder 5" hidden="1">
            <a:extLst>
              <a:ext uri="{FF2B5EF4-FFF2-40B4-BE49-F238E27FC236}">
                <a16:creationId xmlns:a16="http://schemas.microsoft.com/office/drawing/2014/main" id="{DB3E8C21-56F3-43EB-BF88-4EEB72C3F7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35D10A95-9140-4D91-8BAE-655D1782D7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100" baseline="0">
                <a:noFill/>
              </a:defRPr>
            </a:lvl1pPr>
          </a:lstStyle>
          <a:p>
            <a:pPr algn="r"/>
            <a:endParaRPr lang="x-none"/>
          </a:p>
        </p:txBody>
      </p:sp>
      <p:sp>
        <p:nvSpPr>
          <p:cNvPr id="12" name="Date_DateCustomA" hidden="1">
            <a:extLst>
              <a:ext uri="{FF2B5EF4-FFF2-40B4-BE49-F238E27FC236}">
                <a16:creationId xmlns:a16="http://schemas.microsoft.com/office/drawing/2014/main" id="{3FA8083C-E59E-4629-A5C9-D403872552D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buNone/>
              <a:defRPr lang="en-GB" sz="100" smtClean="0">
                <a:noFill/>
              </a:defRPr>
            </a:lvl1pPr>
          </a:lstStyle>
          <a:p>
            <a:pPr algn="r"/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67098480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7" tIns="45708" rIns="91417" bIns="45708" rtlCol="0" anchor="ctr"/>
          <a:lstStyle/>
          <a:p>
            <a:pPr algn="ctr"/>
            <a:endParaRPr lang="en-GB" sz="1800" noProof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6C267E1F-9146-4D51-A3EA-9E268FC35F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8618" y="1945915"/>
            <a:ext cx="7330441" cy="2768684"/>
          </a:xfrm>
        </p:spPr>
        <p:txBody>
          <a:bodyPr/>
          <a:lstStyle>
            <a:lvl1pPr>
              <a:defRPr sz="3199" b="0" cap="none">
                <a:solidFill>
                  <a:schemeClr val="tx1"/>
                </a:solidFill>
              </a:defRPr>
            </a:lvl1pPr>
          </a:lstStyle>
          <a:p>
            <a:r>
              <a:rPr lang="en-GB"/>
              <a:t>Quotation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1E1ADCAE-53E0-4B32-A2CA-095078D0C63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6072" y="5018936"/>
            <a:ext cx="7332990" cy="1084011"/>
          </a:xfrm>
        </p:spPr>
        <p:txBody>
          <a:bodyPr lIns="0"/>
          <a:lstStyle>
            <a:lvl1pPr marL="0" indent="0">
              <a:buFont typeface="Arial" panose="020B0604020202020204" pitchFamily="34" charset="0"/>
              <a:buChar char="​"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12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E8FF56-E9E6-4CE1-A183-9B907183A27A}"/>
              </a:ext>
            </a:extLst>
          </p:cNvPr>
          <p:cNvSpPr txBox="1"/>
          <p:nvPr userDrawn="1"/>
        </p:nvSpPr>
        <p:spPr bwMode="auto">
          <a:xfrm>
            <a:off x="805541" y="2249830"/>
            <a:ext cx="1671855" cy="2829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2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2697" marR="0" indent="-25395" algn="l" defTabSz="457109" rtl="0" eaLnBrk="0" fontAlgn="base" latinLnBrk="0" hangingPunct="0">
              <a:lnSpc>
                <a:spcPts val="2163"/>
              </a:lnSpc>
              <a:spcBef>
                <a:spcPct val="0"/>
              </a:spcBef>
              <a:spcAft>
                <a:spcPts val="1500"/>
              </a:spcAft>
              <a:buClrTx/>
              <a:buSzTx/>
              <a:tabLst/>
            </a:pPr>
            <a:r>
              <a:rPr kumimoji="0" lang="en-GB" sz="19896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/>
                <a:ea typeface="Verdana" pitchFamily="34" charset="0"/>
                <a:cs typeface="Verdana" pitchFamily="34" charset="0"/>
              </a:rPr>
              <a:t>“</a:t>
            </a:r>
          </a:p>
        </p:txBody>
      </p:sp>
      <p:sp>
        <p:nvSpPr>
          <p:cNvPr id="14" name="Freeform 5">
            <a:extLst>
              <a:ext uri="{FF2B5EF4-FFF2-40B4-BE49-F238E27FC236}">
                <a16:creationId xmlns:a16="http://schemas.microsoft.com/office/drawing/2014/main" id="{A9AB153B-AFF1-4043-8D3F-263FEAF2377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98617" y="6158174"/>
            <a:ext cx="1219359" cy="257114"/>
          </a:xfrm>
          <a:custGeom>
            <a:avLst/>
            <a:gdLst>
              <a:gd name="T0" fmla="*/ 545 w 1071"/>
              <a:gd name="T1" fmla="*/ 142 h 223"/>
              <a:gd name="T2" fmla="*/ 572 w 1071"/>
              <a:gd name="T3" fmla="*/ 118 h 223"/>
              <a:gd name="T4" fmla="*/ 132 w 1071"/>
              <a:gd name="T5" fmla="*/ 108 h 223"/>
              <a:gd name="T6" fmla="*/ 173 w 1071"/>
              <a:gd name="T7" fmla="*/ 92 h 223"/>
              <a:gd name="T8" fmla="*/ 568 w 1071"/>
              <a:gd name="T9" fmla="*/ 76 h 223"/>
              <a:gd name="T10" fmla="*/ 567 w 1071"/>
              <a:gd name="T11" fmla="*/ 99 h 223"/>
              <a:gd name="T12" fmla="*/ 296 w 1071"/>
              <a:gd name="T13" fmla="*/ 118 h 223"/>
              <a:gd name="T14" fmla="*/ 305 w 1071"/>
              <a:gd name="T15" fmla="*/ 138 h 223"/>
              <a:gd name="T16" fmla="*/ 240 w 1071"/>
              <a:gd name="T17" fmla="*/ 163 h 223"/>
              <a:gd name="T18" fmla="*/ 267 w 1071"/>
              <a:gd name="T19" fmla="*/ 63 h 223"/>
              <a:gd name="T20" fmla="*/ 333 w 1071"/>
              <a:gd name="T21" fmla="*/ 147 h 223"/>
              <a:gd name="T22" fmla="*/ 312 w 1071"/>
              <a:gd name="T23" fmla="*/ 156 h 223"/>
              <a:gd name="T24" fmla="*/ 1071 w 1071"/>
              <a:gd name="T25" fmla="*/ 177 h 223"/>
              <a:gd name="T26" fmla="*/ 799 w 1071"/>
              <a:gd name="T27" fmla="*/ 0 h 223"/>
              <a:gd name="T28" fmla="*/ 707 w 1071"/>
              <a:gd name="T29" fmla="*/ 76 h 223"/>
              <a:gd name="T30" fmla="*/ 670 w 1071"/>
              <a:gd name="T31" fmla="*/ 109 h 223"/>
              <a:gd name="T32" fmla="*/ 735 w 1071"/>
              <a:gd name="T33" fmla="*/ 109 h 223"/>
              <a:gd name="T34" fmla="*/ 759 w 1071"/>
              <a:gd name="T35" fmla="*/ 109 h 223"/>
              <a:gd name="T36" fmla="*/ 646 w 1071"/>
              <a:gd name="T37" fmla="*/ 109 h 223"/>
              <a:gd name="T38" fmla="*/ 712 w 1071"/>
              <a:gd name="T39" fmla="*/ 55 h 223"/>
              <a:gd name="T40" fmla="*/ 0 w 1071"/>
              <a:gd name="T41" fmla="*/ 46 h 223"/>
              <a:gd name="T42" fmla="*/ 1026 w 1071"/>
              <a:gd name="T43" fmla="*/ 223 h 223"/>
              <a:gd name="T44" fmla="*/ 453 w 1071"/>
              <a:gd name="T45" fmla="*/ 151 h 223"/>
              <a:gd name="T46" fmla="*/ 423 w 1071"/>
              <a:gd name="T47" fmla="*/ 136 h 223"/>
              <a:gd name="T48" fmla="*/ 393 w 1071"/>
              <a:gd name="T49" fmla="*/ 151 h 223"/>
              <a:gd name="T50" fmla="*/ 370 w 1071"/>
              <a:gd name="T51" fmla="*/ 66 h 223"/>
              <a:gd name="T52" fmla="*/ 424 w 1071"/>
              <a:gd name="T53" fmla="*/ 107 h 223"/>
              <a:gd name="T54" fmla="*/ 477 w 1071"/>
              <a:gd name="T55" fmla="*/ 66 h 223"/>
              <a:gd name="T56" fmla="*/ 600 w 1071"/>
              <a:gd name="T57" fmla="*/ 65 h 223"/>
              <a:gd name="T58" fmla="*/ 613 w 1071"/>
              <a:gd name="T59" fmla="*/ 133 h 223"/>
              <a:gd name="T60" fmla="*/ 522 w 1071"/>
              <a:gd name="T61" fmla="*/ 150 h 223"/>
              <a:gd name="T62" fmla="*/ 572 w 1071"/>
              <a:gd name="T63" fmla="*/ 56 h 223"/>
              <a:gd name="T64" fmla="*/ 157 w 1071"/>
              <a:gd name="T65" fmla="*/ 56 h 223"/>
              <a:gd name="T66" fmla="*/ 197 w 1071"/>
              <a:gd name="T67" fmla="*/ 91 h 223"/>
              <a:gd name="T68" fmla="*/ 196 w 1071"/>
              <a:gd name="T69" fmla="*/ 152 h 223"/>
              <a:gd name="T70" fmla="*/ 150 w 1071"/>
              <a:gd name="T71" fmla="*/ 128 h 223"/>
              <a:gd name="T72" fmla="*/ 120 w 1071"/>
              <a:gd name="T73" fmla="*/ 163 h 223"/>
              <a:gd name="T74" fmla="*/ 811 w 1071"/>
              <a:gd name="T75" fmla="*/ 162 h 223"/>
              <a:gd name="T76" fmla="*/ 811 w 1071"/>
              <a:gd name="T77" fmla="*/ 55 h 223"/>
              <a:gd name="T78" fmla="*/ 866 w 1071"/>
              <a:gd name="T79" fmla="*/ 141 h 223"/>
              <a:gd name="T80" fmla="*/ 811 w 1071"/>
              <a:gd name="T81" fmla="*/ 162 h 223"/>
              <a:gd name="T82" fmla="*/ 908 w 1071"/>
              <a:gd name="T83" fmla="*/ 67 h 223"/>
              <a:gd name="T84" fmla="*/ 931 w 1071"/>
              <a:gd name="T85" fmla="*/ 141 h 223"/>
              <a:gd name="T86" fmla="*/ 975 w 1071"/>
              <a:gd name="T87" fmla="*/ 162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071" h="223">
                <a:moveTo>
                  <a:pt x="572" y="118"/>
                </a:moveTo>
                <a:cubicBezTo>
                  <a:pt x="545" y="118"/>
                  <a:pt x="545" y="118"/>
                  <a:pt x="545" y="118"/>
                </a:cubicBezTo>
                <a:cubicBezTo>
                  <a:pt x="545" y="142"/>
                  <a:pt x="545" y="142"/>
                  <a:pt x="545" y="142"/>
                </a:cubicBezTo>
                <a:cubicBezTo>
                  <a:pt x="573" y="142"/>
                  <a:pt x="573" y="142"/>
                  <a:pt x="573" y="142"/>
                </a:cubicBezTo>
                <a:cubicBezTo>
                  <a:pt x="583" y="142"/>
                  <a:pt x="590" y="138"/>
                  <a:pt x="590" y="130"/>
                </a:cubicBezTo>
                <a:cubicBezTo>
                  <a:pt x="590" y="123"/>
                  <a:pt x="584" y="118"/>
                  <a:pt x="572" y="118"/>
                </a:cubicBezTo>
                <a:moveTo>
                  <a:pt x="155" y="77"/>
                </a:moveTo>
                <a:cubicBezTo>
                  <a:pt x="132" y="77"/>
                  <a:pt x="132" y="77"/>
                  <a:pt x="132" y="77"/>
                </a:cubicBezTo>
                <a:cubicBezTo>
                  <a:pt x="132" y="108"/>
                  <a:pt x="132" y="108"/>
                  <a:pt x="132" y="108"/>
                </a:cubicBezTo>
                <a:cubicBezTo>
                  <a:pt x="155" y="108"/>
                  <a:pt x="155" y="108"/>
                  <a:pt x="155" y="108"/>
                </a:cubicBezTo>
                <a:cubicBezTo>
                  <a:pt x="167" y="108"/>
                  <a:pt x="173" y="101"/>
                  <a:pt x="173" y="92"/>
                </a:cubicBezTo>
                <a:cubicBezTo>
                  <a:pt x="173" y="92"/>
                  <a:pt x="173" y="92"/>
                  <a:pt x="173" y="92"/>
                </a:cubicBezTo>
                <a:cubicBezTo>
                  <a:pt x="173" y="82"/>
                  <a:pt x="166" y="77"/>
                  <a:pt x="155" y="77"/>
                </a:cubicBezTo>
                <a:moveTo>
                  <a:pt x="584" y="88"/>
                </a:moveTo>
                <a:cubicBezTo>
                  <a:pt x="584" y="80"/>
                  <a:pt x="578" y="76"/>
                  <a:pt x="568" y="76"/>
                </a:cubicBezTo>
                <a:cubicBezTo>
                  <a:pt x="545" y="76"/>
                  <a:pt x="545" y="76"/>
                  <a:pt x="545" y="76"/>
                </a:cubicBezTo>
                <a:cubicBezTo>
                  <a:pt x="545" y="99"/>
                  <a:pt x="545" y="99"/>
                  <a:pt x="545" y="99"/>
                </a:cubicBezTo>
                <a:cubicBezTo>
                  <a:pt x="567" y="99"/>
                  <a:pt x="567" y="99"/>
                  <a:pt x="567" y="99"/>
                </a:cubicBezTo>
                <a:cubicBezTo>
                  <a:pt x="577" y="99"/>
                  <a:pt x="584" y="96"/>
                  <a:pt x="584" y="88"/>
                </a:cubicBezTo>
                <a:moveTo>
                  <a:pt x="266" y="118"/>
                </a:moveTo>
                <a:cubicBezTo>
                  <a:pt x="296" y="118"/>
                  <a:pt x="296" y="118"/>
                  <a:pt x="296" y="118"/>
                </a:cubicBezTo>
                <a:cubicBezTo>
                  <a:pt x="281" y="83"/>
                  <a:pt x="281" y="83"/>
                  <a:pt x="281" y="83"/>
                </a:cubicBezTo>
                <a:lnTo>
                  <a:pt x="266" y="118"/>
                </a:lnTo>
                <a:close/>
                <a:moveTo>
                  <a:pt x="305" y="138"/>
                </a:moveTo>
                <a:cubicBezTo>
                  <a:pt x="258" y="138"/>
                  <a:pt x="258" y="138"/>
                  <a:pt x="258" y="138"/>
                </a:cubicBezTo>
                <a:cubicBezTo>
                  <a:pt x="250" y="156"/>
                  <a:pt x="250" y="156"/>
                  <a:pt x="250" y="156"/>
                </a:cubicBezTo>
                <a:cubicBezTo>
                  <a:pt x="248" y="161"/>
                  <a:pt x="245" y="163"/>
                  <a:pt x="240" y="163"/>
                </a:cubicBezTo>
                <a:cubicBezTo>
                  <a:pt x="234" y="163"/>
                  <a:pt x="229" y="159"/>
                  <a:pt x="229" y="153"/>
                </a:cubicBezTo>
                <a:cubicBezTo>
                  <a:pt x="229" y="151"/>
                  <a:pt x="229" y="149"/>
                  <a:pt x="230" y="147"/>
                </a:cubicBezTo>
                <a:cubicBezTo>
                  <a:pt x="267" y="63"/>
                  <a:pt x="267" y="63"/>
                  <a:pt x="267" y="63"/>
                </a:cubicBezTo>
                <a:cubicBezTo>
                  <a:pt x="270" y="58"/>
                  <a:pt x="274" y="54"/>
                  <a:pt x="282" y="54"/>
                </a:cubicBezTo>
                <a:cubicBezTo>
                  <a:pt x="289" y="54"/>
                  <a:pt x="293" y="58"/>
                  <a:pt x="296" y="63"/>
                </a:cubicBezTo>
                <a:cubicBezTo>
                  <a:pt x="333" y="147"/>
                  <a:pt x="333" y="147"/>
                  <a:pt x="333" y="147"/>
                </a:cubicBezTo>
                <a:cubicBezTo>
                  <a:pt x="334" y="149"/>
                  <a:pt x="334" y="151"/>
                  <a:pt x="334" y="153"/>
                </a:cubicBezTo>
                <a:cubicBezTo>
                  <a:pt x="334" y="159"/>
                  <a:pt x="329" y="163"/>
                  <a:pt x="323" y="163"/>
                </a:cubicBezTo>
                <a:cubicBezTo>
                  <a:pt x="318" y="163"/>
                  <a:pt x="314" y="161"/>
                  <a:pt x="312" y="156"/>
                </a:cubicBezTo>
                <a:lnTo>
                  <a:pt x="305" y="138"/>
                </a:lnTo>
                <a:close/>
                <a:moveTo>
                  <a:pt x="1026" y="223"/>
                </a:moveTo>
                <a:cubicBezTo>
                  <a:pt x="1058" y="223"/>
                  <a:pt x="1071" y="209"/>
                  <a:pt x="1071" y="177"/>
                </a:cubicBezTo>
                <a:cubicBezTo>
                  <a:pt x="1071" y="46"/>
                  <a:pt x="1071" y="46"/>
                  <a:pt x="1071" y="46"/>
                </a:cubicBezTo>
                <a:cubicBezTo>
                  <a:pt x="1071" y="14"/>
                  <a:pt x="1058" y="0"/>
                  <a:pt x="1026" y="0"/>
                </a:cubicBezTo>
                <a:cubicBezTo>
                  <a:pt x="799" y="0"/>
                  <a:pt x="799" y="0"/>
                  <a:pt x="799" y="0"/>
                </a:cubicBezTo>
                <a:cubicBezTo>
                  <a:pt x="701" y="118"/>
                  <a:pt x="701" y="118"/>
                  <a:pt x="701" y="118"/>
                </a:cubicBezTo>
                <a:cubicBezTo>
                  <a:pt x="698" y="116"/>
                  <a:pt x="698" y="116"/>
                  <a:pt x="698" y="116"/>
                </a:cubicBezTo>
                <a:cubicBezTo>
                  <a:pt x="707" y="76"/>
                  <a:pt x="707" y="76"/>
                  <a:pt x="707" y="76"/>
                </a:cubicBezTo>
                <a:cubicBezTo>
                  <a:pt x="705" y="76"/>
                  <a:pt x="704" y="76"/>
                  <a:pt x="702" y="76"/>
                </a:cubicBezTo>
                <a:cubicBezTo>
                  <a:pt x="683" y="76"/>
                  <a:pt x="670" y="91"/>
                  <a:pt x="670" y="109"/>
                </a:cubicBezTo>
                <a:cubicBezTo>
                  <a:pt x="670" y="109"/>
                  <a:pt x="670" y="109"/>
                  <a:pt x="670" y="109"/>
                </a:cubicBezTo>
                <a:cubicBezTo>
                  <a:pt x="670" y="127"/>
                  <a:pt x="684" y="142"/>
                  <a:pt x="703" y="142"/>
                </a:cubicBezTo>
                <a:cubicBezTo>
                  <a:pt x="722" y="142"/>
                  <a:pt x="735" y="128"/>
                  <a:pt x="735" y="109"/>
                </a:cubicBezTo>
                <a:cubicBezTo>
                  <a:pt x="735" y="109"/>
                  <a:pt x="735" y="109"/>
                  <a:pt x="735" y="109"/>
                </a:cubicBezTo>
                <a:cubicBezTo>
                  <a:pt x="735" y="106"/>
                  <a:pt x="734" y="102"/>
                  <a:pt x="733" y="99"/>
                </a:cubicBezTo>
                <a:cubicBezTo>
                  <a:pt x="753" y="84"/>
                  <a:pt x="753" y="84"/>
                  <a:pt x="753" y="84"/>
                </a:cubicBezTo>
                <a:cubicBezTo>
                  <a:pt x="757" y="91"/>
                  <a:pt x="759" y="100"/>
                  <a:pt x="759" y="109"/>
                </a:cubicBezTo>
                <a:cubicBezTo>
                  <a:pt x="759" y="109"/>
                  <a:pt x="759" y="109"/>
                  <a:pt x="759" y="109"/>
                </a:cubicBezTo>
                <a:cubicBezTo>
                  <a:pt x="759" y="139"/>
                  <a:pt x="735" y="164"/>
                  <a:pt x="702" y="164"/>
                </a:cubicBezTo>
                <a:cubicBezTo>
                  <a:pt x="669" y="164"/>
                  <a:pt x="646" y="140"/>
                  <a:pt x="646" y="109"/>
                </a:cubicBezTo>
                <a:cubicBezTo>
                  <a:pt x="646" y="109"/>
                  <a:pt x="646" y="109"/>
                  <a:pt x="646" y="109"/>
                </a:cubicBezTo>
                <a:cubicBezTo>
                  <a:pt x="646" y="79"/>
                  <a:pt x="670" y="54"/>
                  <a:pt x="703" y="54"/>
                </a:cubicBezTo>
                <a:cubicBezTo>
                  <a:pt x="706" y="54"/>
                  <a:pt x="709" y="54"/>
                  <a:pt x="712" y="55"/>
                </a:cubicBezTo>
                <a:cubicBezTo>
                  <a:pt x="724" y="0"/>
                  <a:pt x="724" y="0"/>
                  <a:pt x="724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13" y="0"/>
                  <a:pt x="0" y="14"/>
                  <a:pt x="0" y="46"/>
                </a:cubicBezTo>
                <a:cubicBezTo>
                  <a:pt x="0" y="177"/>
                  <a:pt x="0" y="177"/>
                  <a:pt x="0" y="177"/>
                </a:cubicBezTo>
                <a:cubicBezTo>
                  <a:pt x="0" y="209"/>
                  <a:pt x="13" y="223"/>
                  <a:pt x="45" y="223"/>
                </a:cubicBezTo>
                <a:lnTo>
                  <a:pt x="1026" y="223"/>
                </a:lnTo>
                <a:close/>
                <a:moveTo>
                  <a:pt x="477" y="151"/>
                </a:moveTo>
                <a:cubicBezTo>
                  <a:pt x="477" y="159"/>
                  <a:pt x="472" y="163"/>
                  <a:pt x="465" y="163"/>
                </a:cubicBezTo>
                <a:cubicBezTo>
                  <a:pt x="458" y="163"/>
                  <a:pt x="453" y="159"/>
                  <a:pt x="453" y="151"/>
                </a:cubicBezTo>
                <a:cubicBezTo>
                  <a:pt x="453" y="98"/>
                  <a:pt x="453" y="98"/>
                  <a:pt x="453" y="98"/>
                </a:cubicBezTo>
                <a:cubicBezTo>
                  <a:pt x="433" y="130"/>
                  <a:pt x="433" y="130"/>
                  <a:pt x="433" y="130"/>
                </a:cubicBezTo>
                <a:cubicBezTo>
                  <a:pt x="431" y="134"/>
                  <a:pt x="428" y="136"/>
                  <a:pt x="423" y="136"/>
                </a:cubicBezTo>
                <a:cubicBezTo>
                  <a:pt x="419" y="136"/>
                  <a:pt x="416" y="134"/>
                  <a:pt x="413" y="130"/>
                </a:cubicBezTo>
                <a:cubicBezTo>
                  <a:pt x="393" y="99"/>
                  <a:pt x="393" y="99"/>
                  <a:pt x="393" y="99"/>
                </a:cubicBezTo>
                <a:cubicBezTo>
                  <a:pt x="393" y="151"/>
                  <a:pt x="393" y="151"/>
                  <a:pt x="393" y="151"/>
                </a:cubicBezTo>
                <a:cubicBezTo>
                  <a:pt x="393" y="159"/>
                  <a:pt x="388" y="163"/>
                  <a:pt x="382" y="163"/>
                </a:cubicBezTo>
                <a:cubicBezTo>
                  <a:pt x="375" y="163"/>
                  <a:pt x="370" y="159"/>
                  <a:pt x="370" y="151"/>
                </a:cubicBezTo>
                <a:cubicBezTo>
                  <a:pt x="370" y="66"/>
                  <a:pt x="370" y="66"/>
                  <a:pt x="370" y="66"/>
                </a:cubicBezTo>
                <a:cubicBezTo>
                  <a:pt x="370" y="59"/>
                  <a:pt x="377" y="55"/>
                  <a:pt x="383" y="55"/>
                </a:cubicBezTo>
                <a:cubicBezTo>
                  <a:pt x="389" y="55"/>
                  <a:pt x="393" y="57"/>
                  <a:pt x="396" y="62"/>
                </a:cubicBezTo>
                <a:cubicBezTo>
                  <a:pt x="424" y="107"/>
                  <a:pt x="424" y="107"/>
                  <a:pt x="424" y="107"/>
                </a:cubicBezTo>
                <a:cubicBezTo>
                  <a:pt x="451" y="62"/>
                  <a:pt x="451" y="62"/>
                  <a:pt x="451" y="62"/>
                </a:cubicBezTo>
                <a:cubicBezTo>
                  <a:pt x="454" y="57"/>
                  <a:pt x="458" y="55"/>
                  <a:pt x="464" y="55"/>
                </a:cubicBezTo>
                <a:cubicBezTo>
                  <a:pt x="470" y="55"/>
                  <a:pt x="477" y="59"/>
                  <a:pt x="477" y="66"/>
                </a:cubicBezTo>
                <a:lnTo>
                  <a:pt x="477" y="151"/>
                </a:lnTo>
                <a:close/>
                <a:moveTo>
                  <a:pt x="572" y="56"/>
                </a:moveTo>
                <a:cubicBezTo>
                  <a:pt x="584" y="56"/>
                  <a:pt x="594" y="59"/>
                  <a:pt x="600" y="65"/>
                </a:cubicBezTo>
                <a:cubicBezTo>
                  <a:pt x="605" y="70"/>
                  <a:pt x="607" y="76"/>
                  <a:pt x="607" y="83"/>
                </a:cubicBezTo>
                <a:cubicBezTo>
                  <a:pt x="607" y="96"/>
                  <a:pt x="601" y="102"/>
                  <a:pt x="593" y="107"/>
                </a:cubicBezTo>
                <a:cubicBezTo>
                  <a:pt x="605" y="111"/>
                  <a:pt x="613" y="118"/>
                  <a:pt x="613" y="133"/>
                </a:cubicBezTo>
                <a:cubicBezTo>
                  <a:pt x="613" y="153"/>
                  <a:pt x="597" y="162"/>
                  <a:pt x="573" y="162"/>
                </a:cubicBezTo>
                <a:cubicBezTo>
                  <a:pt x="534" y="162"/>
                  <a:pt x="534" y="162"/>
                  <a:pt x="534" y="162"/>
                </a:cubicBezTo>
                <a:cubicBezTo>
                  <a:pt x="527" y="162"/>
                  <a:pt x="522" y="158"/>
                  <a:pt x="522" y="150"/>
                </a:cubicBezTo>
                <a:cubicBezTo>
                  <a:pt x="522" y="68"/>
                  <a:pt x="522" y="68"/>
                  <a:pt x="522" y="68"/>
                </a:cubicBezTo>
                <a:cubicBezTo>
                  <a:pt x="522" y="60"/>
                  <a:pt x="527" y="56"/>
                  <a:pt x="534" y="56"/>
                </a:cubicBezTo>
                <a:lnTo>
                  <a:pt x="572" y="56"/>
                </a:lnTo>
                <a:close/>
                <a:moveTo>
                  <a:pt x="108" y="68"/>
                </a:moveTo>
                <a:cubicBezTo>
                  <a:pt x="108" y="60"/>
                  <a:pt x="113" y="56"/>
                  <a:pt x="120" y="56"/>
                </a:cubicBezTo>
                <a:cubicBezTo>
                  <a:pt x="157" y="56"/>
                  <a:pt x="157" y="56"/>
                  <a:pt x="157" y="56"/>
                </a:cubicBezTo>
                <a:cubicBezTo>
                  <a:pt x="171" y="56"/>
                  <a:pt x="181" y="60"/>
                  <a:pt x="188" y="67"/>
                </a:cubicBezTo>
                <a:cubicBezTo>
                  <a:pt x="194" y="73"/>
                  <a:pt x="197" y="81"/>
                  <a:pt x="197" y="91"/>
                </a:cubicBezTo>
                <a:cubicBezTo>
                  <a:pt x="197" y="91"/>
                  <a:pt x="197" y="91"/>
                  <a:pt x="197" y="91"/>
                </a:cubicBezTo>
                <a:cubicBezTo>
                  <a:pt x="197" y="108"/>
                  <a:pt x="189" y="118"/>
                  <a:pt x="176" y="124"/>
                </a:cubicBezTo>
                <a:cubicBezTo>
                  <a:pt x="192" y="143"/>
                  <a:pt x="192" y="143"/>
                  <a:pt x="192" y="143"/>
                </a:cubicBezTo>
                <a:cubicBezTo>
                  <a:pt x="194" y="146"/>
                  <a:pt x="196" y="148"/>
                  <a:pt x="196" y="152"/>
                </a:cubicBezTo>
                <a:cubicBezTo>
                  <a:pt x="196" y="158"/>
                  <a:pt x="190" y="163"/>
                  <a:pt x="184" y="163"/>
                </a:cubicBezTo>
                <a:cubicBezTo>
                  <a:pt x="179" y="163"/>
                  <a:pt x="176" y="161"/>
                  <a:pt x="173" y="157"/>
                </a:cubicBezTo>
                <a:cubicBezTo>
                  <a:pt x="150" y="128"/>
                  <a:pt x="150" y="128"/>
                  <a:pt x="150" y="128"/>
                </a:cubicBezTo>
                <a:cubicBezTo>
                  <a:pt x="132" y="128"/>
                  <a:pt x="132" y="128"/>
                  <a:pt x="132" y="128"/>
                </a:cubicBezTo>
                <a:cubicBezTo>
                  <a:pt x="132" y="151"/>
                  <a:pt x="132" y="151"/>
                  <a:pt x="132" y="151"/>
                </a:cubicBezTo>
                <a:cubicBezTo>
                  <a:pt x="132" y="159"/>
                  <a:pt x="127" y="163"/>
                  <a:pt x="120" y="163"/>
                </a:cubicBezTo>
                <a:cubicBezTo>
                  <a:pt x="113" y="163"/>
                  <a:pt x="108" y="159"/>
                  <a:pt x="108" y="151"/>
                </a:cubicBezTo>
                <a:lnTo>
                  <a:pt x="108" y="68"/>
                </a:lnTo>
                <a:close/>
                <a:moveTo>
                  <a:pt x="811" y="162"/>
                </a:moveTo>
                <a:cubicBezTo>
                  <a:pt x="804" y="162"/>
                  <a:pt x="799" y="158"/>
                  <a:pt x="799" y="150"/>
                </a:cubicBezTo>
                <a:cubicBezTo>
                  <a:pt x="799" y="67"/>
                  <a:pt x="799" y="67"/>
                  <a:pt x="799" y="67"/>
                </a:cubicBezTo>
                <a:cubicBezTo>
                  <a:pt x="799" y="59"/>
                  <a:pt x="804" y="55"/>
                  <a:pt x="811" y="55"/>
                </a:cubicBezTo>
                <a:cubicBezTo>
                  <a:pt x="818" y="55"/>
                  <a:pt x="823" y="59"/>
                  <a:pt x="823" y="67"/>
                </a:cubicBezTo>
                <a:cubicBezTo>
                  <a:pt x="823" y="141"/>
                  <a:pt x="823" y="141"/>
                  <a:pt x="823" y="141"/>
                </a:cubicBezTo>
                <a:cubicBezTo>
                  <a:pt x="866" y="141"/>
                  <a:pt x="866" y="141"/>
                  <a:pt x="866" y="141"/>
                </a:cubicBezTo>
                <a:cubicBezTo>
                  <a:pt x="872" y="141"/>
                  <a:pt x="877" y="145"/>
                  <a:pt x="877" y="152"/>
                </a:cubicBezTo>
                <a:cubicBezTo>
                  <a:pt x="877" y="158"/>
                  <a:pt x="872" y="162"/>
                  <a:pt x="866" y="162"/>
                </a:cubicBezTo>
                <a:lnTo>
                  <a:pt x="811" y="162"/>
                </a:lnTo>
                <a:close/>
                <a:moveTo>
                  <a:pt x="919" y="162"/>
                </a:moveTo>
                <a:cubicBezTo>
                  <a:pt x="913" y="162"/>
                  <a:pt x="908" y="158"/>
                  <a:pt x="908" y="150"/>
                </a:cubicBezTo>
                <a:cubicBezTo>
                  <a:pt x="908" y="67"/>
                  <a:pt x="908" y="67"/>
                  <a:pt x="908" y="67"/>
                </a:cubicBezTo>
                <a:cubicBezTo>
                  <a:pt x="908" y="59"/>
                  <a:pt x="913" y="55"/>
                  <a:pt x="919" y="55"/>
                </a:cubicBezTo>
                <a:cubicBezTo>
                  <a:pt x="926" y="55"/>
                  <a:pt x="931" y="59"/>
                  <a:pt x="931" y="67"/>
                </a:cubicBezTo>
                <a:cubicBezTo>
                  <a:pt x="931" y="141"/>
                  <a:pt x="931" y="141"/>
                  <a:pt x="931" y="141"/>
                </a:cubicBezTo>
                <a:cubicBezTo>
                  <a:pt x="975" y="141"/>
                  <a:pt x="975" y="141"/>
                  <a:pt x="975" y="141"/>
                </a:cubicBezTo>
                <a:cubicBezTo>
                  <a:pt x="981" y="141"/>
                  <a:pt x="985" y="145"/>
                  <a:pt x="985" y="152"/>
                </a:cubicBezTo>
                <a:cubicBezTo>
                  <a:pt x="985" y="158"/>
                  <a:pt x="981" y="162"/>
                  <a:pt x="975" y="162"/>
                </a:cubicBezTo>
                <a:lnTo>
                  <a:pt x="919" y="16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55D8EFE0-F00D-46BC-9E29-8C829868EF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>
                <a:solidFill>
                  <a:schemeClr val="tx1"/>
                </a:solidFill>
              </a:defRPr>
            </a:lvl1pPr>
          </a:lstStyle>
          <a:p>
            <a:pPr algn="r"/>
            <a:endParaRPr lang="en-GB"/>
          </a:p>
        </p:txBody>
      </p:sp>
      <p:sp>
        <p:nvSpPr>
          <p:cNvPr id="17" name="Date_DateCustomA">
            <a:extLst>
              <a:ext uri="{FF2B5EF4-FFF2-40B4-BE49-F238E27FC236}">
                <a16:creationId xmlns:a16="http://schemas.microsoft.com/office/drawing/2014/main" id="{BA90A93D-37F9-4C65-91AC-8C8D05B4C5B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FA8D4E2C-4AD4-4902-9AA6-258C412AEED1}" type="datetime1">
              <a:rPr lang="en-GB" smtClean="0"/>
              <a:t>04/05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21732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7">
            <a:extLst>
              <a:ext uri="{FF2B5EF4-FFF2-40B4-BE49-F238E27FC236}">
                <a16:creationId xmlns:a16="http://schemas.microsoft.com/office/drawing/2014/main" id="{65C857B0-BA7F-4231-B59A-526700FAC8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2E9997-006D-492C-9877-F7617EDD29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7" name="Date_DateCustomA">
            <a:extLst>
              <a:ext uri="{FF2B5EF4-FFF2-40B4-BE49-F238E27FC236}">
                <a16:creationId xmlns:a16="http://schemas.microsoft.com/office/drawing/2014/main" id="{5FC6988B-A4CB-4E12-A565-68D705C3AB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F2E10D1A-D613-41CE-B02A-846290684BA0}" type="datetime1">
              <a:rPr lang="en-GB" smtClean="0"/>
              <a:t>04/05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17853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D070151B-B4F4-4EE0-9DBE-3FA9DC2263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52313398-5059-4FA2-A145-5866180CE4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815ABA-5AD9-4CFD-83D4-B9B9C9C5CC9C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04E06C4C-1305-421A-A7D4-7E9D495C76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90FC7959-3F75-408E-9892-D15E725B4F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DC2A16-8918-4093-8FB3-00182BD6EED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9017882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3ED85EA1-D7DA-4042-AE58-E34BD5AC52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5" name="Date_DateCustomA">
            <a:extLst>
              <a:ext uri="{FF2B5EF4-FFF2-40B4-BE49-F238E27FC236}">
                <a16:creationId xmlns:a16="http://schemas.microsoft.com/office/drawing/2014/main" id="{235F65ED-2265-47AB-ACC6-E4B66C39075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47FB7D42-25F0-4925-AB91-37097B4A81F1}" type="datetime1">
              <a:rPr lang="en-GB" smtClean="0"/>
              <a:t>04/05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7577377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6FA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7" tIns="45708" rIns="91417" bIns="45708" rtlCol="0" anchor="ctr"/>
          <a:lstStyle/>
          <a:p>
            <a:pPr algn="ctr"/>
            <a:endParaRPr lang="en-GB" sz="1800" noProof="0"/>
          </a:p>
        </p:txBody>
      </p:sp>
      <p:sp>
        <p:nvSpPr>
          <p:cNvPr id="2" name="Title Placeholder 1"/>
          <p:cNvSpPr>
            <a:spLocks noGrp="1"/>
          </p:cNvSpPr>
          <p:nvPr>
            <p:ph type="ctrTitle"/>
          </p:nvPr>
        </p:nvSpPr>
        <p:spPr>
          <a:xfrm>
            <a:off x="798617" y="452440"/>
            <a:ext cx="10590003" cy="1196444"/>
          </a:xfrm>
        </p:spPr>
        <p:txBody>
          <a:bodyPr tIns="0"/>
          <a:lstStyle>
            <a:lvl1pPr>
              <a:defRPr sz="3199" cap="all" baseline="0" smtClean="0">
                <a:solidFill>
                  <a:schemeClr val="bg1"/>
                </a:solidFill>
                <a:latin typeface="Verdana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2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135857DB-8C0B-4148-8AB1-F694D65BFA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>
                <a:solidFill>
                  <a:schemeClr val="bg1"/>
                </a:solidFill>
              </a:defRPr>
            </a:lvl1pPr>
          </a:lstStyle>
          <a:p>
            <a:pPr algn="r"/>
            <a:endParaRPr lang="en-GB"/>
          </a:p>
        </p:txBody>
      </p:sp>
      <p:sp>
        <p:nvSpPr>
          <p:cNvPr id="15" name="Date_DateCustomA">
            <a:extLst>
              <a:ext uri="{FF2B5EF4-FFF2-40B4-BE49-F238E27FC236}">
                <a16:creationId xmlns:a16="http://schemas.microsoft.com/office/drawing/2014/main" id="{862E3217-7BDA-45E6-ADB1-C065AF26456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bg1"/>
                </a:solidFill>
              </a:defRPr>
            </a:lvl1pPr>
          </a:lstStyle>
          <a:p>
            <a:pPr algn="r"/>
            <a:fld id="{9270F80D-0DED-41DC-8003-ACA44099192B}" type="datetime1">
              <a:rPr lang="en-GB" smtClean="0"/>
              <a:t>04/05/2022</a:t>
            </a:fld>
            <a:endParaRPr lang="en-GB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CCD3D23-05BF-4B57-8284-15FF6D12171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8617" y="6158174"/>
            <a:ext cx="2826368" cy="255541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019254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6FA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7" tIns="45708" rIns="91417" bIns="45708" rtlCol="0" anchor="ctr"/>
          <a:lstStyle/>
          <a:p>
            <a:pPr algn="ctr"/>
            <a:endParaRPr lang="en-GB" sz="1800" noProof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7DF7DBE-6CC3-4F9E-A396-E82820B89E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8618" y="452439"/>
            <a:ext cx="4886960" cy="443194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hank you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7AAE5DB4-A422-4286-935C-1ABCA4CCEF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8618" y="4970200"/>
            <a:ext cx="4886960" cy="365370"/>
          </a:xfrm>
        </p:spPr>
        <p:txBody>
          <a:bodyPr lIns="0" anchor="b" anchorCtr="0"/>
          <a:lstStyle>
            <a:lvl1pPr marL="0" indent="0">
              <a:buFont typeface="Arial" panose="020B0604020202020204" pitchFamily="34" charset="0"/>
              <a:buChar char="​"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Name, Department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B862EE0-F879-436B-A5EA-70A7F83ABF8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8618" y="5332765"/>
            <a:ext cx="4886960" cy="424314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1pPr>
            <a:lvl2pPr marL="395921" indent="0">
              <a:buFontTx/>
              <a:buNone/>
              <a:defRPr sz="1600">
                <a:solidFill>
                  <a:schemeClr val="bg1"/>
                </a:solidFill>
              </a:defRPr>
            </a:lvl2pPr>
            <a:lvl3pPr marL="727055" indent="0"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buFontTx/>
              <a:buNone/>
              <a:defRPr sz="1600">
                <a:solidFill>
                  <a:schemeClr val="bg1"/>
                </a:solidFill>
              </a:defRPr>
            </a:lvl4pPr>
            <a:lvl5pPr>
              <a:buFontTx/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x@ramboll.com</a:t>
            </a:r>
          </a:p>
        </p:txBody>
      </p:sp>
      <p:sp>
        <p:nvSpPr>
          <p:cNvPr id="12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09855619-46E8-4B12-8D5A-DE35520219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>
                <a:solidFill>
                  <a:schemeClr val="bg1"/>
                </a:solidFill>
              </a:defRPr>
            </a:lvl1pPr>
          </a:lstStyle>
          <a:p>
            <a:pPr algn="r"/>
            <a:endParaRPr lang="en-GB"/>
          </a:p>
        </p:txBody>
      </p:sp>
      <p:sp>
        <p:nvSpPr>
          <p:cNvPr id="18" name="Date_DateCustomA">
            <a:extLst>
              <a:ext uri="{FF2B5EF4-FFF2-40B4-BE49-F238E27FC236}">
                <a16:creationId xmlns:a16="http://schemas.microsoft.com/office/drawing/2014/main" id="{9CA6E42C-D397-4857-89FC-8B948A957D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bg1"/>
                </a:solidFill>
              </a:defRPr>
            </a:lvl1pPr>
          </a:lstStyle>
          <a:p>
            <a:pPr algn="r"/>
            <a:fld id="{5E849237-3873-4459-A547-67B1C8011873}" type="datetime1">
              <a:rPr lang="en-GB" smtClean="0"/>
              <a:t>04/05/2022</a:t>
            </a:fld>
            <a:endParaRPr lang="en-GB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649BD8C4-6612-438B-81F5-53DD9DF90E7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617" y="6158174"/>
            <a:ext cx="2826825" cy="255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13810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6FA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7" tIns="45708" rIns="91417" bIns="45708" rtlCol="0" anchor="ctr"/>
          <a:lstStyle/>
          <a:p>
            <a:pPr algn="ctr"/>
            <a:endParaRPr lang="en-GB" sz="1800" noProof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50DA34D-CD01-4059-B449-4DCD238F6AE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40"/>
            <a:ext cx="12192000" cy="6855521"/>
          </a:xfrm>
          <a:prstGeom prst="rect">
            <a:avLst/>
          </a:prstGeom>
        </p:spPr>
      </p:pic>
      <p:sp>
        <p:nvSpPr>
          <p:cNvPr id="12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135857DB-8C0B-4148-8AB1-F694D65BFA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>
                <a:solidFill>
                  <a:schemeClr val="bg1"/>
                </a:solidFill>
              </a:defRPr>
            </a:lvl1pPr>
          </a:lstStyle>
          <a:p>
            <a:pPr algn="r"/>
            <a:endParaRPr lang="en-GB"/>
          </a:p>
        </p:txBody>
      </p:sp>
      <p:sp>
        <p:nvSpPr>
          <p:cNvPr id="15" name="Date_DateCustomA">
            <a:extLst>
              <a:ext uri="{FF2B5EF4-FFF2-40B4-BE49-F238E27FC236}">
                <a16:creationId xmlns:a16="http://schemas.microsoft.com/office/drawing/2014/main" id="{862E3217-7BDA-45E6-ADB1-C065AF26456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bg1"/>
                </a:solidFill>
              </a:defRPr>
            </a:lvl1pPr>
          </a:lstStyle>
          <a:p>
            <a:pPr algn="r"/>
            <a:fld id="{9270F80D-0DED-41DC-8003-ACA44099192B}" type="datetime1">
              <a:rPr lang="en-GB" smtClean="0"/>
              <a:t>04/05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46076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82" indent="0" algn="ctr">
              <a:buNone/>
              <a:defRPr sz="1500"/>
            </a:lvl2pPr>
            <a:lvl3pPr marL="685766" indent="0" algn="ctr">
              <a:buNone/>
              <a:defRPr sz="1351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4" indent="0" algn="ctr">
              <a:buNone/>
              <a:defRPr sz="1200"/>
            </a:lvl6pPr>
            <a:lvl7pPr marL="2057298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115B5-22B3-3341-8606-329944385CDD}" type="datetimeFigureOut">
              <a:rPr lang="en-US" smtClean="0"/>
              <a:t>5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0F1FF-46A1-4F4C-A154-7A0A3DE72A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59504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115B5-22B3-3341-8606-329944385CDD}" type="datetimeFigureOut">
              <a:rPr lang="en-US" smtClean="0"/>
              <a:t>5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0F1FF-46A1-4F4C-A154-7A0A3DE72A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1011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50"/>
            <a:ext cx="105156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75"/>
            <a:ext cx="105156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88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66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3pPr>
            <a:lvl4pPr marL="10286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1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2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18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06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115B5-22B3-3341-8606-329944385CDD}" type="datetimeFigureOut">
              <a:rPr lang="en-US" smtClean="0"/>
              <a:t>5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0F1FF-46A1-4F4C-A154-7A0A3DE72A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588593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115B5-22B3-3341-8606-329944385CDD}" type="datetimeFigureOut">
              <a:rPr lang="en-US" smtClean="0"/>
              <a:t>5/4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0F1FF-46A1-4F4C-A154-7A0A3DE72A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941928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82" indent="0">
              <a:buNone/>
              <a:defRPr sz="1500" b="1"/>
            </a:lvl2pPr>
            <a:lvl3pPr marL="685766" indent="0">
              <a:buNone/>
              <a:defRPr sz="1351" b="1"/>
            </a:lvl3pPr>
            <a:lvl4pPr marL="1028649" indent="0">
              <a:buNone/>
              <a:defRPr sz="1200" b="1"/>
            </a:lvl4pPr>
            <a:lvl5pPr marL="1371532" indent="0">
              <a:buNone/>
              <a:defRPr sz="1200" b="1"/>
            </a:lvl5pPr>
            <a:lvl6pPr marL="1714414" indent="0">
              <a:buNone/>
              <a:defRPr sz="1200" b="1"/>
            </a:lvl6pPr>
            <a:lvl7pPr marL="2057298" indent="0">
              <a:buNone/>
              <a:defRPr sz="1200" b="1"/>
            </a:lvl7pPr>
            <a:lvl8pPr marL="2400180" indent="0">
              <a:buNone/>
              <a:defRPr sz="1200" b="1"/>
            </a:lvl8pPr>
            <a:lvl9pPr marL="274306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82" indent="0">
              <a:buNone/>
              <a:defRPr sz="1500" b="1"/>
            </a:lvl2pPr>
            <a:lvl3pPr marL="685766" indent="0">
              <a:buNone/>
              <a:defRPr sz="1351" b="1"/>
            </a:lvl3pPr>
            <a:lvl4pPr marL="1028649" indent="0">
              <a:buNone/>
              <a:defRPr sz="1200" b="1"/>
            </a:lvl4pPr>
            <a:lvl5pPr marL="1371532" indent="0">
              <a:buNone/>
              <a:defRPr sz="1200" b="1"/>
            </a:lvl5pPr>
            <a:lvl6pPr marL="1714414" indent="0">
              <a:buNone/>
              <a:defRPr sz="1200" b="1"/>
            </a:lvl6pPr>
            <a:lvl7pPr marL="2057298" indent="0">
              <a:buNone/>
              <a:defRPr sz="1200" b="1"/>
            </a:lvl7pPr>
            <a:lvl8pPr marL="2400180" indent="0">
              <a:buNone/>
              <a:defRPr sz="1200" b="1"/>
            </a:lvl8pPr>
            <a:lvl9pPr marL="274306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115B5-22B3-3341-8606-329944385CDD}" type="datetimeFigureOut">
              <a:rPr lang="en-US" smtClean="0"/>
              <a:t>5/4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0F1FF-46A1-4F4C-A154-7A0A3DE72A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454312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115B5-22B3-3341-8606-329944385CDD}" type="datetimeFigureOut">
              <a:rPr lang="en-US" smtClean="0"/>
              <a:t>5/4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0F1FF-46A1-4F4C-A154-7A0A3DE72A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42133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CC63AB53-18EE-4D68-9A99-22711EFDBC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815ABA-5AD9-4CFD-83D4-B9B9C9C5CC9C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3707C79B-4BBF-4E26-8BD8-D6916725F3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530C6B35-AF1D-48EB-A839-243C2AE75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DC2A16-8918-4093-8FB3-00182BD6EED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9476683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115B5-22B3-3341-8606-329944385CDD}" type="datetimeFigureOut">
              <a:rPr lang="en-US" smtClean="0"/>
              <a:t>5/4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0F1FF-46A1-4F4C-A154-7A0A3DE72A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314673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37"/>
            <a:ext cx="617220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882" indent="0">
              <a:buNone/>
              <a:defRPr sz="1051"/>
            </a:lvl2pPr>
            <a:lvl3pPr marL="685766" indent="0">
              <a:buNone/>
              <a:defRPr sz="900"/>
            </a:lvl3pPr>
            <a:lvl4pPr marL="1028649" indent="0">
              <a:buNone/>
              <a:defRPr sz="751"/>
            </a:lvl4pPr>
            <a:lvl5pPr marL="1371532" indent="0">
              <a:buNone/>
              <a:defRPr sz="751"/>
            </a:lvl5pPr>
            <a:lvl6pPr marL="1714414" indent="0">
              <a:buNone/>
              <a:defRPr sz="751"/>
            </a:lvl6pPr>
            <a:lvl7pPr marL="2057298" indent="0">
              <a:buNone/>
              <a:defRPr sz="751"/>
            </a:lvl7pPr>
            <a:lvl8pPr marL="2400180" indent="0">
              <a:buNone/>
              <a:defRPr sz="751"/>
            </a:lvl8pPr>
            <a:lvl9pPr marL="2743062" indent="0">
              <a:buNone/>
              <a:defRPr sz="75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115B5-22B3-3341-8606-329944385CDD}" type="datetimeFigureOut">
              <a:rPr lang="en-US" smtClean="0"/>
              <a:t>5/4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0F1FF-46A1-4F4C-A154-7A0A3DE72A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037046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37"/>
            <a:ext cx="617220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882" indent="0">
              <a:buNone/>
              <a:defRPr sz="2100"/>
            </a:lvl2pPr>
            <a:lvl3pPr marL="685766" indent="0">
              <a:buNone/>
              <a:defRPr sz="1800"/>
            </a:lvl3pPr>
            <a:lvl4pPr marL="1028649" indent="0">
              <a:buNone/>
              <a:defRPr sz="1500"/>
            </a:lvl4pPr>
            <a:lvl5pPr marL="1371532" indent="0">
              <a:buNone/>
              <a:defRPr sz="1500"/>
            </a:lvl5pPr>
            <a:lvl6pPr marL="1714414" indent="0">
              <a:buNone/>
              <a:defRPr sz="1500"/>
            </a:lvl6pPr>
            <a:lvl7pPr marL="2057298" indent="0">
              <a:buNone/>
              <a:defRPr sz="1500"/>
            </a:lvl7pPr>
            <a:lvl8pPr marL="2400180" indent="0">
              <a:buNone/>
              <a:defRPr sz="1500"/>
            </a:lvl8pPr>
            <a:lvl9pPr marL="2743062" indent="0">
              <a:buNone/>
              <a:defRPr sz="1500"/>
            </a:lvl9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882" indent="0">
              <a:buNone/>
              <a:defRPr sz="1051"/>
            </a:lvl2pPr>
            <a:lvl3pPr marL="685766" indent="0">
              <a:buNone/>
              <a:defRPr sz="900"/>
            </a:lvl3pPr>
            <a:lvl4pPr marL="1028649" indent="0">
              <a:buNone/>
              <a:defRPr sz="751"/>
            </a:lvl4pPr>
            <a:lvl5pPr marL="1371532" indent="0">
              <a:buNone/>
              <a:defRPr sz="751"/>
            </a:lvl5pPr>
            <a:lvl6pPr marL="1714414" indent="0">
              <a:buNone/>
              <a:defRPr sz="751"/>
            </a:lvl6pPr>
            <a:lvl7pPr marL="2057298" indent="0">
              <a:buNone/>
              <a:defRPr sz="751"/>
            </a:lvl7pPr>
            <a:lvl8pPr marL="2400180" indent="0">
              <a:buNone/>
              <a:defRPr sz="751"/>
            </a:lvl8pPr>
            <a:lvl9pPr marL="2743062" indent="0">
              <a:buNone/>
              <a:defRPr sz="75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115B5-22B3-3341-8606-329944385CDD}" type="datetimeFigureOut">
              <a:rPr lang="en-US" smtClean="0"/>
              <a:t>5/4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0F1FF-46A1-4F4C-A154-7A0A3DE72A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695850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115B5-22B3-3341-8606-329944385CDD}" type="datetimeFigureOut">
              <a:rPr lang="en-US" smtClean="0"/>
              <a:t>5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0F1FF-46A1-4F4C-A154-7A0A3DE72A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919883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115B5-22B3-3341-8606-329944385CDD}" type="datetimeFigureOut">
              <a:rPr lang="en-US" smtClean="0"/>
              <a:t>5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0F1FF-46A1-4F4C-A154-7A0A3DE72A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735528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rside gro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7381" y="3813043"/>
            <a:ext cx="8736971" cy="576000"/>
          </a:xfrm>
          <a:prstGeom prst="rect">
            <a:avLst/>
          </a:prstGeom>
        </p:spPr>
        <p:txBody>
          <a:bodyPr lIns="108000" rtlCol="0"/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charset="2"/>
              <a:buNone/>
              <a:tabLst/>
              <a:defRPr sz="2133">
                <a:solidFill>
                  <a:schemeClr val="bg1"/>
                </a:solidFill>
                <a:effectLst/>
                <a:latin typeface="Segoe UI"/>
                <a:cs typeface="Segoe UI"/>
              </a:defRPr>
            </a:lvl1pPr>
            <a:lvl2pPr marL="428599" indent="0" algn="ctr">
              <a:buNone/>
              <a:defRPr/>
            </a:lvl2pPr>
            <a:lvl3pPr marL="857199" indent="0" algn="ctr">
              <a:buNone/>
              <a:defRPr/>
            </a:lvl3pPr>
            <a:lvl4pPr marL="1285797" indent="0" algn="ctr">
              <a:buNone/>
              <a:defRPr/>
            </a:lvl4pPr>
            <a:lvl5pPr marL="1714396" indent="0" algn="ctr">
              <a:buNone/>
              <a:defRPr/>
            </a:lvl5pPr>
            <a:lvl6pPr marL="2142996" indent="0" algn="ctr">
              <a:buNone/>
              <a:defRPr/>
            </a:lvl6pPr>
            <a:lvl7pPr marL="2571594" indent="0" algn="ctr">
              <a:buNone/>
              <a:defRPr/>
            </a:lvl7pPr>
            <a:lvl8pPr marL="3000193" indent="0" algn="ctr">
              <a:buNone/>
              <a:defRPr/>
            </a:lvl8pPr>
            <a:lvl9pPr marL="3428793" indent="0" algn="ctr">
              <a:buNone/>
              <a:defRPr/>
            </a:lvl9pPr>
          </a:lstStyle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charset="2"/>
              <a:buNone/>
              <a:tabLst/>
              <a:defRPr/>
            </a:pPr>
            <a:r>
              <a:rPr lang="nb-no"/>
              <a:t>Click to edit subtitle style</a:t>
            </a:r>
            <a:endParaRPr lang="en-US"/>
          </a:p>
        </p:txBody>
      </p:sp>
      <p:sp>
        <p:nvSpPr>
          <p:cNvPr id="12" name="Tittel 8"/>
          <p:cNvSpPr>
            <a:spLocks noGrp="1"/>
          </p:cNvSpPr>
          <p:nvPr>
            <p:ph type="title" hasCustomPrompt="1"/>
          </p:nvPr>
        </p:nvSpPr>
        <p:spPr>
          <a:xfrm>
            <a:off x="527381" y="3069000"/>
            <a:ext cx="8736971" cy="720000"/>
          </a:xfrm>
          <a:prstGeom prst="rect">
            <a:avLst/>
          </a:prstGeom>
        </p:spPr>
        <p:txBody>
          <a:bodyPr rtlCol="0" anchor="ctr" anchorCtr="0"/>
          <a:lstStyle>
            <a:lvl1pPr algn="l">
              <a:defRPr sz="5333">
                <a:solidFill>
                  <a:schemeClr val="bg1"/>
                </a:solidFill>
                <a:effectLst/>
                <a:latin typeface="Segoe UI"/>
                <a:cs typeface="Segoe UI"/>
              </a:defRPr>
            </a:lvl1pPr>
          </a:lstStyle>
          <a:p>
            <a:pPr rtl="0"/>
            <a:r>
              <a:rPr lang="nb-no"/>
              <a:t>Click to edit title style</a:t>
            </a:r>
          </a:p>
        </p:txBody>
      </p:sp>
      <p:grpSp>
        <p:nvGrpSpPr>
          <p:cNvPr id="7" name="Gruppe 6"/>
          <p:cNvGrpSpPr/>
          <p:nvPr/>
        </p:nvGrpSpPr>
        <p:grpSpPr>
          <a:xfrm>
            <a:off x="10224459" y="452669"/>
            <a:ext cx="1396512" cy="960107"/>
            <a:chOff x="3187937" y="496671"/>
            <a:chExt cx="1405800" cy="966600"/>
          </a:xfrm>
          <a:solidFill>
            <a:schemeClr val="accent1"/>
          </a:solidFill>
        </p:grpSpPr>
        <p:sp>
          <p:nvSpPr>
            <p:cNvPr id="8" name="Freeform: Shape 2"/>
            <p:cNvSpPr/>
            <p:nvPr/>
          </p:nvSpPr>
          <p:spPr>
            <a:xfrm>
              <a:off x="4213577" y="713031"/>
              <a:ext cx="380160" cy="534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57" h="1485">
                  <a:moveTo>
                    <a:pt x="138" y="1346"/>
                  </a:moveTo>
                  <a:cubicBezTo>
                    <a:pt x="138" y="1155"/>
                    <a:pt x="138" y="964"/>
                    <a:pt x="138" y="773"/>
                  </a:cubicBezTo>
                  <a:cubicBezTo>
                    <a:pt x="287" y="773"/>
                    <a:pt x="437" y="773"/>
                    <a:pt x="586" y="773"/>
                  </a:cubicBezTo>
                  <a:cubicBezTo>
                    <a:pt x="780" y="773"/>
                    <a:pt x="917" y="884"/>
                    <a:pt x="917" y="1040"/>
                  </a:cubicBezTo>
                  <a:cubicBezTo>
                    <a:pt x="918" y="1116"/>
                    <a:pt x="918" y="1346"/>
                    <a:pt x="532" y="1346"/>
                  </a:cubicBezTo>
                  <a:cubicBezTo>
                    <a:pt x="401" y="1346"/>
                    <a:pt x="269" y="1346"/>
                    <a:pt x="138" y="1346"/>
                  </a:cubicBezTo>
                  <a:close/>
                  <a:moveTo>
                    <a:pt x="471" y="138"/>
                  </a:moveTo>
                  <a:cubicBezTo>
                    <a:pt x="589" y="138"/>
                    <a:pt x="675" y="157"/>
                    <a:pt x="732" y="196"/>
                  </a:cubicBezTo>
                  <a:cubicBezTo>
                    <a:pt x="767" y="221"/>
                    <a:pt x="816" y="271"/>
                    <a:pt x="816" y="395"/>
                  </a:cubicBezTo>
                  <a:cubicBezTo>
                    <a:pt x="816" y="616"/>
                    <a:pt x="641" y="635"/>
                    <a:pt x="587" y="635"/>
                  </a:cubicBezTo>
                  <a:cubicBezTo>
                    <a:pt x="438" y="635"/>
                    <a:pt x="289" y="635"/>
                    <a:pt x="140" y="635"/>
                  </a:cubicBezTo>
                  <a:cubicBezTo>
                    <a:pt x="140" y="469"/>
                    <a:pt x="140" y="304"/>
                    <a:pt x="140" y="138"/>
                  </a:cubicBezTo>
                  <a:cubicBezTo>
                    <a:pt x="250" y="138"/>
                    <a:pt x="361" y="138"/>
                    <a:pt x="471" y="138"/>
                  </a:cubicBezTo>
                  <a:close/>
                  <a:moveTo>
                    <a:pt x="838" y="692"/>
                  </a:moveTo>
                  <a:cubicBezTo>
                    <a:pt x="836" y="690"/>
                    <a:pt x="833" y="689"/>
                    <a:pt x="831" y="687"/>
                  </a:cubicBezTo>
                  <a:cubicBezTo>
                    <a:pt x="833" y="685"/>
                    <a:pt x="834" y="684"/>
                    <a:pt x="836" y="682"/>
                  </a:cubicBezTo>
                  <a:cubicBezTo>
                    <a:pt x="889" y="635"/>
                    <a:pt x="953" y="546"/>
                    <a:pt x="953" y="395"/>
                  </a:cubicBezTo>
                  <a:cubicBezTo>
                    <a:pt x="953" y="255"/>
                    <a:pt x="905" y="150"/>
                    <a:pt x="810" y="84"/>
                  </a:cubicBezTo>
                  <a:cubicBezTo>
                    <a:pt x="730" y="27"/>
                    <a:pt x="619" y="0"/>
                    <a:pt x="471" y="0"/>
                  </a:cubicBezTo>
                  <a:cubicBezTo>
                    <a:pt x="329" y="0"/>
                    <a:pt x="187" y="0"/>
                    <a:pt x="45" y="0"/>
                  </a:cubicBezTo>
                  <a:cubicBezTo>
                    <a:pt x="20" y="0"/>
                    <a:pt x="0" y="20"/>
                    <a:pt x="0" y="45"/>
                  </a:cubicBezTo>
                  <a:cubicBezTo>
                    <a:pt x="0" y="510"/>
                    <a:pt x="0" y="975"/>
                    <a:pt x="0" y="1440"/>
                  </a:cubicBezTo>
                  <a:cubicBezTo>
                    <a:pt x="0" y="1464"/>
                    <a:pt x="20" y="1485"/>
                    <a:pt x="45" y="1485"/>
                  </a:cubicBezTo>
                  <a:cubicBezTo>
                    <a:pt x="207" y="1485"/>
                    <a:pt x="370" y="1485"/>
                    <a:pt x="532" y="1485"/>
                  </a:cubicBezTo>
                  <a:cubicBezTo>
                    <a:pt x="685" y="1485"/>
                    <a:pt x="809" y="1453"/>
                    <a:pt x="896" y="1387"/>
                  </a:cubicBezTo>
                  <a:cubicBezTo>
                    <a:pt x="947" y="1349"/>
                    <a:pt x="988" y="1301"/>
                    <a:pt x="1014" y="1244"/>
                  </a:cubicBezTo>
                  <a:cubicBezTo>
                    <a:pt x="1042" y="1186"/>
                    <a:pt x="1057" y="1116"/>
                    <a:pt x="1057" y="1040"/>
                  </a:cubicBezTo>
                  <a:cubicBezTo>
                    <a:pt x="1057" y="922"/>
                    <a:pt x="1007" y="817"/>
                    <a:pt x="915" y="743"/>
                  </a:cubicBezTo>
                  <a:cubicBezTo>
                    <a:pt x="892" y="724"/>
                    <a:pt x="866" y="706"/>
                    <a:pt x="838" y="692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rtlCol="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nb-NO" sz="2400" b="0" i="0" u="none" strike="noStrike" kern="1200">
                <a:ln>
                  <a:noFill/>
                </a:ln>
                <a:latin typeface="Segoe UI" panose="020B0502040204020203" pitchFamily="34" charset="0"/>
                <a:ea typeface="SimSun" pitchFamily="2"/>
                <a:cs typeface="Lucida Sans" pitchFamily="2"/>
              </a:endParaRPr>
            </a:p>
          </p:txBody>
        </p:sp>
        <p:sp>
          <p:nvSpPr>
            <p:cNvPr id="9" name="Freeform: Shape 3"/>
            <p:cNvSpPr/>
            <p:nvPr/>
          </p:nvSpPr>
          <p:spPr>
            <a:xfrm>
              <a:off x="3187937" y="713031"/>
              <a:ext cx="399240" cy="534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10" h="1485">
                  <a:moveTo>
                    <a:pt x="449" y="1348"/>
                  </a:moveTo>
                  <a:cubicBezTo>
                    <a:pt x="346" y="1348"/>
                    <a:pt x="242" y="1348"/>
                    <a:pt x="139" y="1348"/>
                  </a:cubicBezTo>
                  <a:cubicBezTo>
                    <a:pt x="139" y="945"/>
                    <a:pt x="139" y="542"/>
                    <a:pt x="139" y="139"/>
                  </a:cubicBezTo>
                  <a:cubicBezTo>
                    <a:pt x="242" y="139"/>
                    <a:pt x="346" y="139"/>
                    <a:pt x="449" y="139"/>
                  </a:cubicBezTo>
                  <a:cubicBezTo>
                    <a:pt x="563" y="139"/>
                    <a:pt x="723" y="169"/>
                    <a:pt x="837" y="310"/>
                  </a:cubicBezTo>
                  <a:cubicBezTo>
                    <a:pt x="961" y="462"/>
                    <a:pt x="970" y="687"/>
                    <a:pt x="970" y="753"/>
                  </a:cubicBezTo>
                  <a:cubicBezTo>
                    <a:pt x="970" y="849"/>
                    <a:pt x="952" y="1034"/>
                    <a:pt x="837" y="1177"/>
                  </a:cubicBezTo>
                  <a:cubicBezTo>
                    <a:pt x="722" y="1317"/>
                    <a:pt x="563" y="1348"/>
                    <a:pt x="449" y="1348"/>
                  </a:cubicBezTo>
                  <a:close/>
                  <a:moveTo>
                    <a:pt x="710" y="48"/>
                  </a:moveTo>
                  <a:cubicBezTo>
                    <a:pt x="630" y="16"/>
                    <a:pt x="543" y="0"/>
                    <a:pt x="449" y="0"/>
                  </a:cubicBezTo>
                  <a:cubicBezTo>
                    <a:pt x="315" y="0"/>
                    <a:pt x="180" y="0"/>
                    <a:pt x="46" y="0"/>
                  </a:cubicBezTo>
                  <a:cubicBezTo>
                    <a:pt x="21" y="0"/>
                    <a:pt x="0" y="20"/>
                    <a:pt x="0" y="45"/>
                  </a:cubicBezTo>
                  <a:cubicBezTo>
                    <a:pt x="0" y="510"/>
                    <a:pt x="0" y="975"/>
                    <a:pt x="0" y="1440"/>
                  </a:cubicBezTo>
                  <a:cubicBezTo>
                    <a:pt x="0" y="1464"/>
                    <a:pt x="21" y="1485"/>
                    <a:pt x="46" y="1485"/>
                  </a:cubicBezTo>
                  <a:cubicBezTo>
                    <a:pt x="180" y="1485"/>
                    <a:pt x="315" y="1485"/>
                    <a:pt x="449" y="1485"/>
                  </a:cubicBezTo>
                  <a:cubicBezTo>
                    <a:pt x="543" y="1485"/>
                    <a:pt x="630" y="1469"/>
                    <a:pt x="710" y="1437"/>
                  </a:cubicBezTo>
                  <a:cubicBezTo>
                    <a:pt x="802" y="1399"/>
                    <a:pt x="882" y="1342"/>
                    <a:pt x="945" y="1265"/>
                  </a:cubicBezTo>
                  <a:cubicBezTo>
                    <a:pt x="1088" y="1090"/>
                    <a:pt x="1110" y="868"/>
                    <a:pt x="1110" y="752"/>
                  </a:cubicBezTo>
                  <a:cubicBezTo>
                    <a:pt x="1108" y="652"/>
                    <a:pt x="1094" y="403"/>
                    <a:pt x="945" y="221"/>
                  </a:cubicBezTo>
                  <a:cubicBezTo>
                    <a:pt x="882" y="144"/>
                    <a:pt x="804" y="87"/>
                    <a:pt x="710" y="48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rtlCol="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nb-NO" sz="2400" b="0" i="0" u="none" strike="noStrike" kern="1200">
                <a:ln>
                  <a:noFill/>
                </a:ln>
                <a:latin typeface="Segoe UI" panose="020B0502040204020203" pitchFamily="34" charset="0"/>
                <a:ea typeface="SimSun" pitchFamily="2"/>
                <a:cs typeface="Lucida Sans" pitchFamily="2"/>
              </a:endParaRPr>
            </a:p>
          </p:txBody>
        </p:sp>
        <p:sp>
          <p:nvSpPr>
            <p:cNvPr id="10" name="Freeform: Shape 4"/>
            <p:cNvSpPr/>
            <p:nvPr/>
          </p:nvSpPr>
          <p:spPr>
            <a:xfrm>
              <a:off x="3687617" y="496671"/>
              <a:ext cx="406440" cy="9666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30" h="2686">
                  <a:moveTo>
                    <a:pt x="1130" y="0"/>
                  </a:moveTo>
                  <a:cubicBezTo>
                    <a:pt x="1130" y="684"/>
                    <a:pt x="1130" y="1367"/>
                    <a:pt x="1130" y="2051"/>
                  </a:cubicBezTo>
                  <a:cubicBezTo>
                    <a:pt x="1130" y="2070"/>
                    <a:pt x="1118" y="2086"/>
                    <a:pt x="1100" y="2092"/>
                  </a:cubicBezTo>
                  <a:cubicBezTo>
                    <a:pt x="1096" y="2093"/>
                    <a:pt x="1092" y="2094"/>
                    <a:pt x="1087" y="2094"/>
                  </a:cubicBezTo>
                  <a:cubicBezTo>
                    <a:pt x="1073" y="2094"/>
                    <a:pt x="1061" y="2087"/>
                    <a:pt x="1052" y="2077"/>
                  </a:cubicBezTo>
                  <a:cubicBezTo>
                    <a:pt x="747" y="1688"/>
                    <a:pt x="443" y="1300"/>
                    <a:pt x="138" y="911"/>
                  </a:cubicBezTo>
                  <a:cubicBezTo>
                    <a:pt x="138" y="1503"/>
                    <a:pt x="138" y="2094"/>
                    <a:pt x="138" y="2686"/>
                  </a:cubicBezTo>
                  <a:cubicBezTo>
                    <a:pt x="92" y="2686"/>
                    <a:pt x="46" y="2686"/>
                    <a:pt x="0" y="2686"/>
                  </a:cubicBezTo>
                  <a:cubicBezTo>
                    <a:pt x="0" y="2001"/>
                    <a:pt x="0" y="1316"/>
                    <a:pt x="0" y="631"/>
                  </a:cubicBezTo>
                  <a:cubicBezTo>
                    <a:pt x="0" y="612"/>
                    <a:pt x="12" y="596"/>
                    <a:pt x="29" y="590"/>
                  </a:cubicBezTo>
                  <a:cubicBezTo>
                    <a:pt x="34" y="589"/>
                    <a:pt x="38" y="589"/>
                    <a:pt x="42" y="589"/>
                  </a:cubicBezTo>
                  <a:cubicBezTo>
                    <a:pt x="55" y="589"/>
                    <a:pt x="68" y="595"/>
                    <a:pt x="77" y="606"/>
                  </a:cubicBezTo>
                  <a:cubicBezTo>
                    <a:pt x="382" y="994"/>
                    <a:pt x="686" y="1383"/>
                    <a:pt x="991" y="1771"/>
                  </a:cubicBezTo>
                  <a:cubicBezTo>
                    <a:pt x="991" y="1181"/>
                    <a:pt x="991" y="590"/>
                    <a:pt x="991" y="0"/>
                  </a:cubicBezTo>
                  <a:cubicBezTo>
                    <a:pt x="1037" y="0"/>
                    <a:pt x="1084" y="0"/>
                    <a:pt x="1130" y="0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rtlCol="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nb-NO" sz="2400" b="0" i="0" u="none" strike="noStrike" kern="1200">
                <a:ln>
                  <a:noFill/>
                </a:ln>
                <a:latin typeface="Segoe UI" panose="020B0502040204020203" pitchFamily="34" charset="0"/>
                <a:ea typeface="SimSun" pitchFamily="2"/>
                <a:cs typeface="Lucida Sans" pitchFamily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26618436"/>
      </p:ext>
    </p:extLst>
  </p:cSld>
  <p:clrMapOvr>
    <a:masterClrMapping/>
  </p:clrMapOvr>
  <p:transition spd="med"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rside mintgro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ktangel 12"/>
          <p:cNvSpPr/>
          <p:nvPr/>
        </p:nvSpPr>
        <p:spPr bwMode="auto">
          <a:xfrm>
            <a:off x="1" y="0"/>
            <a:ext cx="12192000" cy="6864000"/>
          </a:xfrm>
          <a:prstGeom prst="rect">
            <a:avLst/>
          </a:prstGeom>
          <a:solidFill>
            <a:srgbClr val="A5E1D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19403" y="3813043"/>
            <a:ext cx="10753195" cy="576000"/>
          </a:xfrm>
          <a:prstGeom prst="rect">
            <a:avLst/>
          </a:prstGeom>
        </p:spPr>
        <p:txBody>
          <a:bodyPr lIns="108000" rtlCol="0"/>
          <a:lstStyle>
            <a:lvl1pPr marL="0" indent="0" algn="l">
              <a:spcBef>
                <a:spcPts val="0"/>
              </a:spcBef>
              <a:buNone/>
              <a:defRPr sz="2133">
                <a:solidFill>
                  <a:schemeClr val="accent2"/>
                </a:solidFill>
                <a:effectLst/>
                <a:latin typeface="Segoe UI"/>
                <a:cs typeface="Segoe UI"/>
              </a:defRPr>
            </a:lvl1pPr>
            <a:lvl2pPr marL="428599" indent="0" algn="ctr">
              <a:buNone/>
              <a:defRPr/>
            </a:lvl2pPr>
            <a:lvl3pPr marL="857199" indent="0" algn="ctr">
              <a:buNone/>
              <a:defRPr/>
            </a:lvl3pPr>
            <a:lvl4pPr marL="1285797" indent="0" algn="ctr">
              <a:buNone/>
              <a:defRPr/>
            </a:lvl4pPr>
            <a:lvl5pPr marL="1714396" indent="0" algn="ctr">
              <a:buNone/>
              <a:defRPr/>
            </a:lvl5pPr>
            <a:lvl6pPr marL="2142996" indent="0" algn="ctr">
              <a:buNone/>
              <a:defRPr/>
            </a:lvl6pPr>
            <a:lvl7pPr marL="2571594" indent="0" algn="ctr">
              <a:buNone/>
              <a:defRPr/>
            </a:lvl7pPr>
            <a:lvl8pPr marL="3000193" indent="0" algn="ctr">
              <a:buNone/>
              <a:defRPr/>
            </a:lvl8pPr>
            <a:lvl9pPr marL="3428793" indent="0" algn="ctr">
              <a:buNone/>
              <a:defRPr/>
            </a:lvl9pPr>
          </a:lstStyle>
          <a:p>
            <a:pPr rtl="0"/>
            <a:r>
              <a:rPr lang="nb-no"/>
              <a:t>Click to edit subtitle style</a:t>
            </a:r>
            <a:endParaRPr lang="en-US"/>
          </a:p>
        </p:txBody>
      </p:sp>
      <p:sp>
        <p:nvSpPr>
          <p:cNvPr id="12" name="Tittel 8"/>
          <p:cNvSpPr>
            <a:spLocks noGrp="1"/>
          </p:cNvSpPr>
          <p:nvPr>
            <p:ph type="title" hasCustomPrompt="1"/>
          </p:nvPr>
        </p:nvSpPr>
        <p:spPr>
          <a:xfrm>
            <a:off x="719403" y="3069000"/>
            <a:ext cx="10753195" cy="720000"/>
          </a:xfrm>
          <a:prstGeom prst="rect">
            <a:avLst/>
          </a:prstGeom>
        </p:spPr>
        <p:txBody>
          <a:bodyPr rtlCol="0" anchor="ctr" anchorCtr="0"/>
          <a:lstStyle>
            <a:lvl1pPr algn="l">
              <a:defRPr sz="5333">
                <a:solidFill>
                  <a:schemeClr val="accent2"/>
                </a:solidFill>
                <a:effectLst/>
                <a:latin typeface="Segoe UI"/>
                <a:cs typeface="Segoe UI"/>
              </a:defRPr>
            </a:lvl1pPr>
          </a:lstStyle>
          <a:p>
            <a:pPr rtl="0"/>
            <a:r>
              <a:rPr lang="nb-no"/>
              <a:t>Click to edit title style</a:t>
            </a:r>
          </a:p>
        </p:txBody>
      </p:sp>
    </p:spTree>
    <p:extLst>
      <p:ext uri="{BB962C8B-B14F-4D97-AF65-F5344CB8AC3E}">
        <p14:creationId xmlns:p14="http://schemas.microsoft.com/office/powerpoint/2010/main" val="699065775"/>
      </p:ext>
    </p:extLst>
  </p:cSld>
  <p:clrMapOvr>
    <a:masterClrMapping/>
  </p:clrMapOvr>
  <p:transition spd="med"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teldeling med bilde 1: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bilde 5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3048000" cy="6864000"/>
          </a:xfrm>
          <a:prstGeom prst="rect">
            <a:avLst/>
          </a:prstGeom>
        </p:spPr>
        <p:txBody>
          <a:bodyPr rtlCol="0" anchor="ctr" anchorCtr="0"/>
          <a:lstStyle>
            <a:lvl1pPr marL="270111" indent="-270111" algn="ctr">
              <a:spcBef>
                <a:spcPts val="1067"/>
              </a:spcBef>
              <a:buClr>
                <a:schemeClr val="accent2"/>
              </a:buClr>
              <a:buSzPct val="100000"/>
              <a:defRPr b="0" i="0"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rtl="0"/>
            <a:endParaRPr lang="nb-NO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272BA749-D80E-874E-8FD8-316BCFA3A8B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98591" y="3813043"/>
            <a:ext cx="8362039" cy="576000"/>
          </a:xfrm>
          <a:prstGeom prst="rect">
            <a:avLst/>
          </a:prstGeom>
        </p:spPr>
        <p:txBody>
          <a:bodyPr lIns="108000" rtlCol="0"/>
          <a:lstStyle>
            <a:lvl1pPr marL="0" indent="0" algn="l">
              <a:spcBef>
                <a:spcPts val="0"/>
              </a:spcBef>
              <a:buNone/>
              <a:defRPr sz="2133">
                <a:solidFill>
                  <a:schemeClr val="accent2"/>
                </a:solidFill>
                <a:effectLst/>
                <a:latin typeface="Segoe UI"/>
                <a:cs typeface="Segoe UI"/>
              </a:defRPr>
            </a:lvl1pPr>
            <a:lvl2pPr marL="428599" indent="0" algn="ctr">
              <a:buNone/>
              <a:defRPr/>
            </a:lvl2pPr>
            <a:lvl3pPr marL="857199" indent="0" algn="ctr">
              <a:buNone/>
              <a:defRPr/>
            </a:lvl3pPr>
            <a:lvl4pPr marL="1285797" indent="0" algn="ctr">
              <a:buNone/>
              <a:defRPr/>
            </a:lvl4pPr>
            <a:lvl5pPr marL="1714396" indent="0" algn="ctr">
              <a:buNone/>
              <a:defRPr/>
            </a:lvl5pPr>
            <a:lvl6pPr marL="2142996" indent="0" algn="ctr">
              <a:buNone/>
              <a:defRPr/>
            </a:lvl6pPr>
            <a:lvl7pPr marL="2571594" indent="0" algn="ctr">
              <a:buNone/>
              <a:defRPr/>
            </a:lvl7pPr>
            <a:lvl8pPr marL="3000193" indent="0" algn="ctr">
              <a:buNone/>
              <a:defRPr/>
            </a:lvl8pPr>
            <a:lvl9pPr marL="3428793" indent="0" algn="ctr">
              <a:buNone/>
              <a:defRPr/>
            </a:lvl9pPr>
          </a:lstStyle>
          <a:p>
            <a:pPr rtl="0"/>
            <a:r>
              <a:rPr lang="nb-no"/>
              <a:t>Click to edit subtitle style</a:t>
            </a:r>
            <a:endParaRPr lang="en-US"/>
          </a:p>
        </p:txBody>
      </p:sp>
      <p:sp>
        <p:nvSpPr>
          <p:cNvPr id="6" name="Tittel 8">
            <a:extLst>
              <a:ext uri="{FF2B5EF4-FFF2-40B4-BE49-F238E27FC236}">
                <a16:creationId xmlns:a16="http://schemas.microsoft.com/office/drawing/2014/main" id="{B0063F3A-B40D-974A-8261-0412BC25F5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98591" y="3069000"/>
            <a:ext cx="8362039" cy="720000"/>
          </a:xfrm>
          <a:prstGeom prst="rect">
            <a:avLst/>
          </a:prstGeom>
        </p:spPr>
        <p:txBody>
          <a:bodyPr rtlCol="0" anchor="ctr" anchorCtr="0"/>
          <a:lstStyle>
            <a:lvl1pPr algn="l">
              <a:defRPr sz="5333">
                <a:solidFill>
                  <a:schemeClr val="accent2"/>
                </a:solidFill>
                <a:effectLst/>
                <a:latin typeface="Segoe UI"/>
                <a:cs typeface="Segoe UI"/>
              </a:defRPr>
            </a:lvl1pPr>
          </a:lstStyle>
          <a:p>
            <a:pPr rtl="0"/>
            <a:r>
              <a:rPr lang="nb-no"/>
              <a:t>Click to edit title style</a:t>
            </a:r>
          </a:p>
        </p:txBody>
      </p:sp>
    </p:spTree>
    <p:extLst>
      <p:ext uri="{BB962C8B-B14F-4D97-AF65-F5344CB8AC3E}">
        <p14:creationId xmlns:p14="http://schemas.microsoft.com/office/powerpoint/2010/main" val="2781728333"/>
      </p:ext>
    </p:extLst>
  </p:cSld>
  <p:clrMapOvr>
    <a:masterClrMapping/>
  </p:clrMapOvr>
  <p:transition spd="med"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Kapitteldeling med bilde 1: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/>
        </p:nvSpPr>
        <p:spPr bwMode="auto">
          <a:xfrm>
            <a:off x="3048000" y="0"/>
            <a:ext cx="9144000" cy="6858000"/>
          </a:xfrm>
          <a:prstGeom prst="rect">
            <a:avLst/>
          </a:prstGeom>
          <a:solidFill>
            <a:srgbClr val="A5E1D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14" name="Plassholder for bilde 5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3048000" cy="6864000"/>
          </a:xfrm>
          <a:prstGeom prst="rect">
            <a:avLst/>
          </a:prstGeom>
        </p:spPr>
        <p:txBody>
          <a:bodyPr rtlCol="0" anchor="ctr" anchorCtr="0"/>
          <a:lstStyle>
            <a:lvl1pPr marL="270111" indent="-270111" algn="ctr">
              <a:spcBef>
                <a:spcPts val="1067"/>
              </a:spcBef>
              <a:buClr>
                <a:schemeClr val="accent2"/>
              </a:buClr>
              <a:buSzPct val="100000"/>
              <a:defRPr b="0" i="0"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rtl="0"/>
            <a:endParaRPr lang="nb-NO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9A6BF9D1-B70E-C04B-BC53-1433BEF2C8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98591" y="3813043"/>
            <a:ext cx="8362039" cy="576000"/>
          </a:xfrm>
          <a:prstGeom prst="rect">
            <a:avLst/>
          </a:prstGeom>
        </p:spPr>
        <p:txBody>
          <a:bodyPr lIns="108000" rtlCol="0"/>
          <a:lstStyle>
            <a:lvl1pPr marL="0" indent="0" algn="l">
              <a:spcBef>
                <a:spcPts val="0"/>
              </a:spcBef>
              <a:buNone/>
              <a:defRPr sz="2133">
                <a:solidFill>
                  <a:schemeClr val="accent2"/>
                </a:solidFill>
                <a:effectLst/>
                <a:latin typeface="Segoe UI"/>
                <a:cs typeface="Segoe UI"/>
              </a:defRPr>
            </a:lvl1pPr>
            <a:lvl2pPr marL="428599" indent="0" algn="ctr">
              <a:buNone/>
              <a:defRPr/>
            </a:lvl2pPr>
            <a:lvl3pPr marL="857199" indent="0" algn="ctr">
              <a:buNone/>
              <a:defRPr/>
            </a:lvl3pPr>
            <a:lvl4pPr marL="1285797" indent="0" algn="ctr">
              <a:buNone/>
              <a:defRPr/>
            </a:lvl4pPr>
            <a:lvl5pPr marL="1714396" indent="0" algn="ctr">
              <a:buNone/>
              <a:defRPr/>
            </a:lvl5pPr>
            <a:lvl6pPr marL="2142996" indent="0" algn="ctr">
              <a:buNone/>
              <a:defRPr/>
            </a:lvl6pPr>
            <a:lvl7pPr marL="2571594" indent="0" algn="ctr">
              <a:buNone/>
              <a:defRPr/>
            </a:lvl7pPr>
            <a:lvl8pPr marL="3000193" indent="0" algn="ctr">
              <a:buNone/>
              <a:defRPr/>
            </a:lvl8pPr>
            <a:lvl9pPr marL="3428793" indent="0" algn="ctr">
              <a:buNone/>
              <a:defRPr/>
            </a:lvl9pPr>
          </a:lstStyle>
          <a:p>
            <a:pPr rtl="0"/>
            <a:r>
              <a:rPr lang="nb-no"/>
              <a:t>Click to edit subtitle style</a:t>
            </a:r>
            <a:endParaRPr lang="en-US"/>
          </a:p>
        </p:txBody>
      </p:sp>
      <p:sp>
        <p:nvSpPr>
          <p:cNvPr id="7" name="Tittel 8">
            <a:extLst>
              <a:ext uri="{FF2B5EF4-FFF2-40B4-BE49-F238E27FC236}">
                <a16:creationId xmlns:a16="http://schemas.microsoft.com/office/drawing/2014/main" id="{6D0311DB-303E-E94F-AD1C-668BD4809B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98591" y="3069000"/>
            <a:ext cx="8362039" cy="720000"/>
          </a:xfrm>
          <a:prstGeom prst="rect">
            <a:avLst/>
          </a:prstGeom>
        </p:spPr>
        <p:txBody>
          <a:bodyPr rtlCol="0" anchor="ctr" anchorCtr="0"/>
          <a:lstStyle>
            <a:lvl1pPr algn="l">
              <a:defRPr sz="5333">
                <a:solidFill>
                  <a:schemeClr val="accent2"/>
                </a:solidFill>
                <a:effectLst/>
                <a:latin typeface="Segoe UI"/>
                <a:cs typeface="Segoe UI"/>
              </a:defRPr>
            </a:lvl1pPr>
          </a:lstStyle>
          <a:p>
            <a:pPr rtl="0"/>
            <a:r>
              <a:rPr lang="nb-no"/>
              <a:t>Click to edit title style</a:t>
            </a:r>
          </a:p>
        </p:txBody>
      </p:sp>
    </p:spTree>
    <p:extLst>
      <p:ext uri="{BB962C8B-B14F-4D97-AF65-F5344CB8AC3E}">
        <p14:creationId xmlns:p14="http://schemas.microsoft.com/office/powerpoint/2010/main" val="930515867"/>
      </p:ext>
    </p:extLst>
  </p:cSld>
  <p:clrMapOvr>
    <a:masterClrMapping/>
  </p:clrMapOvr>
  <p:transition spd="med"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Kapitteldeling med bilde 1: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/>
        </p:nvSpPr>
        <p:spPr bwMode="auto">
          <a:xfrm>
            <a:off x="3048000" y="0"/>
            <a:ext cx="9144000" cy="685800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14" name="Plassholder for bilde 5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3048000" cy="6864000"/>
          </a:xfrm>
          <a:prstGeom prst="rect">
            <a:avLst/>
          </a:prstGeom>
        </p:spPr>
        <p:txBody>
          <a:bodyPr rtlCol="0" anchor="ctr" anchorCtr="0"/>
          <a:lstStyle>
            <a:lvl1pPr marL="270111" indent="-270111" algn="ctr">
              <a:spcBef>
                <a:spcPts val="1067"/>
              </a:spcBef>
              <a:buClr>
                <a:schemeClr val="accent2"/>
              </a:buClr>
              <a:buSzPct val="100000"/>
              <a:defRPr b="0" i="0"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rtl="0"/>
            <a:endParaRPr lang="nb-NO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2F8D8D1A-19AC-B741-9F97-0CA89E9449D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98591" y="3813043"/>
            <a:ext cx="8362039" cy="576000"/>
          </a:xfrm>
          <a:prstGeom prst="rect">
            <a:avLst/>
          </a:prstGeom>
        </p:spPr>
        <p:txBody>
          <a:bodyPr lIns="108000" rtlCol="0"/>
          <a:lstStyle>
            <a:lvl1pPr marL="0" indent="0" algn="l">
              <a:spcBef>
                <a:spcPts val="0"/>
              </a:spcBef>
              <a:buNone/>
              <a:defRPr sz="2133">
                <a:solidFill>
                  <a:schemeClr val="bg1"/>
                </a:solidFill>
                <a:effectLst/>
                <a:latin typeface="Segoe UI"/>
                <a:cs typeface="Segoe UI"/>
              </a:defRPr>
            </a:lvl1pPr>
            <a:lvl2pPr marL="428599" indent="0" algn="ctr">
              <a:buNone/>
              <a:defRPr/>
            </a:lvl2pPr>
            <a:lvl3pPr marL="857199" indent="0" algn="ctr">
              <a:buNone/>
              <a:defRPr/>
            </a:lvl3pPr>
            <a:lvl4pPr marL="1285797" indent="0" algn="ctr">
              <a:buNone/>
              <a:defRPr/>
            </a:lvl4pPr>
            <a:lvl5pPr marL="1714396" indent="0" algn="ctr">
              <a:buNone/>
              <a:defRPr/>
            </a:lvl5pPr>
            <a:lvl6pPr marL="2142996" indent="0" algn="ctr">
              <a:buNone/>
              <a:defRPr/>
            </a:lvl6pPr>
            <a:lvl7pPr marL="2571594" indent="0" algn="ctr">
              <a:buNone/>
              <a:defRPr/>
            </a:lvl7pPr>
            <a:lvl8pPr marL="3000193" indent="0" algn="ctr">
              <a:buNone/>
              <a:defRPr/>
            </a:lvl8pPr>
            <a:lvl9pPr marL="3428793" indent="0" algn="ctr">
              <a:buNone/>
              <a:defRPr/>
            </a:lvl9pPr>
          </a:lstStyle>
          <a:p>
            <a:pPr rtl="0"/>
            <a:r>
              <a:rPr lang="nb-no"/>
              <a:t>Click to edit subtitle style</a:t>
            </a:r>
            <a:endParaRPr lang="en-US"/>
          </a:p>
        </p:txBody>
      </p:sp>
      <p:sp>
        <p:nvSpPr>
          <p:cNvPr id="7" name="Tittel 8">
            <a:extLst>
              <a:ext uri="{FF2B5EF4-FFF2-40B4-BE49-F238E27FC236}">
                <a16:creationId xmlns:a16="http://schemas.microsoft.com/office/drawing/2014/main" id="{AF4518CF-8764-C74E-81F2-68157E0B86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98591" y="3069000"/>
            <a:ext cx="8362039" cy="720000"/>
          </a:xfrm>
          <a:prstGeom prst="rect">
            <a:avLst/>
          </a:prstGeom>
        </p:spPr>
        <p:txBody>
          <a:bodyPr rtlCol="0" anchor="ctr" anchorCtr="0"/>
          <a:lstStyle>
            <a:lvl1pPr algn="l">
              <a:defRPr sz="5333">
                <a:solidFill>
                  <a:schemeClr val="bg1"/>
                </a:solidFill>
                <a:effectLst/>
                <a:latin typeface="Segoe UI"/>
                <a:cs typeface="Segoe UI"/>
              </a:defRPr>
            </a:lvl1pPr>
          </a:lstStyle>
          <a:p>
            <a:pPr rtl="0"/>
            <a:r>
              <a:rPr lang="nb-no"/>
              <a:t>Click to edit title style</a:t>
            </a:r>
          </a:p>
        </p:txBody>
      </p:sp>
    </p:spTree>
    <p:extLst>
      <p:ext uri="{BB962C8B-B14F-4D97-AF65-F5344CB8AC3E}">
        <p14:creationId xmlns:p14="http://schemas.microsoft.com/office/powerpoint/2010/main" val="3378336410"/>
      </p:ext>
    </p:extLst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993CF9AD-E0A6-4DE7-AA10-53E00B936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1A336BC7-CB2D-449B-AFF7-546F33976E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21C09B71-C12D-4649-810E-4D705E7DB2A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9CF2EAC4-821C-4B4C-9C61-E17B809C89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815ABA-5AD9-4CFD-83D4-B9B9C9C5CC9C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28DEF8DF-2914-4D19-A423-284C67A20E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19B4E544-5652-4033-ACDC-5717C5CEC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DC2A16-8918-4093-8FB3-00182BD6EED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1996076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4 de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/>
        </p:nvSpPr>
        <p:spPr bwMode="auto">
          <a:xfrm>
            <a:off x="6096000" y="-1"/>
            <a:ext cx="6096000" cy="3432000"/>
          </a:xfrm>
          <a:prstGeom prst="rect">
            <a:avLst/>
          </a:prstGeom>
          <a:solidFill>
            <a:srgbClr val="A5E1D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6" name="Plassholder for bilde 5"/>
          <p:cNvSpPr>
            <a:spLocks noGrp="1"/>
          </p:cNvSpPr>
          <p:nvPr>
            <p:ph type="pic" sz="quarter" idx="12"/>
          </p:nvPr>
        </p:nvSpPr>
        <p:spPr>
          <a:xfrm>
            <a:off x="0" y="1"/>
            <a:ext cx="6096000" cy="3433769"/>
          </a:xfrm>
          <a:prstGeom prst="rect">
            <a:avLst/>
          </a:prstGeom>
        </p:spPr>
        <p:txBody>
          <a:bodyPr rtlCol="0" anchor="ctr" anchorCtr="0"/>
          <a:lstStyle>
            <a:lvl1pPr marL="270111" indent="-270111" algn="ctr">
              <a:spcBef>
                <a:spcPts val="1067"/>
              </a:spcBef>
              <a:buClr>
                <a:schemeClr val="accent2"/>
              </a:buClr>
              <a:buSzPct val="100000"/>
              <a:defRPr b="0" i="0"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rtl="0"/>
            <a:endParaRPr lang="nb-NO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6480043" y="356659"/>
            <a:ext cx="5280587" cy="2688299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accent2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11" name="Plassholder for bilde 5"/>
          <p:cNvSpPr>
            <a:spLocks noGrp="1"/>
          </p:cNvSpPr>
          <p:nvPr>
            <p:ph type="pic" sz="quarter" idx="13"/>
          </p:nvPr>
        </p:nvSpPr>
        <p:spPr>
          <a:xfrm>
            <a:off x="6096000" y="3432001"/>
            <a:ext cx="6096000" cy="3433769"/>
          </a:xfrm>
          <a:prstGeom prst="rect">
            <a:avLst/>
          </a:prstGeom>
        </p:spPr>
        <p:txBody>
          <a:bodyPr rtlCol="0" anchor="ctr" anchorCtr="0"/>
          <a:lstStyle>
            <a:lvl1pPr marL="270111" indent="-270111" algn="ctr">
              <a:spcBef>
                <a:spcPts val="1067"/>
              </a:spcBef>
              <a:buClr>
                <a:schemeClr val="accent2"/>
              </a:buClr>
              <a:buSzPct val="100000"/>
              <a:defRPr b="0" i="0"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rtl="0"/>
            <a:endParaRPr lang="nb-NO"/>
          </a:p>
        </p:txBody>
      </p:sp>
      <p:sp>
        <p:nvSpPr>
          <p:cNvPr id="14" name="Rektangel 13"/>
          <p:cNvSpPr/>
          <p:nvPr/>
        </p:nvSpPr>
        <p:spPr bwMode="auto">
          <a:xfrm>
            <a:off x="0" y="3433768"/>
            <a:ext cx="6096000" cy="343200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335360" y="3813043"/>
            <a:ext cx="5376597" cy="2688299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bg1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82439719"/>
      </p:ext>
    </p:extLst>
  </p:cSld>
  <p:clrMapOvr>
    <a:masterClrMapping/>
  </p:clrMapOvr>
  <p:transition spd="med" advClick="0"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4 de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/>
        </p:nvSpPr>
        <p:spPr bwMode="auto">
          <a:xfrm>
            <a:off x="6096000" y="1"/>
            <a:ext cx="6096000" cy="3424231"/>
          </a:xfrm>
          <a:prstGeom prst="rect">
            <a:avLst/>
          </a:prstGeom>
          <a:solidFill>
            <a:srgbClr val="A5E1D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6" name="Plassholder for bilde 5"/>
          <p:cNvSpPr>
            <a:spLocks noGrp="1"/>
          </p:cNvSpPr>
          <p:nvPr>
            <p:ph type="pic" sz="quarter" idx="12"/>
          </p:nvPr>
        </p:nvSpPr>
        <p:spPr>
          <a:xfrm>
            <a:off x="0" y="-4769"/>
            <a:ext cx="6096000" cy="3433769"/>
          </a:xfrm>
          <a:prstGeom prst="rect">
            <a:avLst/>
          </a:prstGeom>
        </p:spPr>
        <p:txBody>
          <a:bodyPr rtlCol="0" anchor="ctr" anchorCtr="0"/>
          <a:lstStyle>
            <a:lvl1pPr marL="270111" indent="-270111" algn="ctr">
              <a:spcBef>
                <a:spcPts val="1067"/>
              </a:spcBef>
              <a:buClr>
                <a:schemeClr val="accent2"/>
              </a:buClr>
              <a:buSzPct val="100000"/>
              <a:defRPr b="0" i="0"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rtl="0"/>
            <a:endParaRPr lang="nb-NO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6480043" y="356659"/>
            <a:ext cx="5280587" cy="576064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accent2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title style</a:t>
            </a:r>
          </a:p>
        </p:txBody>
      </p:sp>
      <p:sp>
        <p:nvSpPr>
          <p:cNvPr id="11" name="Plassholder for bilde 5"/>
          <p:cNvSpPr>
            <a:spLocks noGrp="1"/>
          </p:cNvSpPr>
          <p:nvPr>
            <p:ph type="pic" sz="quarter" idx="13"/>
          </p:nvPr>
        </p:nvSpPr>
        <p:spPr>
          <a:xfrm>
            <a:off x="6096000" y="3424232"/>
            <a:ext cx="6096000" cy="3433769"/>
          </a:xfrm>
          <a:prstGeom prst="rect">
            <a:avLst/>
          </a:prstGeom>
        </p:spPr>
        <p:txBody>
          <a:bodyPr rtlCol="0" anchor="ctr" anchorCtr="0"/>
          <a:lstStyle>
            <a:lvl1pPr marL="270111" indent="-270111" algn="ctr">
              <a:spcBef>
                <a:spcPts val="1067"/>
              </a:spcBef>
              <a:buClr>
                <a:schemeClr val="accent2"/>
              </a:buClr>
              <a:buSzPct val="100000"/>
              <a:defRPr b="0" i="0"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rtl="0"/>
            <a:endParaRPr lang="nb-NO"/>
          </a:p>
        </p:txBody>
      </p:sp>
      <p:sp>
        <p:nvSpPr>
          <p:cNvPr id="14" name="Rektangel 13"/>
          <p:cNvSpPr/>
          <p:nvPr/>
        </p:nvSpPr>
        <p:spPr bwMode="auto">
          <a:xfrm>
            <a:off x="0" y="3424232"/>
            <a:ext cx="6096000" cy="3433769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35360" y="3813043"/>
            <a:ext cx="5376597" cy="576064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bg1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title sty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35360" y="4485118"/>
            <a:ext cx="5376597" cy="1997079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287993" indent="-239994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bg1"/>
                </a:solidFill>
                <a:latin typeface="Segoe UI"/>
              </a:defRPr>
            </a:lvl1pPr>
            <a:lvl2pPr marL="479988" indent="-191995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4"/>
          </p:nvPr>
        </p:nvSpPr>
        <p:spPr>
          <a:xfrm>
            <a:off x="6473995" y="969429"/>
            <a:ext cx="5286635" cy="1997079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287993" indent="-239994">
              <a:spcBef>
                <a:spcPts val="800"/>
              </a:spcBef>
              <a:buClr>
                <a:schemeClr val="accent2"/>
              </a:buClr>
              <a:buSzPct val="110000"/>
              <a:buFont typeface="Wingdings" charset="2"/>
              <a:buChar char="§"/>
              <a:defRPr sz="1600" baseline="0">
                <a:solidFill>
                  <a:schemeClr val="accent2"/>
                </a:solidFill>
                <a:latin typeface="Segoe UI"/>
              </a:defRPr>
            </a:lvl1pPr>
            <a:lvl2pPr marL="479988" indent="-191995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6095"/>
      </p:ext>
    </p:extLst>
  </p:cSld>
  <p:clrMapOvr>
    <a:masterClrMapping/>
  </p:clrMapOvr>
  <p:transition spd="med"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orisontal split">
    <p:bg>
      <p:bgPr>
        <a:solidFill>
          <a:srgbClr val="A3E1D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335360" y="356659"/>
            <a:ext cx="11425269" cy="2688299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accent2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14" name="Rektangel 13"/>
          <p:cNvSpPr/>
          <p:nvPr/>
        </p:nvSpPr>
        <p:spPr bwMode="auto">
          <a:xfrm>
            <a:off x="0" y="3401617"/>
            <a:ext cx="12192000" cy="3456384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335360" y="3813043"/>
            <a:ext cx="11425269" cy="2688299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bg1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51275664"/>
      </p:ext>
    </p:extLst>
  </p:cSld>
  <p:clrMapOvr>
    <a:masterClrMapping/>
  </p:clrMapOvr>
  <p:transition spd="med"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Vertikal split">
    <p:bg>
      <p:bgPr>
        <a:solidFill>
          <a:srgbClr val="A3E1D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6480043" y="356659"/>
            <a:ext cx="5280587" cy="6144683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accent2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14" name="Rektangel 13"/>
          <p:cNvSpPr/>
          <p:nvPr/>
        </p:nvSpPr>
        <p:spPr bwMode="auto">
          <a:xfrm>
            <a:off x="0" y="1"/>
            <a:ext cx="6096000" cy="685800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335360" y="356659"/>
            <a:ext cx="5376597" cy="6144683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bg1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69959256"/>
      </p:ext>
    </p:extLst>
  </p:cSld>
  <p:clrMapOvr>
    <a:masterClrMapping/>
  </p:clrMapOvr>
  <p:transition spd="med"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Vertikal split">
    <p:bg>
      <p:bgPr>
        <a:solidFill>
          <a:srgbClr val="A3E1D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384043" y="356659"/>
            <a:ext cx="5280587" cy="6144683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accent2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14" name="Rektangel 13"/>
          <p:cNvSpPr/>
          <p:nvPr/>
        </p:nvSpPr>
        <p:spPr bwMode="auto">
          <a:xfrm>
            <a:off x="6096000" y="1"/>
            <a:ext cx="6096000" cy="685800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6431360" y="356659"/>
            <a:ext cx="5376597" cy="6144683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bg1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9838401"/>
      </p:ext>
    </p:extLst>
  </p:cSld>
  <p:clrMapOvr>
    <a:masterClrMapping/>
  </p:clrMapOvr>
  <p:transition spd="med" advClick="0"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8 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/>
        </p:nvSpPr>
        <p:spPr bwMode="auto">
          <a:xfrm>
            <a:off x="3052800" y="0"/>
            <a:ext cx="3048000" cy="3430168"/>
          </a:xfrm>
          <a:prstGeom prst="rect">
            <a:avLst/>
          </a:prstGeom>
          <a:solidFill>
            <a:srgbClr val="A5E1D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6" name="Plassholder for bilde 5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3048000" cy="3432000"/>
          </a:xfrm>
          <a:prstGeom prst="rect">
            <a:avLst/>
          </a:prstGeom>
        </p:spPr>
        <p:txBody>
          <a:bodyPr rtlCol="0" anchor="ctr" anchorCtr="0"/>
          <a:lstStyle>
            <a:lvl1pPr marL="270111" indent="-270111" algn="ctr">
              <a:spcBef>
                <a:spcPts val="1067"/>
              </a:spcBef>
              <a:buClr>
                <a:schemeClr val="accent2"/>
              </a:buClr>
              <a:buSzPct val="100000"/>
              <a:defRPr b="0" i="0"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rtl="0"/>
            <a:r>
              <a:rPr lang="nb-no"/>
              <a:t>Pull picture to </a:t>
            </a:r>
            <a:br>
              <a:rPr lang="nb-NO"/>
            </a:br>
            <a:r>
              <a:rPr lang="nb-no"/>
              <a:t>the placeholder or click on the icon to add</a:t>
            </a:r>
            <a:endParaRPr lang="nb-NO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3311691" y="356659"/>
            <a:ext cx="2496277" cy="2688299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accent2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10" name="Plassholder for bilde 5"/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1"/>
            <a:ext cx="3048000" cy="3433769"/>
          </a:xfrm>
          <a:prstGeom prst="rect">
            <a:avLst/>
          </a:prstGeom>
        </p:spPr>
        <p:txBody>
          <a:bodyPr rtlCol="0" anchor="ctr" anchorCtr="0"/>
          <a:lstStyle>
            <a:lvl1pPr marL="270111" indent="-270111" algn="ctr">
              <a:spcBef>
                <a:spcPts val="1067"/>
              </a:spcBef>
              <a:buClr>
                <a:schemeClr val="accent2"/>
              </a:buClr>
              <a:buSzPct val="100000"/>
              <a:defRPr b="0" i="0"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rtl="0"/>
            <a:r>
              <a:rPr lang="nb-no"/>
              <a:t>Pull picture to </a:t>
            </a:r>
            <a:br>
              <a:rPr lang="nb-NO"/>
            </a:br>
            <a:r>
              <a:rPr lang="nb-no"/>
              <a:t>the placeholder or click on the icon to add</a:t>
            </a:r>
            <a:endParaRPr lang="nb-NO"/>
          </a:p>
        </p:txBody>
      </p:sp>
      <p:sp>
        <p:nvSpPr>
          <p:cNvPr id="12" name="Rektangel 11"/>
          <p:cNvSpPr/>
          <p:nvPr/>
        </p:nvSpPr>
        <p:spPr bwMode="auto">
          <a:xfrm>
            <a:off x="9144000" y="0"/>
            <a:ext cx="3048000" cy="343200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9432032" y="353876"/>
            <a:ext cx="2471936" cy="2688299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accent2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13" name="Plassholder for bilde 5"/>
          <p:cNvSpPr>
            <a:spLocks noGrp="1"/>
          </p:cNvSpPr>
          <p:nvPr>
            <p:ph type="pic" sz="quarter" idx="16" hasCustomPrompt="1"/>
          </p:nvPr>
        </p:nvSpPr>
        <p:spPr>
          <a:xfrm>
            <a:off x="3052800" y="3432001"/>
            <a:ext cx="3048000" cy="3433769"/>
          </a:xfrm>
          <a:prstGeom prst="rect">
            <a:avLst/>
          </a:prstGeom>
        </p:spPr>
        <p:txBody>
          <a:bodyPr rtlCol="0" anchor="ctr" anchorCtr="0"/>
          <a:lstStyle>
            <a:lvl1pPr marL="270111" indent="-270111" algn="ctr">
              <a:spcBef>
                <a:spcPts val="1067"/>
              </a:spcBef>
              <a:buClr>
                <a:schemeClr val="accent2"/>
              </a:buClr>
              <a:buSzPct val="100000"/>
              <a:defRPr b="0" i="0"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rtl="0"/>
            <a:r>
              <a:rPr lang="nb-no"/>
              <a:t>Pull picture to </a:t>
            </a:r>
            <a:br>
              <a:rPr lang="nb-NO"/>
            </a:br>
            <a:r>
              <a:rPr lang="nb-no"/>
              <a:t>the placeholder or click on the icon to add</a:t>
            </a:r>
            <a:endParaRPr lang="nb-NO"/>
          </a:p>
        </p:txBody>
      </p:sp>
      <p:sp>
        <p:nvSpPr>
          <p:cNvPr id="15" name="Rektangel 14"/>
          <p:cNvSpPr/>
          <p:nvPr/>
        </p:nvSpPr>
        <p:spPr bwMode="auto">
          <a:xfrm>
            <a:off x="0" y="3430165"/>
            <a:ext cx="3048000" cy="343200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288032" y="3797184"/>
            <a:ext cx="2471936" cy="2688299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bg1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18" name="Rektangel 17"/>
          <p:cNvSpPr/>
          <p:nvPr/>
        </p:nvSpPr>
        <p:spPr bwMode="auto">
          <a:xfrm>
            <a:off x="6096000" y="3430165"/>
            <a:ext cx="3048000" cy="343200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6354483" y="3793899"/>
            <a:ext cx="2496277" cy="2688299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bg1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20" name="Plassholder for bilde 5"/>
          <p:cNvSpPr>
            <a:spLocks noGrp="1"/>
          </p:cNvSpPr>
          <p:nvPr>
            <p:ph type="pic" sz="quarter" idx="19" hasCustomPrompt="1"/>
          </p:nvPr>
        </p:nvSpPr>
        <p:spPr>
          <a:xfrm>
            <a:off x="9144000" y="3428397"/>
            <a:ext cx="3048000" cy="3433769"/>
          </a:xfrm>
          <a:prstGeom prst="rect">
            <a:avLst/>
          </a:prstGeom>
        </p:spPr>
        <p:txBody>
          <a:bodyPr rtlCol="0" anchor="ctr" anchorCtr="0"/>
          <a:lstStyle>
            <a:lvl1pPr marL="270111" indent="-270111" algn="ctr">
              <a:spcBef>
                <a:spcPts val="1067"/>
              </a:spcBef>
              <a:buClr>
                <a:schemeClr val="accent2"/>
              </a:buClr>
              <a:buSzPct val="100000"/>
              <a:defRPr b="0" i="0"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rtl="0"/>
            <a:r>
              <a:rPr lang="nb-no"/>
              <a:t>Pull picture to </a:t>
            </a:r>
            <a:br>
              <a:rPr lang="nb-NO"/>
            </a:br>
            <a:r>
              <a:rPr lang="nb-no"/>
              <a:t>the placeholder or click on the icon to add</a:t>
            </a:r>
            <a:endParaRPr lang="nb-NO"/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066B6FE1-0CCC-4AA5-A854-03FAE370D530}"/>
              </a:ext>
            </a:extLst>
          </p:cNvPr>
          <p:cNvSpPr/>
          <p:nvPr userDrawn="1"/>
        </p:nvSpPr>
        <p:spPr bwMode="auto">
          <a:xfrm>
            <a:off x="3052800" y="0"/>
            <a:ext cx="3048000" cy="3430168"/>
          </a:xfrm>
          <a:prstGeom prst="rect">
            <a:avLst/>
          </a:prstGeom>
          <a:solidFill>
            <a:srgbClr val="A5E1D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18476AA4-1D9C-4475-A24D-0AEC8F2D172C}"/>
              </a:ext>
            </a:extLst>
          </p:cNvPr>
          <p:cNvSpPr/>
          <p:nvPr userDrawn="1"/>
        </p:nvSpPr>
        <p:spPr bwMode="auto">
          <a:xfrm>
            <a:off x="9144000" y="0"/>
            <a:ext cx="3048000" cy="343200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22" name="Rektangel 21">
            <a:extLst>
              <a:ext uri="{FF2B5EF4-FFF2-40B4-BE49-F238E27FC236}">
                <a16:creationId xmlns:a16="http://schemas.microsoft.com/office/drawing/2014/main" id="{116303F4-2025-43CF-8296-D9F4358E7B0D}"/>
              </a:ext>
            </a:extLst>
          </p:cNvPr>
          <p:cNvSpPr/>
          <p:nvPr userDrawn="1"/>
        </p:nvSpPr>
        <p:spPr bwMode="auto">
          <a:xfrm>
            <a:off x="0" y="3430165"/>
            <a:ext cx="3048000" cy="343200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23" name="Rektangel 22">
            <a:extLst>
              <a:ext uri="{FF2B5EF4-FFF2-40B4-BE49-F238E27FC236}">
                <a16:creationId xmlns:a16="http://schemas.microsoft.com/office/drawing/2014/main" id="{307D24E3-9BC0-4448-805B-FF62A93FC9EB}"/>
              </a:ext>
            </a:extLst>
          </p:cNvPr>
          <p:cNvSpPr/>
          <p:nvPr userDrawn="1"/>
        </p:nvSpPr>
        <p:spPr bwMode="auto">
          <a:xfrm>
            <a:off x="6096000" y="3430165"/>
            <a:ext cx="3048000" cy="343200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3144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 advClick="0">
        <p:fade/>
      </p:transition>
    </mc:Choice>
    <mc:Fallback xmlns="">
      <p:transition advClick="0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8 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/>
        </p:nvSpPr>
        <p:spPr bwMode="auto">
          <a:xfrm>
            <a:off x="3053208" y="-1"/>
            <a:ext cx="3042792" cy="3430168"/>
          </a:xfrm>
          <a:prstGeom prst="rect">
            <a:avLst/>
          </a:prstGeom>
          <a:solidFill>
            <a:srgbClr val="00343E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6" name="Plassholder for bilde 5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3050283" cy="3432000"/>
          </a:xfrm>
          <a:prstGeom prst="rect">
            <a:avLst/>
          </a:prstGeom>
        </p:spPr>
        <p:txBody>
          <a:bodyPr rtlCol="0" anchor="ctr" anchorCtr="0"/>
          <a:lstStyle>
            <a:lvl1pPr marL="270111" indent="-270111" algn="ctr">
              <a:spcBef>
                <a:spcPts val="1067"/>
              </a:spcBef>
              <a:buClr>
                <a:schemeClr val="accent2"/>
              </a:buClr>
              <a:buSzPct val="100000"/>
              <a:defRPr b="0" i="0"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rtl="0"/>
            <a:endParaRPr lang="nb-NO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3311691" y="356659"/>
            <a:ext cx="2496277" cy="2688299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accent1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12" name="Rektangel 11"/>
          <p:cNvSpPr/>
          <p:nvPr/>
        </p:nvSpPr>
        <p:spPr bwMode="auto">
          <a:xfrm>
            <a:off x="9144000" y="0"/>
            <a:ext cx="3052800" cy="343200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9432032" y="353876"/>
            <a:ext cx="2471936" cy="2688299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bg1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18" name="Rektangel 17"/>
          <p:cNvSpPr/>
          <p:nvPr/>
        </p:nvSpPr>
        <p:spPr bwMode="auto">
          <a:xfrm>
            <a:off x="6096000" y="3432000"/>
            <a:ext cx="3052800" cy="3426000"/>
          </a:xfrm>
          <a:prstGeom prst="rect">
            <a:avLst/>
          </a:prstGeom>
          <a:solidFill>
            <a:srgbClr val="00AF8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6354483" y="3793899"/>
            <a:ext cx="2496277" cy="2688299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bg1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14" name="Rektangel 13"/>
          <p:cNvSpPr/>
          <p:nvPr/>
        </p:nvSpPr>
        <p:spPr bwMode="auto">
          <a:xfrm>
            <a:off x="6098925" y="0"/>
            <a:ext cx="3052800" cy="343200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6357408" y="356659"/>
            <a:ext cx="2496277" cy="2688299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accent2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23" name="Rektangel 22"/>
          <p:cNvSpPr/>
          <p:nvPr/>
        </p:nvSpPr>
        <p:spPr bwMode="auto">
          <a:xfrm>
            <a:off x="3043200" y="3432000"/>
            <a:ext cx="3052800" cy="3432000"/>
          </a:xfrm>
          <a:prstGeom prst="rect">
            <a:avLst/>
          </a:prstGeom>
          <a:solidFill>
            <a:srgbClr val="14555A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3321463" y="3793899"/>
            <a:ext cx="2496277" cy="2688299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accent1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25" name="Rektangel 24"/>
          <p:cNvSpPr/>
          <p:nvPr/>
        </p:nvSpPr>
        <p:spPr bwMode="auto">
          <a:xfrm>
            <a:off x="0" y="3432000"/>
            <a:ext cx="3052800" cy="343200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258483" y="3793899"/>
            <a:ext cx="2496277" cy="2688299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bg1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27" name="Plassholder for bilde 5"/>
          <p:cNvSpPr>
            <a:spLocks noGrp="1"/>
          </p:cNvSpPr>
          <p:nvPr>
            <p:ph type="pic" sz="quarter" idx="22"/>
          </p:nvPr>
        </p:nvSpPr>
        <p:spPr>
          <a:xfrm>
            <a:off x="9141717" y="3430166"/>
            <a:ext cx="3053208" cy="3434273"/>
          </a:xfrm>
          <a:prstGeom prst="rect">
            <a:avLst/>
          </a:prstGeom>
        </p:spPr>
        <p:txBody>
          <a:bodyPr rtlCol="0" anchor="ctr" anchorCtr="0"/>
          <a:lstStyle>
            <a:lvl1pPr marL="270111" indent="-270111" algn="ctr">
              <a:spcBef>
                <a:spcPts val="1067"/>
              </a:spcBef>
              <a:buClr>
                <a:schemeClr val="accent2"/>
              </a:buClr>
              <a:buSzPct val="100000"/>
              <a:defRPr b="0" i="0"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rtl="0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17317920"/>
      </p:ext>
    </p:extLst>
  </p:cSld>
  <p:clrMapOvr>
    <a:masterClrMapping/>
  </p:clrMapOvr>
  <p:transition spd="med"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8 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bilde 5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3052800" cy="3432000"/>
          </a:xfrm>
          <a:prstGeom prst="rect">
            <a:avLst/>
          </a:prstGeom>
        </p:spPr>
        <p:txBody>
          <a:bodyPr rtlCol="0" anchor="ctr" anchorCtr="0"/>
          <a:lstStyle>
            <a:lvl1pPr marL="270111" indent="-270111" algn="ctr">
              <a:spcBef>
                <a:spcPts val="1067"/>
              </a:spcBef>
              <a:buClr>
                <a:schemeClr val="accent2"/>
              </a:buClr>
              <a:buSzPct val="100000"/>
              <a:defRPr b="0" i="0"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rtl="0"/>
            <a:endParaRPr lang="nb-NO"/>
          </a:p>
        </p:txBody>
      </p:sp>
      <p:sp>
        <p:nvSpPr>
          <p:cNvPr id="18" name="Rektangel 17"/>
          <p:cNvSpPr/>
          <p:nvPr/>
        </p:nvSpPr>
        <p:spPr bwMode="auto">
          <a:xfrm>
            <a:off x="6088637" y="3432000"/>
            <a:ext cx="3052800" cy="343200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6354483" y="3793899"/>
            <a:ext cx="2496277" cy="2688299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accent2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14" name="Rektangel 13"/>
          <p:cNvSpPr/>
          <p:nvPr/>
        </p:nvSpPr>
        <p:spPr bwMode="auto">
          <a:xfrm>
            <a:off x="3048000" y="0"/>
            <a:ext cx="3051248" cy="3430168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3312012" y="356659"/>
            <a:ext cx="2496277" cy="2688299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bg1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27" name="Plassholder for bilde 5"/>
          <p:cNvSpPr>
            <a:spLocks noGrp="1"/>
          </p:cNvSpPr>
          <p:nvPr>
            <p:ph type="pic" sz="quarter" idx="22"/>
          </p:nvPr>
        </p:nvSpPr>
        <p:spPr>
          <a:xfrm>
            <a:off x="9132955" y="3432000"/>
            <a:ext cx="3053208" cy="3432000"/>
          </a:xfrm>
          <a:prstGeom prst="rect">
            <a:avLst/>
          </a:prstGeom>
        </p:spPr>
        <p:txBody>
          <a:bodyPr rtlCol="0" anchor="ctr" anchorCtr="0"/>
          <a:lstStyle>
            <a:lvl1pPr marL="270111" indent="-270111" algn="ctr">
              <a:spcBef>
                <a:spcPts val="1067"/>
              </a:spcBef>
              <a:buClr>
                <a:schemeClr val="accent2"/>
              </a:buClr>
              <a:buSzPct val="100000"/>
              <a:defRPr b="0" i="0"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rtl="0"/>
            <a:endParaRPr lang="nb-NO"/>
          </a:p>
        </p:txBody>
      </p:sp>
      <p:sp>
        <p:nvSpPr>
          <p:cNvPr id="17" name="Plassholder for bilde 5"/>
          <p:cNvSpPr>
            <a:spLocks noGrp="1"/>
          </p:cNvSpPr>
          <p:nvPr>
            <p:ph type="pic" sz="quarter" idx="23"/>
          </p:nvPr>
        </p:nvSpPr>
        <p:spPr>
          <a:xfrm>
            <a:off x="6082637" y="0"/>
            <a:ext cx="3055168" cy="3432000"/>
          </a:xfrm>
          <a:prstGeom prst="rect">
            <a:avLst/>
          </a:prstGeom>
        </p:spPr>
        <p:txBody>
          <a:bodyPr rtlCol="0" anchor="ctr" anchorCtr="0"/>
          <a:lstStyle>
            <a:lvl1pPr marL="270111" indent="-270111" algn="ctr">
              <a:spcBef>
                <a:spcPts val="1067"/>
              </a:spcBef>
              <a:buClr>
                <a:schemeClr val="accent2"/>
              </a:buClr>
              <a:buSzPct val="100000"/>
              <a:defRPr b="0" i="0"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rtl="0"/>
            <a:endParaRPr lang="nb-NO"/>
          </a:p>
        </p:txBody>
      </p:sp>
      <p:sp>
        <p:nvSpPr>
          <p:cNvPr id="20" name="Plassholder for bilde 5"/>
          <p:cNvSpPr>
            <a:spLocks noGrp="1"/>
          </p:cNvSpPr>
          <p:nvPr>
            <p:ph type="pic" sz="quarter" idx="24"/>
          </p:nvPr>
        </p:nvSpPr>
        <p:spPr>
          <a:xfrm>
            <a:off x="9134400" y="0"/>
            <a:ext cx="3052800" cy="3432000"/>
          </a:xfrm>
          <a:prstGeom prst="rect">
            <a:avLst/>
          </a:prstGeom>
        </p:spPr>
        <p:txBody>
          <a:bodyPr rtlCol="0" anchor="ctr" anchorCtr="0"/>
          <a:lstStyle>
            <a:lvl1pPr marL="270111" indent="-270111" algn="ctr">
              <a:spcBef>
                <a:spcPts val="1067"/>
              </a:spcBef>
              <a:buClr>
                <a:schemeClr val="accent2"/>
              </a:buClr>
              <a:buSzPct val="100000"/>
              <a:defRPr b="0" i="0"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rtl="0"/>
            <a:endParaRPr lang="nb-NO"/>
          </a:p>
        </p:txBody>
      </p:sp>
      <p:sp>
        <p:nvSpPr>
          <p:cNvPr id="22" name="Plassholder for bilde 5"/>
          <p:cNvSpPr>
            <a:spLocks noGrp="1"/>
          </p:cNvSpPr>
          <p:nvPr>
            <p:ph type="pic" sz="quarter" idx="25"/>
          </p:nvPr>
        </p:nvSpPr>
        <p:spPr>
          <a:xfrm>
            <a:off x="0" y="3432000"/>
            <a:ext cx="3052800" cy="3432000"/>
          </a:xfrm>
          <a:prstGeom prst="rect">
            <a:avLst/>
          </a:prstGeom>
        </p:spPr>
        <p:txBody>
          <a:bodyPr rtlCol="0" anchor="ctr" anchorCtr="0"/>
          <a:lstStyle>
            <a:lvl1pPr marL="270111" indent="-270111" algn="ctr">
              <a:spcBef>
                <a:spcPts val="1067"/>
              </a:spcBef>
              <a:buClr>
                <a:schemeClr val="accent2"/>
              </a:buClr>
              <a:buSzPct val="100000"/>
              <a:defRPr b="0" i="0"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rtl="0"/>
            <a:endParaRPr lang="nb-NO"/>
          </a:p>
        </p:txBody>
      </p:sp>
      <p:sp>
        <p:nvSpPr>
          <p:cNvPr id="28" name="Plassholder for bilde 5"/>
          <p:cNvSpPr>
            <a:spLocks noGrp="1"/>
          </p:cNvSpPr>
          <p:nvPr>
            <p:ph type="pic" sz="quarter" idx="26"/>
          </p:nvPr>
        </p:nvSpPr>
        <p:spPr>
          <a:xfrm>
            <a:off x="3048000" y="3432000"/>
            <a:ext cx="3052800" cy="3432000"/>
          </a:xfrm>
          <a:prstGeom prst="rect">
            <a:avLst/>
          </a:prstGeom>
        </p:spPr>
        <p:txBody>
          <a:bodyPr rtlCol="0" anchor="ctr" anchorCtr="0"/>
          <a:lstStyle>
            <a:lvl1pPr marL="270111" indent="-270111" algn="ctr">
              <a:spcBef>
                <a:spcPts val="1067"/>
              </a:spcBef>
              <a:buClr>
                <a:schemeClr val="accent2"/>
              </a:buClr>
              <a:buSzPct val="100000"/>
              <a:defRPr b="0" i="0"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rtl="0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29863059"/>
      </p:ext>
    </p:extLst>
  </p:cSld>
  <p:clrMapOvr>
    <a:masterClrMapping/>
  </p:clrMapOvr>
  <p:transition spd="med"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horisontal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/>
        </p:nvSpPr>
        <p:spPr bwMode="auto">
          <a:xfrm>
            <a:off x="9149208" y="3432000"/>
            <a:ext cx="3042792" cy="3430168"/>
          </a:xfrm>
          <a:prstGeom prst="rect">
            <a:avLst/>
          </a:prstGeom>
          <a:solidFill>
            <a:srgbClr val="00343E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6" name="Plassholder for bilde 5"/>
          <p:cNvSpPr>
            <a:spLocks noGrp="1"/>
          </p:cNvSpPr>
          <p:nvPr>
            <p:ph type="pic" sz="quarter" idx="12"/>
          </p:nvPr>
        </p:nvSpPr>
        <p:spPr>
          <a:xfrm>
            <a:off x="0" y="-6571"/>
            <a:ext cx="12192000" cy="3436740"/>
          </a:xfrm>
          <a:prstGeom prst="rect">
            <a:avLst/>
          </a:prstGeom>
        </p:spPr>
        <p:txBody>
          <a:bodyPr rtlCol="0" anchor="ctr" anchorCtr="0"/>
          <a:lstStyle>
            <a:lvl1pPr marL="270111" indent="-270111" algn="ctr">
              <a:spcBef>
                <a:spcPts val="1067"/>
              </a:spcBef>
              <a:buClr>
                <a:schemeClr val="accent2"/>
              </a:buClr>
              <a:buSzPct val="100000"/>
              <a:defRPr b="0" i="0"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rtl="0"/>
            <a:endParaRPr lang="nb-NO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9407691" y="3786155"/>
            <a:ext cx="2496277" cy="2688299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accent1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18" name="Rektangel 17"/>
          <p:cNvSpPr/>
          <p:nvPr/>
        </p:nvSpPr>
        <p:spPr bwMode="auto">
          <a:xfrm>
            <a:off x="6096000" y="3432000"/>
            <a:ext cx="3048000" cy="3432000"/>
          </a:xfrm>
          <a:prstGeom prst="rect">
            <a:avLst/>
          </a:prstGeom>
          <a:solidFill>
            <a:srgbClr val="00AF8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6354483" y="3793899"/>
            <a:ext cx="2496277" cy="2688299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bg1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258483" y="1988840"/>
            <a:ext cx="11645485" cy="1056117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bg1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23" name="Rektangel 22"/>
          <p:cNvSpPr/>
          <p:nvPr/>
        </p:nvSpPr>
        <p:spPr bwMode="auto">
          <a:xfrm>
            <a:off x="3043200" y="3432000"/>
            <a:ext cx="3048021" cy="343200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3321463" y="3793899"/>
            <a:ext cx="2496277" cy="2688299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accent2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25" name="Rektangel 24"/>
          <p:cNvSpPr/>
          <p:nvPr/>
        </p:nvSpPr>
        <p:spPr bwMode="auto">
          <a:xfrm>
            <a:off x="0" y="3432000"/>
            <a:ext cx="3054827" cy="343200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258483" y="3793899"/>
            <a:ext cx="2496277" cy="2688299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bg1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26004252"/>
      </p:ext>
    </p:extLst>
  </p:cSld>
  <p:clrMapOvr>
    <a:masterClrMapping/>
  </p:clrMapOvr>
  <p:transition spd="med"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horisontal split">
    <p:bg>
      <p:bgPr>
        <a:solidFill>
          <a:srgbClr val="0072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/>
        </p:nvSpPr>
        <p:spPr bwMode="auto">
          <a:xfrm>
            <a:off x="9149208" y="3432000"/>
            <a:ext cx="3048000" cy="3430168"/>
          </a:xfrm>
          <a:prstGeom prst="rect">
            <a:avLst/>
          </a:prstGeom>
          <a:solidFill>
            <a:srgbClr val="00343E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9407691" y="3786155"/>
            <a:ext cx="2496277" cy="2688299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accent1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18" name="Rektangel 17"/>
          <p:cNvSpPr/>
          <p:nvPr/>
        </p:nvSpPr>
        <p:spPr bwMode="auto">
          <a:xfrm>
            <a:off x="6096000" y="3432000"/>
            <a:ext cx="3048000" cy="3426000"/>
          </a:xfrm>
          <a:prstGeom prst="rect">
            <a:avLst/>
          </a:prstGeom>
          <a:solidFill>
            <a:srgbClr val="00AF8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6354483" y="3793899"/>
            <a:ext cx="2496277" cy="2688299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bg1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258483" y="1187942"/>
            <a:ext cx="11645485" cy="1056117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4267" baseline="0">
                <a:solidFill>
                  <a:schemeClr val="bg1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23" name="Rektangel 22"/>
          <p:cNvSpPr/>
          <p:nvPr/>
        </p:nvSpPr>
        <p:spPr bwMode="auto">
          <a:xfrm>
            <a:off x="3043200" y="3432000"/>
            <a:ext cx="3048021" cy="3426000"/>
          </a:xfrm>
          <a:prstGeom prst="rect">
            <a:avLst/>
          </a:prstGeom>
          <a:solidFill>
            <a:srgbClr val="14555A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3321463" y="3793899"/>
            <a:ext cx="2496277" cy="2688299"/>
          </a:xfrm>
          <a:prstGeom prst="rect">
            <a:avLst/>
          </a:prstGeom>
          <a:solidFill>
            <a:srgbClr val="14555A"/>
          </a:solidFill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accent1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25" name="Rektangel 24"/>
          <p:cNvSpPr/>
          <p:nvPr/>
        </p:nvSpPr>
        <p:spPr bwMode="auto">
          <a:xfrm>
            <a:off x="0" y="3432000"/>
            <a:ext cx="3054827" cy="342600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258483" y="3793899"/>
            <a:ext cx="2496277" cy="2688299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accent2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003949"/>
      </p:ext>
    </p:extLst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03A95ED-474B-4CE1-92F1-24165EA26D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327C6D7F-81D6-4780-A065-3987EADC7BE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D8CF0B5E-FD52-445A-A07E-C056697E9B5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3ED84987-D267-4678-9AF1-830492949B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815ABA-5AD9-4CFD-83D4-B9B9C9C5CC9C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8551AFA7-A324-43B1-8569-4D087B9EF6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2E57675F-C96E-4177-851D-40840473FF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DC2A16-8918-4093-8FB3-00182BD6EED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6381403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kolonne 6 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/>
          <p:cNvSpPr/>
          <p:nvPr/>
        </p:nvSpPr>
        <p:spPr bwMode="auto">
          <a:xfrm>
            <a:off x="6096000" y="0"/>
            <a:ext cx="3052800" cy="3430168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2" name="Rektangel 1"/>
          <p:cNvSpPr/>
          <p:nvPr/>
        </p:nvSpPr>
        <p:spPr bwMode="auto">
          <a:xfrm>
            <a:off x="3053208" y="0"/>
            <a:ext cx="3052800" cy="3430168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3311691" y="356659"/>
            <a:ext cx="2496277" cy="2688299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accent1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12" name="Rektangel 11"/>
          <p:cNvSpPr/>
          <p:nvPr/>
        </p:nvSpPr>
        <p:spPr bwMode="auto">
          <a:xfrm>
            <a:off x="9144000" y="0"/>
            <a:ext cx="3052800" cy="343200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9432032" y="353876"/>
            <a:ext cx="2471936" cy="2688299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accent1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18" name="Rektangel 17"/>
          <p:cNvSpPr/>
          <p:nvPr/>
        </p:nvSpPr>
        <p:spPr bwMode="auto">
          <a:xfrm>
            <a:off x="6096000" y="3432000"/>
            <a:ext cx="3052800" cy="343200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6357408" y="356659"/>
            <a:ext cx="2496277" cy="2688299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47999" indent="0" algn="ctr">
              <a:spcBef>
                <a:spcPts val="800"/>
              </a:spcBef>
              <a:buClr>
                <a:schemeClr val="accent1"/>
              </a:buClr>
              <a:buSzPct val="110000"/>
              <a:buFontTx/>
              <a:buNone/>
              <a:defRPr sz="2133" baseline="0">
                <a:solidFill>
                  <a:schemeClr val="accent2"/>
                </a:solidFill>
                <a:latin typeface="Segoe UI"/>
              </a:defRPr>
            </a:lvl1pPr>
            <a:lvl2pPr marL="479988" indent="-191995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 algn="ctr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23" name="Rektangel 22"/>
          <p:cNvSpPr/>
          <p:nvPr/>
        </p:nvSpPr>
        <p:spPr bwMode="auto">
          <a:xfrm>
            <a:off x="3052800" y="3432000"/>
            <a:ext cx="3052800" cy="343200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308766" y="3836844"/>
            <a:ext cx="2496277" cy="2645353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287993" indent="-239994">
              <a:spcBef>
                <a:spcPts val="800"/>
              </a:spcBef>
              <a:buClr>
                <a:schemeClr val="accent2"/>
              </a:buClr>
              <a:buSzPct val="110000"/>
              <a:buFont typeface="Wingdings" charset="2"/>
              <a:buChar char="§"/>
              <a:defRPr sz="1600" baseline="0">
                <a:solidFill>
                  <a:schemeClr val="accent2"/>
                </a:solidFill>
                <a:latin typeface="Segoe UI"/>
              </a:defRPr>
            </a:lvl1pPr>
            <a:lvl2pPr marL="479988" indent="-191995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24"/>
          </p:nvPr>
        </p:nvSpPr>
        <p:spPr>
          <a:xfrm>
            <a:off x="6348000" y="3836844"/>
            <a:ext cx="2499835" cy="2645353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287993" indent="-239994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accent1"/>
                </a:solidFill>
                <a:latin typeface="Segoe UI"/>
              </a:defRPr>
            </a:lvl1pPr>
            <a:lvl2pPr marL="479988" indent="-191995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22" name="Rektangel 21"/>
          <p:cNvSpPr/>
          <p:nvPr/>
        </p:nvSpPr>
        <p:spPr bwMode="auto">
          <a:xfrm>
            <a:off x="9142464" y="3432000"/>
            <a:ext cx="3052800" cy="343200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25"/>
          </p:nvPr>
        </p:nvSpPr>
        <p:spPr>
          <a:xfrm>
            <a:off x="9406175" y="3836844"/>
            <a:ext cx="2496277" cy="2645353"/>
          </a:xfrm>
          <a:prstGeom prst="rect">
            <a:avLst/>
          </a:prstGeom>
        </p:spPr>
        <p:txBody>
          <a:bodyPr lIns="0" tIns="0" rIns="0" bIns="0" rtlCol="0" anchor="ctr" anchorCtr="0"/>
          <a:lstStyle>
            <a:lvl1pPr marL="287993" indent="-239994">
              <a:spcBef>
                <a:spcPts val="800"/>
              </a:spcBef>
              <a:buClr>
                <a:schemeClr val="accent2"/>
              </a:buClr>
              <a:buSzPct val="110000"/>
              <a:buFont typeface="Wingdings" charset="2"/>
              <a:buChar char="§"/>
              <a:defRPr sz="1600" baseline="0">
                <a:solidFill>
                  <a:schemeClr val="accent2"/>
                </a:solidFill>
                <a:latin typeface="Segoe UI"/>
              </a:defRPr>
            </a:lvl1pPr>
            <a:lvl2pPr marL="479988" indent="-191995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719982" indent="-143996">
              <a:spcBef>
                <a:spcPts val="8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 rtl="0"/>
            <a:r>
              <a:rPr lang="nb-no"/>
              <a:t>Click to edit Master text styles</a:t>
            </a:r>
          </a:p>
        </p:txBody>
      </p:sp>
      <p:sp>
        <p:nvSpPr>
          <p:cNvPr id="6" name="Plassholder for bilde 5"/>
          <p:cNvSpPr>
            <a:spLocks noGrp="1"/>
          </p:cNvSpPr>
          <p:nvPr>
            <p:ph type="pic" sz="quarter" idx="12"/>
          </p:nvPr>
        </p:nvSpPr>
        <p:spPr>
          <a:xfrm>
            <a:off x="0" y="1"/>
            <a:ext cx="3048000" cy="6864572"/>
          </a:xfrm>
          <a:prstGeom prst="rect">
            <a:avLst/>
          </a:prstGeom>
        </p:spPr>
        <p:txBody>
          <a:bodyPr rtlCol="0" anchor="ctr" anchorCtr="0"/>
          <a:lstStyle>
            <a:lvl1pPr marL="270111" indent="-270111" algn="ctr">
              <a:spcBef>
                <a:spcPts val="1067"/>
              </a:spcBef>
              <a:buClr>
                <a:schemeClr val="accent2"/>
              </a:buClr>
              <a:buSzPct val="100000"/>
              <a:defRPr b="0" i="0"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rtl="0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3243270"/>
      </p:ext>
    </p:extLst>
  </p:cSld>
  <p:clrMapOvr>
    <a:masterClrMapping/>
  </p:clrMapOvr>
  <p:transition spd="med"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 med fargebakgrunn">
    <p:bg>
      <p:bgPr>
        <a:solidFill>
          <a:srgbClr val="A3E1D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719403" y="1700808"/>
            <a:ext cx="10801200" cy="4512501"/>
          </a:xfrm>
          <a:prstGeom prst="rect">
            <a:avLst/>
          </a:prstGeom>
        </p:spPr>
        <p:txBody>
          <a:bodyPr wrap="square" lIns="0" tIns="0" rIns="0" bIns="0" rtlCol="0" anchor="t" anchorCtr="0">
            <a:noAutofit/>
          </a:bodyPr>
          <a:lstStyle>
            <a:lvl1pPr marL="287993" indent="-239994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Wingdings" charset="2"/>
              <a:buChar char="§"/>
              <a:defRPr sz="1867" baseline="0">
                <a:solidFill>
                  <a:schemeClr val="tx1"/>
                </a:solidFill>
                <a:latin typeface="Segoe UI"/>
              </a:defRPr>
            </a:lvl1pPr>
            <a:lvl2pPr marL="479988" indent="-191995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Wingdings" charset="2"/>
              <a:buChar char="§"/>
              <a:defRPr sz="1600">
                <a:solidFill>
                  <a:schemeClr val="tx1"/>
                </a:solidFill>
                <a:latin typeface="Segoe UI"/>
              </a:defRPr>
            </a:lvl2pPr>
            <a:lvl3pPr marL="719982" indent="-191995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Wingdings" charset="2"/>
              <a:buChar char="§"/>
              <a:tabLst>
                <a:tab pos="1928696" algn="l"/>
              </a:tabLst>
              <a:defRPr sz="1333">
                <a:solidFill>
                  <a:schemeClr val="tx1"/>
                </a:solidFill>
                <a:latin typeface="Segoe UI"/>
              </a:defRPr>
            </a:lvl3pPr>
            <a:lvl4pPr marL="2357294" indent="-465588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SzPct val="125000"/>
              <a:buFont typeface="Wingdings" charset="2"/>
              <a:buChar char="§"/>
              <a:defRPr sz="1867"/>
            </a:lvl4pPr>
            <a:lvl5pPr marL="2857327" indent="-465588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SzPct val="125000"/>
              <a:buFont typeface="Wingdings" charset="2"/>
              <a:buChar char="§"/>
              <a:defRPr sz="1600"/>
            </a:lvl5pPr>
            <a:lvl6pPr>
              <a:defRPr sz="1867"/>
            </a:lvl6pPr>
            <a:lvl7pPr>
              <a:defRPr sz="1867"/>
            </a:lvl7pPr>
            <a:lvl8pPr>
              <a:defRPr sz="1867"/>
            </a:lvl8pPr>
            <a:lvl9pPr>
              <a:defRPr sz="1867"/>
            </a:lvl9pPr>
          </a:lstStyle>
          <a:p>
            <a:pPr lvl="0" rtl="0"/>
            <a:r>
              <a:rPr lang="nb-no"/>
              <a:t>Click to edit Master text styles</a:t>
            </a:r>
          </a:p>
          <a:p>
            <a:pPr lvl="1" rtl="0"/>
            <a:r>
              <a:rPr lang="nb-no"/>
              <a:t>Second level</a:t>
            </a:r>
            <a:endParaRPr lang="nb-NO"/>
          </a:p>
          <a:p>
            <a:pPr lvl="2" rtl="0"/>
            <a:r>
              <a:rPr lang="nb-no"/>
              <a:t>Third level</a:t>
            </a:r>
            <a:endParaRPr lang="nb-NO"/>
          </a:p>
        </p:txBody>
      </p:sp>
      <p:sp>
        <p:nvSpPr>
          <p:cNvPr id="16" name="Tittel 8"/>
          <p:cNvSpPr>
            <a:spLocks noGrp="1"/>
          </p:cNvSpPr>
          <p:nvPr>
            <p:ph type="title" hasCustomPrompt="1"/>
          </p:nvPr>
        </p:nvSpPr>
        <p:spPr>
          <a:xfrm>
            <a:off x="719403" y="548680"/>
            <a:ext cx="10801200" cy="720000"/>
          </a:xfrm>
          <a:prstGeom prst="rect">
            <a:avLst/>
          </a:prstGeom>
        </p:spPr>
        <p:txBody>
          <a:bodyPr lIns="36000" tIns="36000" rIns="36000" bIns="36000" rtlCol="0" anchor="ctr" anchorCtr="0"/>
          <a:lstStyle>
            <a:lvl1pPr algn="l">
              <a:defRPr sz="5333">
                <a:solidFill>
                  <a:schemeClr val="accent2"/>
                </a:solidFill>
                <a:effectLst/>
                <a:latin typeface="Segoe UI"/>
                <a:cs typeface="Segoe UI"/>
              </a:defRPr>
            </a:lvl1pPr>
          </a:lstStyle>
          <a:p>
            <a:pPr rtl="0"/>
            <a:r>
              <a:rPr lang="nb-no"/>
              <a:t>Click to edit title style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3"/>
          </p:nvPr>
        </p:nvSpPr>
        <p:spPr>
          <a:xfrm>
            <a:off x="10896532" y="6501342"/>
            <a:ext cx="1056117" cy="242349"/>
          </a:xfrm>
          <a:prstGeom prst="rect">
            <a:avLst/>
          </a:prstGeom>
        </p:spPr>
        <p:txBody>
          <a:bodyPr lIns="0" tIns="0" rIns="0" bIns="0" rtlCol="0"/>
          <a:lstStyle>
            <a:lvl1pPr algn="r">
              <a:defRPr sz="1467" b="0" i="0">
                <a:solidFill>
                  <a:schemeClr val="tx1">
                    <a:lumMod val="60000"/>
                    <a:lumOff val="40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fld id="{ABFAA7A0-082A-47AE-997C-DDF49245ADD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32188765"/>
      </p:ext>
    </p:extLst>
  </p:cSld>
  <p:clrMapOvr>
    <a:masterClrMapping/>
  </p:clrMapOvr>
  <p:transition spd="med"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 med mørk fargebakgrunn">
    <p:bg>
      <p:bgPr>
        <a:solidFill>
          <a:srgbClr val="0133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719403" y="1700808"/>
            <a:ext cx="10801200" cy="4512501"/>
          </a:xfrm>
          <a:prstGeom prst="rect">
            <a:avLst/>
          </a:prstGeom>
        </p:spPr>
        <p:txBody>
          <a:bodyPr wrap="square" lIns="0" tIns="0" rIns="0" bIns="0" rtlCol="0" anchor="t" anchorCtr="0">
            <a:noAutofit/>
          </a:bodyPr>
          <a:lstStyle>
            <a:lvl1pPr marL="287993" indent="-239994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Wingdings" charset="2"/>
              <a:buChar char="§"/>
              <a:defRPr sz="1867" baseline="0">
                <a:solidFill>
                  <a:schemeClr val="bg1"/>
                </a:solidFill>
                <a:latin typeface="Segoe UI"/>
              </a:defRPr>
            </a:lvl1pPr>
            <a:lvl2pPr marL="479988" indent="-191995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Wingdings" charset="2"/>
              <a:buChar char="§"/>
              <a:defRPr sz="1600">
                <a:solidFill>
                  <a:schemeClr val="bg1"/>
                </a:solidFill>
                <a:latin typeface="Segoe UI"/>
              </a:defRPr>
            </a:lvl2pPr>
            <a:lvl3pPr marL="719982" indent="-191995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Wingdings" charset="2"/>
              <a:buChar char="§"/>
              <a:tabLst>
                <a:tab pos="1928696" algn="l"/>
              </a:tabLst>
              <a:defRPr sz="1333">
                <a:solidFill>
                  <a:schemeClr val="bg1"/>
                </a:solidFill>
                <a:latin typeface="Segoe UI"/>
              </a:defRPr>
            </a:lvl3pPr>
            <a:lvl4pPr marL="2357294" indent="-465588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SzPct val="125000"/>
              <a:buFont typeface="Wingdings" charset="2"/>
              <a:buChar char="§"/>
              <a:defRPr sz="1867"/>
            </a:lvl4pPr>
            <a:lvl5pPr marL="2857327" indent="-465588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SzPct val="125000"/>
              <a:buFont typeface="Wingdings" charset="2"/>
              <a:buChar char="§"/>
              <a:defRPr sz="1600"/>
            </a:lvl5pPr>
            <a:lvl6pPr>
              <a:defRPr sz="1867"/>
            </a:lvl6pPr>
            <a:lvl7pPr>
              <a:defRPr sz="1867"/>
            </a:lvl7pPr>
            <a:lvl8pPr>
              <a:defRPr sz="1867"/>
            </a:lvl8pPr>
            <a:lvl9pPr>
              <a:defRPr sz="1867"/>
            </a:lvl9pPr>
          </a:lstStyle>
          <a:p>
            <a:pPr lvl="0" rtl="0"/>
            <a:r>
              <a:rPr lang="nb-no"/>
              <a:t>Click to edit Master text styles</a:t>
            </a:r>
          </a:p>
          <a:p>
            <a:pPr lvl="1" rtl="0"/>
            <a:r>
              <a:rPr lang="nb-no"/>
              <a:t>Second level</a:t>
            </a:r>
            <a:endParaRPr lang="nb-NO"/>
          </a:p>
          <a:p>
            <a:pPr lvl="2" rtl="0"/>
            <a:r>
              <a:rPr lang="nb-no"/>
              <a:t>Third level</a:t>
            </a:r>
            <a:endParaRPr lang="nb-NO"/>
          </a:p>
        </p:txBody>
      </p:sp>
      <p:sp>
        <p:nvSpPr>
          <p:cNvPr id="16" name="Tittel 8"/>
          <p:cNvSpPr>
            <a:spLocks noGrp="1"/>
          </p:cNvSpPr>
          <p:nvPr>
            <p:ph type="title" hasCustomPrompt="1"/>
          </p:nvPr>
        </p:nvSpPr>
        <p:spPr>
          <a:xfrm>
            <a:off x="719403" y="548680"/>
            <a:ext cx="10801200" cy="720000"/>
          </a:xfrm>
          <a:prstGeom prst="rect">
            <a:avLst/>
          </a:prstGeom>
        </p:spPr>
        <p:txBody>
          <a:bodyPr lIns="36000" tIns="36000" rIns="36000" bIns="36000" rtlCol="0" anchor="ctr" anchorCtr="0"/>
          <a:lstStyle>
            <a:lvl1pPr algn="l">
              <a:defRPr sz="5333">
                <a:solidFill>
                  <a:schemeClr val="bg1"/>
                </a:solidFill>
                <a:effectLst/>
                <a:latin typeface="Segoe UI"/>
                <a:cs typeface="Segoe UI"/>
              </a:defRPr>
            </a:lvl1pPr>
          </a:lstStyle>
          <a:p>
            <a:pPr rtl="0"/>
            <a:r>
              <a:rPr lang="nb-no"/>
              <a:t>Click to edit title style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3"/>
          </p:nvPr>
        </p:nvSpPr>
        <p:spPr>
          <a:xfrm>
            <a:off x="10896532" y="6501342"/>
            <a:ext cx="1056117" cy="242349"/>
          </a:xfrm>
          <a:prstGeom prst="rect">
            <a:avLst/>
          </a:prstGeom>
        </p:spPr>
        <p:txBody>
          <a:bodyPr lIns="0" tIns="0" rIns="0" bIns="0" rtlCol="0"/>
          <a:lstStyle>
            <a:lvl1pPr algn="r">
              <a:defRPr sz="1467" b="0" i="0">
                <a:solidFill>
                  <a:schemeClr val="tx1">
                    <a:lumMod val="60000"/>
                    <a:lumOff val="40000"/>
                  </a:schemeClr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fld id="{ABFAA7A0-082A-47AE-997C-DDF49245ADD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81646204"/>
      </p:ext>
    </p:extLst>
  </p:cSld>
  <p:clrMapOvr>
    <a:masterClrMapping/>
  </p:clrMapOvr>
  <p:transition spd="med"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media 4"/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rtlCol="0"/>
          <a:lstStyle/>
          <a:p>
            <a:pPr rtl="0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24230618"/>
      </p:ext>
    </p:extLst>
  </p:cSld>
  <p:clrMapOvr>
    <a:masterClrMapping/>
  </p:clrMapOvr>
  <p:transition spd="med"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med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media 4"/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rtlCol="0"/>
          <a:lstStyle/>
          <a:p>
            <a:pPr rtl="0"/>
            <a:endParaRPr lang="nb-NO"/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AE4E3A03-AC34-0A40-9DA0-E17E79878B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7811" y="1732547"/>
            <a:ext cx="9839157" cy="3347452"/>
          </a:xfrm>
          <a:prstGeom prst="rect">
            <a:avLst/>
          </a:prstGeom>
        </p:spPr>
        <p:txBody>
          <a:bodyPr rtlCol="0" anchor="ctr"/>
          <a:lstStyle>
            <a:lvl1pPr algn="ctr">
              <a:defRPr sz="8000" b="1" i="0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rtl="0"/>
            <a:r>
              <a:rPr lang="nb-no"/>
              <a:t>Click to edit Master title style</a:t>
            </a:r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968478499"/>
      </p:ext>
    </p:extLst>
  </p:cSld>
  <p:clrMapOvr>
    <a:masterClrMapping/>
  </p:clrMapOvr>
  <p:transition spd="med"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kside mintgro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/>
          <p:cNvSpPr/>
          <p:nvPr/>
        </p:nvSpPr>
        <p:spPr bwMode="auto"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grpSp>
        <p:nvGrpSpPr>
          <p:cNvPr id="4" name="Gruppe 3"/>
          <p:cNvGrpSpPr/>
          <p:nvPr/>
        </p:nvGrpSpPr>
        <p:grpSpPr>
          <a:xfrm>
            <a:off x="4978792" y="2372883"/>
            <a:ext cx="2234419" cy="1536171"/>
            <a:chOff x="3187937" y="496671"/>
            <a:chExt cx="1405800" cy="966600"/>
          </a:xfrm>
          <a:solidFill>
            <a:schemeClr val="accent2"/>
          </a:solidFill>
        </p:grpSpPr>
        <p:sp>
          <p:nvSpPr>
            <p:cNvPr id="5" name="Freeform: Shape 2"/>
            <p:cNvSpPr/>
            <p:nvPr/>
          </p:nvSpPr>
          <p:spPr>
            <a:xfrm>
              <a:off x="4213577" y="713031"/>
              <a:ext cx="380160" cy="534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57" h="1485">
                  <a:moveTo>
                    <a:pt x="138" y="1346"/>
                  </a:moveTo>
                  <a:cubicBezTo>
                    <a:pt x="138" y="1155"/>
                    <a:pt x="138" y="964"/>
                    <a:pt x="138" y="773"/>
                  </a:cubicBezTo>
                  <a:cubicBezTo>
                    <a:pt x="287" y="773"/>
                    <a:pt x="437" y="773"/>
                    <a:pt x="586" y="773"/>
                  </a:cubicBezTo>
                  <a:cubicBezTo>
                    <a:pt x="780" y="773"/>
                    <a:pt x="917" y="884"/>
                    <a:pt x="917" y="1040"/>
                  </a:cubicBezTo>
                  <a:cubicBezTo>
                    <a:pt x="918" y="1116"/>
                    <a:pt x="918" y="1346"/>
                    <a:pt x="532" y="1346"/>
                  </a:cubicBezTo>
                  <a:cubicBezTo>
                    <a:pt x="401" y="1346"/>
                    <a:pt x="269" y="1346"/>
                    <a:pt x="138" y="1346"/>
                  </a:cubicBezTo>
                  <a:close/>
                  <a:moveTo>
                    <a:pt x="471" y="138"/>
                  </a:moveTo>
                  <a:cubicBezTo>
                    <a:pt x="589" y="138"/>
                    <a:pt x="675" y="157"/>
                    <a:pt x="732" y="196"/>
                  </a:cubicBezTo>
                  <a:cubicBezTo>
                    <a:pt x="767" y="221"/>
                    <a:pt x="816" y="271"/>
                    <a:pt x="816" y="395"/>
                  </a:cubicBezTo>
                  <a:cubicBezTo>
                    <a:pt x="816" y="616"/>
                    <a:pt x="641" y="635"/>
                    <a:pt x="587" y="635"/>
                  </a:cubicBezTo>
                  <a:cubicBezTo>
                    <a:pt x="438" y="635"/>
                    <a:pt x="289" y="635"/>
                    <a:pt x="140" y="635"/>
                  </a:cubicBezTo>
                  <a:cubicBezTo>
                    <a:pt x="140" y="469"/>
                    <a:pt x="140" y="304"/>
                    <a:pt x="140" y="138"/>
                  </a:cubicBezTo>
                  <a:cubicBezTo>
                    <a:pt x="250" y="138"/>
                    <a:pt x="361" y="138"/>
                    <a:pt x="471" y="138"/>
                  </a:cubicBezTo>
                  <a:close/>
                  <a:moveTo>
                    <a:pt x="838" y="692"/>
                  </a:moveTo>
                  <a:cubicBezTo>
                    <a:pt x="836" y="690"/>
                    <a:pt x="833" y="689"/>
                    <a:pt x="831" y="687"/>
                  </a:cubicBezTo>
                  <a:cubicBezTo>
                    <a:pt x="833" y="685"/>
                    <a:pt x="834" y="684"/>
                    <a:pt x="836" y="682"/>
                  </a:cubicBezTo>
                  <a:cubicBezTo>
                    <a:pt x="889" y="635"/>
                    <a:pt x="953" y="546"/>
                    <a:pt x="953" y="395"/>
                  </a:cubicBezTo>
                  <a:cubicBezTo>
                    <a:pt x="953" y="255"/>
                    <a:pt x="905" y="150"/>
                    <a:pt x="810" y="84"/>
                  </a:cubicBezTo>
                  <a:cubicBezTo>
                    <a:pt x="730" y="27"/>
                    <a:pt x="619" y="0"/>
                    <a:pt x="471" y="0"/>
                  </a:cubicBezTo>
                  <a:cubicBezTo>
                    <a:pt x="329" y="0"/>
                    <a:pt x="187" y="0"/>
                    <a:pt x="45" y="0"/>
                  </a:cubicBezTo>
                  <a:cubicBezTo>
                    <a:pt x="20" y="0"/>
                    <a:pt x="0" y="20"/>
                    <a:pt x="0" y="45"/>
                  </a:cubicBezTo>
                  <a:cubicBezTo>
                    <a:pt x="0" y="510"/>
                    <a:pt x="0" y="975"/>
                    <a:pt x="0" y="1440"/>
                  </a:cubicBezTo>
                  <a:cubicBezTo>
                    <a:pt x="0" y="1464"/>
                    <a:pt x="20" y="1485"/>
                    <a:pt x="45" y="1485"/>
                  </a:cubicBezTo>
                  <a:cubicBezTo>
                    <a:pt x="207" y="1485"/>
                    <a:pt x="370" y="1485"/>
                    <a:pt x="532" y="1485"/>
                  </a:cubicBezTo>
                  <a:cubicBezTo>
                    <a:pt x="685" y="1485"/>
                    <a:pt x="809" y="1453"/>
                    <a:pt x="896" y="1387"/>
                  </a:cubicBezTo>
                  <a:cubicBezTo>
                    <a:pt x="947" y="1349"/>
                    <a:pt x="988" y="1301"/>
                    <a:pt x="1014" y="1244"/>
                  </a:cubicBezTo>
                  <a:cubicBezTo>
                    <a:pt x="1042" y="1186"/>
                    <a:pt x="1057" y="1116"/>
                    <a:pt x="1057" y="1040"/>
                  </a:cubicBezTo>
                  <a:cubicBezTo>
                    <a:pt x="1057" y="922"/>
                    <a:pt x="1007" y="817"/>
                    <a:pt x="915" y="743"/>
                  </a:cubicBezTo>
                  <a:cubicBezTo>
                    <a:pt x="892" y="724"/>
                    <a:pt x="866" y="706"/>
                    <a:pt x="838" y="692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rtlCol="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nb-NO" sz="2400" b="0" i="0" u="none" strike="noStrike" kern="1200">
                <a:ln>
                  <a:noFill/>
                </a:ln>
                <a:latin typeface="Segoe UI" panose="020B0502040204020203" pitchFamily="34" charset="0"/>
                <a:ea typeface="SimSun" pitchFamily="2"/>
                <a:cs typeface="Lucida Sans" pitchFamily="2"/>
              </a:endParaRPr>
            </a:p>
          </p:txBody>
        </p:sp>
        <p:sp>
          <p:nvSpPr>
            <p:cNvPr id="6" name="Freeform: Shape 3"/>
            <p:cNvSpPr/>
            <p:nvPr/>
          </p:nvSpPr>
          <p:spPr>
            <a:xfrm>
              <a:off x="3187937" y="713031"/>
              <a:ext cx="399240" cy="534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10" h="1485">
                  <a:moveTo>
                    <a:pt x="449" y="1348"/>
                  </a:moveTo>
                  <a:cubicBezTo>
                    <a:pt x="346" y="1348"/>
                    <a:pt x="242" y="1348"/>
                    <a:pt x="139" y="1348"/>
                  </a:cubicBezTo>
                  <a:cubicBezTo>
                    <a:pt x="139" y="945"/>
                    <a:pt x="139" y="542"/>
                    <a:pt x="139" y="139"/>
                  </a:cubicBezTo>
                  <a:cubicBezTo>
                    <a:pt x="242" y="139"/>
                    <a:pt x="346" y="139"/>
                    <a:pt x="449" y="139"/>
                  </a:cubicBezTo>
                  <a:cubicBezTo>
                    <a:pt x="563" y="139"/>
                    <a:pt x="723" y="169"/>
                    <a:pt x="837" y="310"/>
                  </a:cubicBezTo>
                  <a:cubicBezTo>
                    <a:pt x="961" y="462"/>
                    <a:pt x="970" y="687"/>
                    <a:pt x="970" y="753"/>
                  </a:cubicBezTo>
                  <a:cubicBezTo>
                    <a:pt x="970" y="849"/>
                    <a:pt x="952" y="1034"/>
                    <a:pt x="837" y="1177"/>
                  </a:cubicBezTo>
                  <a:cubicBezTo>
                    <a:pt x="722" y="1317"/>
                    <a:pt x="563" y="1348"/>
                    <a:pt x="449" y="1348"/>
                  </a:cubicBezTo>
                  <a:close/>
                  <a:moveTo>
                    <a:pt x="710" y="48"/>
                  </a:moveTo>
                  <a:cubicBezTo>
                    <a:pt x="630" y="16"/>
                    <a:pt x="543" y="0"/>
                    <a:pt x="449" y="0"/>
                  </a:cubicBezTo>
                  <a:cubicBezTo>
                    <a:pt x="315" y="0"/>
                    <a:pt x="180" y="0"/>
                    <a:pt x="46" y="0"/>
                  </a:cubicBezTo>
                  <a:cubicBezTo>
                    <a:pt x="21" y="0"/>
                    <a:pt x="0" y="20"/>
                    <a:pt x="0" y="45"/>
                  </a:cubicBezTo>
                  <a:cubicBezTo>
                    <a:pt x="0" y="510"/>
                    <a:pt x="0" y="975"/>
                    <a:pt x="0" y="1440"/>
                  </a:cubicBezTo>
                  <a:cubicBezTo>
                    <a:pt x="0" y="1464"/>
                    <a:pt x="21" y="1485"/>
                    <a:pt x="46" y="1485"/>
                  </a:cubicBezTo>
                  <a:cubicBezTo>
                    <a:pt x="180" y="1485"/>
                    <a:pt x="315" y="1485"/>
                    <a:pt x="449" y="1485"/>
                  </a:cubicBezTo>
                  <a:cubicBezTo>
                    <a:pt x="543" y="1485"/>
                    <a:pt x="630" y="1469"/>
                    <a:pt x="710" y="1437"/>
                  </a:cubicBezTo>
                  <a:cubicBezTo>
                    <a:pt x="802" y="1399"/>
                    <a:pt x="882" y="1342"/>
                    <a:pt x="945" y="1265"/>
                  </a:cubicBezTo>
                  <a:cubicBezTo>
                    <a:pt x="1088" y="1090"/>
                    <a:pt x="1110" y="868"/>
                    <a:pt x="1110" y="752"/>
                  </a:cubicBezTo>
                  <a:cubicBezTo>
                    <a:pt x="1108" y="652"/>
                    <a:pt x="1094" y="403"/>
                    <a:pt x="945" y="221"/>
                  </a:cubicBezTo>
                  <a:cubicBezTo>
                    <a:pt x="882" y="144"/>
                    <a:pt x="804" y="87"/>
                    <a:pt x="710" y="48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rtlCol="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nb-NO" sz="2400" b="0" i="0" u="none" strike="noStrike" kern="1200">
                <a:ln>
                  <a:noFill/>
                </a:ln>
                <a:latin typeface="Segoe UI" panose="020B0502040204020203" pitchFamily="34" charset="0"/>
                <a:ea typeface="SimSun" pitchFamily="2"/>
                <a:cs typeface="Lucida Sans" pitchFamily="2"/>
              </a:endParaRPr>
            </a:p>
          </p:txBody>
        </p:sp>
        <p:sp>
          <p:nvSpPr>
            <p:cNvPr id="7" name="Freeform: Shape 4"/>
            <p:cNvSpPr/>
            <p:nvPr/>
          </p:nvSpPr>
          <p:spPr>
            <a:xfrm>
              <a:off x="3687617" y="496671"/>
              <a:ext cx="406440" cy="9666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30" h="2686">
                  <a:moveTo>
                    <a:pt x="1130" y="0"/>
                  </a:moveTo>
                  <a:cubicBezTo>
                    <a:pt x="1130" y="684"/>
                    <a:pt x="1130" y="1367"/>
                    <a:pt x="1130" y="2051"/>
                  </a:cubicBezTo>
                  <a:cubicBezTo>
                    <a:pt x="1130" y="2070"/>
                    <a:pt x="1118" y="2086"/>
                    <a:pt x="1100" y="2092"/>
                  </a:cubicBezTo>
                  <a:cubicBezTo>
                    <a:pt x="1096" y="2093"/>
                    <a:pt x="1092" y="2094"/>
                    <a:pt x="1087" y="2094"/>
                  </a:cubicBezTo>
                  <a:cubicBezTo>
                    <a:pt x="1073" y="2094"/>
                    <a:pt x="1061" y="2087"/>
                    <a:pt x="1052" y="2077"/>
                  </a:cubicBezTo>
                  <a:cubicBezTo>
                    <a:pt x="747" y="1688"/>
                    <a:pt x="443" y="1300"/>
                    <a:pt x="138" y="911"/>
                  </a:cubicBezTo>
                  <a:cubicBezTo>
                    <a:pt x="138" y="1503"/>
                    <a:pt x="138" y="2094"/>
                    <a:pt x="138" y="2686"/>
                  </a:cubicBezTo>
                  <a:cubicBezTo>
                    <a:pt x="92" y="2686"/>
                    <a:pt x="46" y="2686"/>
                    <a:pt x="0" y="2686"/>
                  </a:cubicBezTo>
                  <a:cubicBezTo>
                    <a:pt x="0" y="2001"/>
                    <a:pt x="0" y="1316"/>
                    <a:pt x="0" y="631"/>
                  </a:cubicBezTo>
                  <a:cubicBezTo>
                    <a:pt x="0" y="612"/>
                    <a:pt x="12" y="596"/>
                    <a:pt x="29" y="590"/>
                  </a:cubicBezTo>
                  <a:cubicBezTo>
                    <a:pt x="34" y="589"/>
                    <a:pt x="38" y="589"/>
                    <a:pt x="42" y="589"/>
                  </a:cubicBezTo>
                  <a:cubicBezTo>
                    <a:pt x="55" y="589"/>
                    <a:pt x="68" y="595"/>
                    <a:pt x="77" y="606"/>
                  </a:cubicBezTo>
                  <a:cubicBezTo>
                    <a:pt x="382" y="994"/>
                    <a:pt x="686" y="1383"/>
                    <a:pt x="991" y="1771"/>
                  </a:cubicBezTo>
                  <a:cubicBezTo>
                    <a:pt x="991" y="1181"/>
                    <a:pt x="991" y="590"/>
                    <a:pt x="991" y="0"/>
                  </a:cubicBezTo>
                  <a:cubicBezTo>
                    <a:pt x="1037" y="0"/>
                    <a:pt x="1084" y="0"/>
                    <a:pt x="1130" y="0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rtlCol="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nb-NO" sz="2400" b="0" i="0" u="none" strike="noStrike" kern="1200">
                <a:ln>
                  <a:noFill/>
                </a:ln>
                <a:latin typeface="Segoe UI" panose="020B0502040204020203" pitchFamily="34" charset="0"/>
                <a:ea typeface="SimSun" pitchFamily="2"/>
                <a:cs typeface="Lucida Sans" pitchFamily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58070875"/>
      </p:ext>
    </p:extLst>
  </p:cSld>
  <p:clrMapOvr>
    <a:masterClrMapping/>
  </p:clrMapOvr>
  <p:transition spd="med"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kside gro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/>
          <p:cNvSpPr/>
          <p:nvPr/>
        </p:nvSpPr>
        <p:spPr bwMode="auto">
          <a:xfrm>
            <a:off x="1" y="0"/>
            <a:ext cx="12192000" cy="685800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grpSp>
        <p:nvGrpSpPr>
          <p:cNvPr id="4" name="Gruppe 3"/>
          <p:cNvGrpSpPr/>
          <p:nvPr/>
        </p:nvGrpSpPr>
        <p:grpSpPr>
          <a:xfrm>
            <a:off x="4978792" y="2372883"/>
            <a:ext cx="2234419" cy="1536171"/>
            <a:chOff x="3187937" y="496671"/>
            <a:chExt cx="1405800" cy="966600"/>
          </a:xfrm>
          <a:solidFill>
            <a:schemeClr val="accent1"/>
          </a:solidFill>
        </p:grpSpPr>
        <p:sp>
          <p:nvSpPr>
            <p:cNvPr id="5" name="Freeform: Shape 2"/>
            <p:cNvSpPr/>
            <p:nvPr/>
          </p:nvSpPr>
          <p:spPr>
            <a:xfrm>
              <a:off x="4213577" y="713031"/>
              <a:ext cx="380160" cy="534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57" h="1485">
                  <a:moveTo>
                    <a:pt x="138" y="1346"/>
                  </a:moveTo>
                  <a:cubicBezTo>
                    <a:pt x="138" y="1155"/>
                    <a:pt x="138" y="964"/>
                    <a:pt x="138" y="773"/>
                  </a:cubicBezTo>
                  <a:cubicBezTo>
                    <a:pt x="287" y="773"/>
                    <a:pt x="437" y="773"/>
                    <a:pt x="586" y="773"/>
                  </a:cubicBezTo>
                  <a:cubicBezTo>
                    <a:pt x="780" y="773"/>
                    <a:pt x="917" y="884"/>
                    <a:pt x="917" y="1040"/>
                  </a:cubicBezTo>
                  <a:cubicBezTo>
                    <a:pt x="918" y="1116"/>
                    <a:pt x="918" y="1346"/>
                    <a:pt x="532" y="1346"/>
                  </a:cubicBezTo>
                  <a:cubicBezTo>
                    <a:pt x="401" y="1346"/>
                    <a:pt x="269" y="1346"/>
                    <a:pt x="138" y="1346"/>
                  </a:cubicBezTo>
                  <a:close/>
                  <a:moveTo>
                    <a:pt x="471" y="138"/>
                  </a:moveTo>
                  <a:cubicBezTo>
                    <a:pt x="589" y="138"/>
                    <a:pt x="675" y="157"/>
                    <a:pt x="732" y="196"/>
                  </a:cubicBezTo>
                  <a:cubicBezTo>
                    <a:pt x="767" y="221"/>
                    <a:pt x="816" y="271"/>
                    <a:pt x="816" y="395"/>
                  </a:cubicBezTo>
                  <a:cubicBezTo>
                    <a:pt x="816" y="616"/>
                    <a:pt x="641" y="635"/>
                    <a:pt x="587" y="635"/>
                  </a:cubicBezTo>
                  <a:cubicBezTo>
                    <a:pt x="438" y="635"/>
                    <a:pt x="289" y="635"/>
                    <a:pt x="140" y="635"/>
                  </a:cubicBezTo>
                  <a:cubicBezTo>
                    <a:pt x="140" y="469"/>
                    <a:pt x="140" y="304"/>
                    <a:pt x="140" y="138"/>
                  </a:cubicBezTo>
                  <a:cubicBezTo>
                    <a:pt x="250" y="138"/>
                    <a:pt x="361" y="138"/>
                    <a:pt x="471" y="138"/>
                  </a:cubicBezTo>
                  <a:close/>
                  <a:moveTo>
                    <a:pt x="838" y="692"/>
                  </a:moveTo>
                  <a:cubicBezTo>
                    <a:pt x="836" y="690"/>
                    <a:pt x="833" y="689"/>
                    <a:pt x="831" y="687"/>
                  </a:cubicBezTo>
                  <a:cubicBezTo>
                    <a:pt x="833" y="685"/>
                    <a:pt x="834" y="684"/>
                    <a:pt x="836" y="682"/>
                  </a:cubicBezTo>
                  <a:cubicBezTo>
                    <a:pt x="889" y="635"/>
                    <a:pt x="953" y="546"/>
                    <a:pt x="953" y="395"/>
                  </a:cubicBezTo>
                  <a:cubicBezTo>
                    <a:pt x="953" y="255"/>
                    <a:pt x="905" y="150"/>
                    <a:pt x="810" y="84"/>
                  </a:cubicBezTo>
                  <a:cubicBezTo>
                    <a:pt x="730" y="27"/>
                    <a:pt x="619" y="0"/>
                    <a:pt x="471" y="0"/>
                  </a:cubicBezTo>
                  <a:cubicBezTo>
                    <a:pt x="329" y="0"/>
                    <a:pt x="187" y="0"/>
                    <a:pt x="45" y="0"/>
                  </a:cubicBezTo>
                  <a:cubicBezTo>
                    <a:pt x="20" y="0"/>
                    <a:pt x="0" y="20"/>
                    <a:pt x="0" y="45"/>
                  </a:cubicBezTo>
                  <a:cubicBezTo>
                    <a:pt x="0" y="510"/>
                    <a:pt x="0" y="975"/>
                    <a:pt x="0" y="1440"/>
                  </a:cubicBezTo>
                  <a:cubicBezTo>
                    <a:pt x="0" y="1464"/>
                    <a:pt x="20" y="1485"/>
                    <a:pt x="45" y="1485"/>
                  </a:cubicBezTo>
                  <a:cubicBezTo>
                    <a:pt x="207" y="1485"/>
                    <a:pt x="370" y="1485"/>
                    <a:pt x="532" y="1485"/>
                  </a:cubicBezTo>
                  <a:cubicBezTo>
                    <a:pt x="685" y="1485"/>
                    <a:pt x="809" y="1453"/>
                    <a:pt x="896" y="1387"/>
                  </a:cubicBezTo>
                  <a:cubicBezTo>
                    <a:pt x="947" y="1349"/>
                    <a:pt x="988" y="1301"/>
                    <a:pt x="1014" y="1244"/>
                  </a:cubicBezTo>
                  <a:cubicBezTo>
                    <a:pt x="1042" y="1186"/>
                    <a:pt x="1057" y="1116"/>
                    <a:pt x="1057" y="1040"/>
                  </a:cubicBezTo>
                  <a:cubicBezTo>
                    <a:pt x="1057" y="922"/>
                    <a:pt x="1007" y="817"/>
                    <a:pt x="915" y="743"/>
                  </a:cubicBezTo>
                  <a:cubicBezTo>
                    <a:pt x="892" y="724"/>
                    <a:pt x="866" y="706"/>
                    <a:pt x="838" y="692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rtlCol="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nb-NO" sz="2400" b="0" i="0" u="none" strike="noStrike" kern="1200">
                <a:ln>
                  <a:noFill/>
                </a:ln>
                <a:latin typeface="Segoe UI" panose="020B0502040204020203" pitchFamily="34" charset="0"/>
                <a:ea typeface="SimSun" pitchFamily="2"/>
                <a:cs typeface="Lucida Sans" pitchFamily="2"/>
              </a:endParaRPr>
            </a:p>
          </p:txBody>
        </p:sp>
        <p:sp>
          <p:nvSpPr>
            <p:cNvPr id="6" name="Freeform: Shape 3"/>
            <p:cNvSpPr/>
            <p:nvPr/>
          </p:nvSpPr>
          <p:spPr>
            <a:xfrm>
              <a:off x="3187937" y="713031"/>
              <a:ext cx="399240" cy="534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10" h="1485">
                  <a:moveTo>
                    <a:pt x="449" y="1348"/>
                  </a:moveTo>
                  <a:cubicBezTo>
                    <a:pt x="346" y="1348"/>
                    <a:pt x="242" y="1348"/>
                    <a:pt x="139" y="1348"/>
                  </a:cubicBezTo>
                  <a:cubicBezTo>
                    <a:pt x="139" y="945"/>
                    <a:pt x="139" y="542"/>
                    <a:pt x="139" y="139"/>
                  </a:cubicBezTo>
                  <a:cubicBezTo>
                    <a:pt x="242" y="139"/>
                    <a:pt x="346" y="139"/>
                    <a:pt x="449" y="139"/>
                  </a:cubicBezTo>
                  <a:cubicBezTo>
                    <a:pt x="563" y="139"/>
                    <a:pt x="723" y="169"/>
                    <a:pt x="837" y="310"/>
                  </a:cubicBezTo>
                  <a:cubicBezTo>
                    <a:pt x="961" y="462"/>
                    <a:pt x="970" y="687"/>
                    <a:pt x="970" y="753"/>
                  </a:cubicBezTo>
                  <a:cubicBezTo>
                    <a:pt x="970" y="849"/>
                    <a:pt x="952" y="1034"/>
                    <a:pt x="837" y="1177"/>
                  </a:cubicBezTo>
                  <a:cubicBezTo>
                    <a:pt x="722" y="1317"/>
                    <a:pt x="563" y="1348"/>
                    <a:pt x="449" y="1348"/>
                  </a:cubicBezTo>
                  <a:close/>
                  <a:moveTo>
                    <a:pt x="710" y="48"/>
                  </a:moveTo>
                  <a:cubicBezTo>
                    <a:pt x="630" y="16"/>
                    <a:pt x="543" y="0"/>
                    <a:pt x="449" y="0"/>
                  </a:cubicBezTo>
                  <a:cubicBezTo>
                    <a:pt x="315" y="0"/>
                    <a:pt x="180" y="0"/>
                    <a:pt x="46" y="0"/>
                  </a:cubicBezTo>
                  <a:cubicBezTo>
                    <a:pt x="21" y="0"/>
                    <a:pt x="0" y="20"/>
                    <a:pt x="0" y="45"/>
                  </a:cubicBezTo>
                  <a:cubicBezTo>
                    <a:pt x="0" y="510"/>
                    <a:pt x="0" y="975"/>
                    <a:pt x="0" y="1440"/>
                  </a:cubicBezTo>
                  <a:cubicBezTo>
                    <a:pt x="0" y="1464"/>
                    <a:pt x="21" y="1485"/>
                    <a:pt x="46" y="1485"/>
                  </a:cubicBezTo>
                  <a:cubicBezTo>
                    <a:pt x="180" y="1485"/>
                    <a:pt x="315" y="1485"/>
                    <a:pt x="449" y="1485"/>
                  </a:cubicBezTo>
                  <a:cubicBezTo>
                    <a:pt x="543" y="1485"/>
                    <a:pt x="630" y="1469"/>
                    <a:pt x="710" y="1437"/>
                  </a:cubicBezTo>
                  <a:cubicBezTo>
                    <a:pt x="802" y="1399"/>
                    <a:pt x="882" y="1342"/>
                    <a:pt x="945" y="1265"/>
                  </a:cubicBezTo>
                  <a:cubicBezTo>
                    <a:pt x="1088" y="1090"/>
                    <a:pt x="1110" y="868"/>
                    <a:pt x="1110" y="752"/>
                  </a:cubicBezTo>
                  <a:cubicBezTo>
                    <a:pt x="1108" y="652"/>
                    <a:pt x="1094" y="403"/>
                    <a:pt x="945" y="221"/>
                  </a:cubicBezTo>
                  <a:cubicBezTo>
                    <a:pt x="882" y="144"/>
                    <a:pt x="804" y="87"/>
                    <a:pt x="710" y="48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rtlCol="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nb-NO" sz="2400" b="0" i="0" u="none" strike="noStrike" kern="1200">
                <a:ln>
                  <a:noFill/>
                </a:ln>
                <a:latin typeface="Segoe UI" panose="020B0502040204020203" pitchFamily="34" charset="0"/>
                <a:ea typeface="SimSun" pitchFamily="2"/>
                <a:cs typeface="Lucida Sans" pitchFamily="2"/>
              </a:endParaRPr>
            </a:p>
          </p:txBody>
        </p:sp>
        <p:sp>
          <p:nvSpPr>
            <p:cNvPr id="7" name="Freeform: Shape 4"/>
            <p:cNvSpPr/>
            <p:nvPr/>
          </p:nvSpPr>
          <p:spPr>
            <a:xfrm>
              <a:off x="3687617" y="496671"/>
              <a:ext cx="406440" cy="9666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30" h="2686">
                  <a:moveTo>
                    <a:pt x="1130" y="0"/>
                  </a:moveTo>
                  <a:cubicBezTo>
                    <a:pt x="1130" y="684"/>
                    <a:pt x="1130" y="1367"/>
                    <a:pt x="1130" y="2051"/>
                  </a:cubicBezTo>
                  <a:cubicBezTo>
                    <a:pt x="1130" y="2070"/>
                    <a:pt x="1118" y="2086"/>
                    <a:pt x="1100" y="2092"/>
                  </a:cubicBezTo>
                  <a:cubicBezTo>
                    <a:pt x="1096" y="2093"/>
                    <a:pt x="1092" y="2094"/>
                    <a:pt x="1087" y="2094"/>
                  </a:cubicBezTo>
                  <a:cubicBezTo>
                    <a:pt x="1073" y="2094"/>
                    <a:pt x="1061" y="2087"/>
                    <a:pt x="1052" y="2077"/>
                  </a:cubicBezTo>
                  <a:cubicBezTo>
                    <a:pt x="747" y="1688"/>
                    <a:pt x="443" y="1300"/>
                    <a:pt x="138" y="911"/>
                  </a:cubicBezTo>
                  <a:cubicBezTo>
                    <a:pt x="138" y="1503"/>
                    <a:pt x="138" y="2094"/>
                    <a:pt x="138" y="2686"/>
                  </a:cubicBezTo>
                  <a:cubicBezTo>
                    <a:pt x="92" y="2686"/>
                    <a:pt x="46" y="2686"/>
                    <a:pt x="0" y="2686"/>
                  </a:cubicBezTo>
                  <a:cubicBezTo>
                    <a:pt x="0" y="2001"/>
                    <a:pt x="0" y="1316"/>
                    <a:pt x="0" y="631"/>
                  </a:cubicBezTo>
                  <a:cubicBezTo>
                    <a:pt x="0" y="612"/>
                    <a:pt x="12" y="596"/>
                    <a:pt x="29" y="590"/>
                  </a:cubicBezTo>
                  <a:cubicBezTo>
                    <a:pt x="34" y="589"/>
                    <a:pt x="38" y="589"/>
                    <a:pt x="42" y="589"/>
                  </a:cubicBezTo>
                  <a:cubicBezTo>
                    <a:pt x="55" y="589"/>
                    <a:pt x="68" y="595"/>
                    <a:pt x="77" y="606"/>
                  </a:cubicBezTo>
                  <a:cubicBezTo>
                    <a:pt x="382" y="994"/>
                    <a:pt x="686" y="1383"/>
                    <a:pt x="991" y="1771"/>
                  </a:cubicBezTo>
                  <a:cubicBezTo>
                    <a:pt x="991" y="1181"/>
                    <a:pt x="991" y="590"/>
                    <a:pt x="991" y="0"/>
                  </a:cubicBezTo>
                  <a:cubicBezTo>
                    <a:pt x="1037" y="0"/>
                    <a:pt x="1084" y="0"/>
                    <a:pt x="1130" y="0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rtlCol="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nb-NO" sz="2400" b="0" i="0" u="none" strike="noStrike" kern="1200">
                <a:ln>
                  <a:noFill/>
                </a:ln>
                <a:latin typeface="Segoe UI" panose="020B0502040204020203" pitchFamily="34" charset="0"/>
                <a:ea typeface="SimSun" pitchFamily="2"/>
                <a:cs typeface="Lucida Sans" pitchFamily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17600899"/>
      </p:ext>
    </p:extLst>
  </p:cSld>
  <p:clrMapOvr>
    <a:masterClrMapping/>
  </p:clrMapOvr>
  <p:transition spd="med" advClick="0"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08946096"/>
      </p:ext>
    </p:extLst>
  </p:cSld>
  <p:clrMapOvr>
    <a:masterClrMapping/>
  </p:clrMapOvr>
  <p:transition spd="med"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tort bilde &amp;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bilde 5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</p:spPr>
        <p:txBody>
          <a:bodyPr anchor="ctr" anchorCtr="0"/>
          <a:lstStyle>
            <a:lvl1pPr marL="270111" indent="-270111" algn="ctr">
              <a:spcBef>
                <a:spcPts val="1067"/>
              </a:spcBef>
              <a:buClr>
                <a:schemeClr val="accent2"/>
              </a:buClr>
              <a:buSzPct val="100000"/>
              <a:defRPr b="0" i="0">
                <a:latin typeface="Segoe UI" charset="0"/>
                <a:ea typeface="Segoe UI" charset="0"/>
                <a:cs typeface="Segoe UI" charset="0"/>
              </a:defRPr>
            </a:lvl1pPr>
          </a:lstStyle>
          <a:p>
            <a:endParaRPr lang="nb-NO"/>
          </a:p>
        </p:txBody>
      </p:sp>
      <p:sp>
        <p:nvSpPr>
          <p:cNvPr id="12" name="Tittel 6"/>
          <p:cNvSpPr>
            <a:spLocks noGrp="1"/>
          </p:cNvSpPr>
          <p:nvPr>
            <p:ph type="title"/>
          </p:nvPr>
        </p:nvSpPr>
        <p:spPr>
          <a:xfrm>
            <a:off x="719403" y="4581128"/>
            <a:ext cx="10753195" cy="961813"/>
          </a:xfrm>
          <a:prstGeom prst="rect">
            <a:avLst/>
          </a:prstGeom>
        </p:spPr>
        <p:txBody>
          <a:bodyPr anchor="ctr" anchorCtr="0"/>
          <a:lstStyle>
            <a:lvl1pPr algn="l">
              <a:spcBef>
                <a:spcPts val="800"/>
              </a:spcBef>
              <a:defRPr sz="5333">
                <a:solidFill>
                  <a:schemeClr val="bg1"/>
                </a:solidFill>
                <a:latin typeface="Segoe UI"/>
                <a:cs typeface="Segoe UI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719401" y="5542941"/>
            <a:ext cx="10753196" cy="748080"/>
          </a:xfrm>
        </p:spPr>
        <p:txBody>
          <a:bodyPr lIns="0" tIns="0" rIns="0" bIns="0" anchor="ctr" anchorCtr="0"/>
          <a:lstStyle>
            <a:lvl1pPr marL="47999" indent="0">
              <a:spcBef>
                <a:spcPts val="800"/>
              </a:spcBef>
              <a:buClr>
                <a:schemeClr val="accent2"/>
              </a:buClr>
              <a:buSzPct val="110000"/>
              <a:buFontTx/>
              <a:buNone/>
              <a:defRPr sz="1867" baseline="0">
                <a:solidFill>
                  <a:schemeClr val="bg1"/>
                </a:solidFill>
                <a:latin typeface="Segoe UI"/>
              </a:defRPr>
            </a:lvl1pPr>
            <a:lvl2pPr marL="1011741" indent="-191995">
              <a:spcBef>
                <a:spcPts val="800"/>
              </a:spcBef>
              <a:buClr>
                <a:schemeClr val="accent2"/>
              </a:buClr>
              <a:buSzPct val="110000"/>
              <a:buFont typeface="Wingdings" charset="2"/>
              <a:buChar char="§"/>
              <a:defRPr sz="1600" baseline="0">
                <a:solidFill>
                  <a:schemeClr val="tx1"/>
                </a:solidFill>
                <a:latin typeface="Segoe UI"/>
              </a:defRPr>
            </a:lvl2pPr>
            <a:lvl3pPr marL="1511262" indent="-143996">
              <a:spcBef>
                <a:spcPts val="800"/>
              </a:spcBef>
              <a:buClr>
                <a:schemeClr val="accent2"/>
              </a:buClr>
              <a:buSzPct val="110000"/>
              <a:buFont typeface="Wingdings" charset="2"/>
              <a:buChar char="§"/>
              <a:defRPr sz="1333" baseline="0">
                <a:solidFill>
                  <a:schemeClr val="tx1"/>
                </a:solidFill>
                <a:latin typeface="Segoe UI"/>
              </a:defRPr>
            </a:lvl3pPr>
            <a:lvl4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4pPr>
            <a:lvl5pPr indent="-287993">
              <a:spcBef>
                <a:spcPts val="933"/>
              </a:spcBef>
              <a:buClr>
                <a:schemeClr val="accent6"/>
              </a:buClr>
              <a:buSzPct val="110000"/>
              <a:defRPr sz="2133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/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ext</a:t>
            </a:r>
            <a:r>
              <a:rPr lang="nb-NO"/>
              <a:t> styles</a:t>
            </a:r>
          </a:p>
        </p:txBody>
      </p:sp>
    </p:spTree>
    <p:extLst>
      <p:ext uri="{BB962C8B-B14F-4D97-AF65-F5344CB8AC3E}">
        <p14:creationId xmlns:p14="http://schemas.microsoft.com/office/powerpoint/2010/main" val="405955045"/>
      </p:ext>
    </p:extLst>
  </p:cSld>
  <p:clrMapOvr>
    <a:masterClrMapping/>
  </p:clrMapOvr>
  <p:transition spd="med" advClick="0"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rside gro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000" tIns="48000" rIns="48000" bIns="4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Segoe UI"/>
              <a:ea typeface="ヒラギノ角ゴ ProN W3" charset="0"/>
              <a:cs typeface="Segoe UI"/>
              <a:sym typeface="segoe UI" charset="0"/>
            </a:endParaRP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7381" y="3813043"/>
            <a:ext cx="8736971" cy="576000"/>
          </a:xfrm>
          <a:prstGeom prst="rect">
            <a:avLst/>
          </a:prstGeom>
        </p:spPr>
        <p:txBody>
          <a:bodyPr lIns="108000" rtlCol="0"/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charset="2"/>
              <a:buNone/>
              <a:tabLst/>
              <a:defRPr sz="2133">
                <a:solidFill>
                  <a:schemeClr val="bg1"/>
                </a:solidFill>
                <a:effectLst/>
                <a:latin typeface="Segoe UI"/>
                <a:cs typeface="Segoe UI"/>
              </a:defRPr>
            </a:lvl1pPr>
            <a:lvl2pPr marL="428599" indent="0" algn="ctr">
              <a:buNone/>
              <a:defRPr/>
            </a:lvl2pPr>
            <a:lvl3pPr marL="857199" indent="0" algn="ctr">
              <a:buNone/>
              <a:defRPr/>
            </a:lvl3pPr>
            <a:lvl4pPr marL="1285797" indent="0" algn="ctr">
              <a:buNone/>
              <a:defRPr/>
            </a:lvl4pPr>
            <a:lvl5pPr marL="1714396" indent="0" algn="ctr">
              <a:buNone/>
              <a:defRPr/>
            </a:lvl5pPr>
            <a:lvl6pPr marL="2142996" indent="0" algn="ctr">
              <a:buNone/>
              <a:defRPr/>
            </a:lvl6pPr>
            <a:lvl7pPr marL="2571594" indent="0" algn="ctr">
              <a:buNone/>
              <a:defRPr/>
            </a:lvl7pPr>
            <a:lvl8pPr marL="3000193" indent="0" algn="ctr">
              <a:buNone/>
              <a:defRPr/>
            </a:lvl8pPr>
            <a:lvl9pPr marL="3428793" indent="0" algn="ctr">
              <a:buNone/>
              <a:defRPr/>
            </a:lvl9pPr>
          </a:lstStyle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" charset="2"/>
              <a:buNone/>
              <a:tabLst/>
              <a:defRPr/>
            </a:pPr>
            <a:r>
              <a:rPr lang="nb-no"/>
              <a:t>Click to edit subtitle style</a:t>
            </a:r>
            <a:endParaRPr lang="en-US"/>
          </a:p>
        </p:txBody>
      </p:sp>
      <p:sp>
        <p:nvSpPr>
          <p:cNvPr id="12" name="Tittel 8"/>
          <p:cNvSpPr>
            <a:spLocks noGrp="1"/>
          </p:cNvSpPr>
          <p:nvPr>
            <p:ph type="title" hasCustomPrompt="1"/>
          </p:nvPr>
        </p:nvSpPr>
        <p:spPr>
          <a:xfrm>
            <a:off x="527381" y="3069000"/>
            <a:ext cx="8736971" cy="720000"/>
          </a:xfrm>
          <a:prstGeom prst="rect">
            <a:avLst/>
          </a:prstGeom>
        </p:spPr>
        <p:txBody>
          <a:bodyPr rtlCol="0" anchor="ctr" anchorCtr="0"/>
          <a:lstStyle>
            <a:lvl1pPr algn="l">
              <a:defRPr sz="5333">
                <a:solidFill>
                  <a:schemeClr val="bg1"/>
                </a:solidFill>
                <a:effectLst/>
                <a:latin typeface="Segoe UI"/>
                <a:cs typeface="Segoe UI"/>
              </a:defRPr>
            </a:lvl1pPr>
          </a:lstStyle>
          <a:p>
            <a:pPr rtl="0"/>
            <a:r>
              <a:rPr lang="nb-no"/>
              <a:t>Click to edit title style</a:t>
            </a:r>
          </a:p>
        </p:txBody>
      </p:sp>
      <p:grpSp>
        <p:nvGrpSpPr>
          <p:cNvPr id="7" name="Gruppe 6"/>
          <p:cNvGrpSpPr/>
          <p:nvPr/>
        </p:nvGrpSpPr>
        <p:grpSpPr>
          <a:xfrm>
            <a:off x="10224459" y="452669"/>
            <a:ext cx="1396512" cy="960107"/>
            <a:chOff x="3187937" y="496671"/>
            <a:chExt cx="1405800" cy="966600"/>
          </a:xfrm>
          <a:solidFill>
            <a:schemeClr val="accent1"/>
          </a:solidFill>
        </p:grpSpPr>
        <p:sp>
          <p:nvSpPr>
            <p:cNvPr id="8" name="Freeform: Shape 2"/>
            <p:cNvSpPr/>
            <p:nvPr/>
          </p:nvSpPr>
          <p:spPr>
            <a:xfrm>
              <a:off x="4213577" y="713031"/>
              <a:ext cx="380160" cy="534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57" h="1485">
                  <a:moveTo>
                    <a:pt x="138" y="1346"/>
                  </a:moveTo>
                  <a:cubicBezTo>
                    <a:pt x="138" y="1155"/>
                    <a:pt x="138" y="964"/>
                    <a:pt x="138" y="773"/>
                  </a:cubicBezTo>
                  <a:cubicBezTo>
                    <a:pt x="287" y="773"/>
                    <a:pt x="437" y="773"/>
                    <a:pt x="586" y="773"/>
                  </a:cubicBezTo>
                  <a:cubicBezTo>
                    <a:pt x="780" y="773"/>
                    <a:pt x="917" y="884"/>
                    <a:pt x="917" y="1040"/>
                  </a:cubicBezTo>
                  <a:cubicBezTo>
                    <a:pt x="918" y="1116"/>
                    <a:pt x="918" y="1346"/>
                    <a:pt x="532" y="1346"/>
                  </a:cubicBezTo>
                  <a:cubicBezTo>
                    <a:pt x="401" y="1346"/>
                    <a:pt x="269" y="1346"/>
                    <a:pt x="138" y="1346"/>
                  </a:cubicBezTo>
                  <a:close/>
                  <a:moveTo>
                    <a:pt x="471" y="138"/>
                  </a:moveTo>
                  <a:cubicBezTo>
                    <a:pt x="589" y="138"/>
                    <a:pt x="675" y="157"/>
                    <a:pt x="732" y="196"/>
                  </a:cubicBezTo>
                  <a:cubicBezTo>
                    <a:pt x="767" y="221"/>
                    <a:pt x="816" y="271"/>
                    <a:pt x="816" y="395"/>
                  </a:cubicBezTo>
                  <a:cubicBezTo>
                    <a:pt x="816" y="616"/>
                    <a:pt x="641" y="635"/>
                    <a:pt x="587" y="635"/>
                  </a:cubicBezTo>
                  <a:cubicBezTo>
                    <a:pt x="438" y="635"/>
                    <a:pt x="289" y="635"/>
                    <a:pt x="140" y="635"/>
                  </a:cubicBezTo>
                  <a:cubicBezTo>
                    <a:pt x="140" y="469"/>
                    <a:pt x="140" y="304"/>
                    <a:pt x="140" y="138"/>
                  </a:cubicBezTo>
                  <a:cubicBezTo>
                    <a:pt x="250" y="138"/>
                    <a:pt x="361" y="138"/>
                    <a:pt x="471" y="138"/>
                  </a:cubicBezTo>
                  <a:close/>
                  <a:moveTo>
                    <a:pt x="838" y="692"/>
                  </a:moveTo>
                  <a:cubicBezTo>
                    <a:pt x="836" y="690"/>
                    <a:pt x="833" y="689"/>
                    <a:pt x="831" y="687"/>
                  </a:cubicBezTo>
                  <a:cubicBezTo>
                    <a:pt x="833" y="685"/>
                    <a:pt x="834" y="684"/>
                    <a:pt x="836" y="682"/>
                  </a:cubicBezTo>
                  <a:cubicBezTo>
                    <a:pt x="889" y="635"/>
                    <a:pt x="953" y="546"/>
                    <a:pt x="953" y="395"/>
                  </a:cubicBezTo>
                  <a:cubicBezTo>
                    <a:pt x="953" y="255"/>
                    <a:pt x="905" y="150"/>
                    <a:pt x="810" y="84"/>
                  </a:cubicBezTo>
                  <a:cubicBezTo>
                    <a:pt x="730" y="27"/>
                    <a:pt x="619" y="0"/>
                    <a:pt x="471" y="0"/>
                  </a:cubicBezTo>
                  <a:cubicBezTo>
                    <a:pt x="329" y="0"/>
                    <a:pt x="187" y="0"/>
                    <a:pt x="45" y="0"/>
                  </a:cubicBezTo>
                  <a:cubicBezTo>
                    <a:pt x="20" y="0"/>
                    <a:pt x="0" y="20"/>
                    <a:pt x="0" y="45"/>
                  </a:cubicBezTo>
                  <a:cubicBezTo>
                    <a:pt x="0" y="510"/>
                    <a:pt x="0" y="975"/>
                    <a:pt x="0" y="1440"/>
                  </a:cubicBezTo>
                  <a:cubicBezTo>
                    <a:pt x="0" y="1464"/>
                    <a:pt x="20" y="1485"/>
                    <a:pt x="45" y="1485"/>
                  </a:cubicBezTo>
                  <a:cubicBezTo>
                    <a:pt x="207" y="1485"/>
                    <a:pt x="370" y="1485"/>
                    <a:pt x="532" y="1485"/>
                  </a:cubicBezTo>
                  <a:cubicBezTo>
                    <a:pt x="685" y="1485"/>
                    <a:pt x="809" y="1453"/>
                    <a:pt x="896" y="1387"/>
                  </a:cubicBezTo>
                  <a:cubicBezTo>
                    <a:pt x="947" y="1349"/>
                    <a:pt x="988" y="1301"/>
                    <a:pt x="1014" y="1244"/>
                  </a:cubicBezTo>
                  <a:cubicBezTo>
                    <a:pt x="1042" y="1186"/>
                    <a:pt x="1057" y="1116"/>
                    <a:pt x="1057" y="1040"/>
                  </a:cubicBezTo>
                  <a:cubicBezTo>
                    <a:pt x="1057" y="922"/>
                    <a:pt x="1007" y="817"/>
                    <a:pt x="915" y="743"/>
                  </a:cubicBezTo>
                  <a:cubicBezTo>
                    <a:pt x="892" y="724"/>
                    <a:pt x="866" y="706"/>
                    <a:pt x="838" y="692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rtlCol="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nb-NO" sz="2400" b="0" i="0" u="none" strike="noStrike" kern="1200">
                <a:ln>
                  <a:noFill/>
                </a:ln>
                <a:latin typeface="Segoe UI" panose="020B0502040204020203" pitchFamily="34" charset="0"/>
                <a:ea typeface="SimSun" pitchFamily="2"/>
                <a:cs typeface="Lucida Sans" pitchFamily="2"/>
              </a:endParaRPr>
            </a:p>
          </p:txBody>
        </p:sp>
        <p:sp>
          <p:nvSpPr>
            <p:cNvPr id="9" name="Freeform: Shape 3"/>
            <p:cNvSpPr/>
            <p:nvPr/>
          </p:nvSpPr>
          <p:spPr>
            <a:xfrm>
              <a:off x="3187937" y="713031"/>
              <a:ext cx="399240" cy="534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10" h="1485">
                  <a:moveTo>
                    <a:pt x="449" y="1348"/>
                  </a:moveTo>
                  <a:cubicBezTo>
                    <a:pt x="346" y="1348"/>
                    <a:pt x="242" y="1348"/>
                    <a:pt x="139" y="1348"/>
                  </a:cubicBezTo>
                  <a:cubicBezTo>
                    <a:pt x="139" y="945"/>
                    <a:pt x="139" y="542"/>
                    <a:pt x="139" y="139"/>
                  </a:cubicBezTo>
                  <a:cubicBezTo>
                    <a:pt x="242" y="139"/>
                    <a:pt x="346" y="139"/>
                    <a:pt x="449" y="139"/>
                  </a:cubicBezTo>
                  <a:cubicBezTo>
                    <a:pt x="563" y="139"/>
                    <a:pt x="723" y="169"/>
                    <a:pt x="837" y="310"/>
                  </a:cubicBezTo>
                  <a:cubicBezTo>
                    <a:pt x="961" y="462"/>
                    <a:pt x="970" y="687"/>
                    <a:pt x="970" y="753"/>
                  </a:cubicBezTo>
                  <a:cubicBezTo>
                    <a:pt x="970" y="849"/>
                    <a:pt x="952" y="1034"/>
                    <a:pt x="837" y="1177"/>
                  </a:cubicBezTo>
                  <a:cubicBezTo>
                    <a:pt x="722" y="1317"/>
                    <a:pt x="563" y="1348"/>
                    <a:pt x="449" y="1348"/>
                  </a:cubicBezTo>
                  <a:close/>
                  <a:moveTo>
                    <a:pt x="710" y="48"/>
                  </a:moveTo>
                  <a:cubicBezTo>
                    <a:pt x="630" y="16"/>
                    <a:pt x="543" y="0"/>
                    <a:pt x="449" y="0"/>
                  </a:cubicBezTo>
                  <a:cubicBezTo>
                    <a:pt x="315" y="0"/>
                    <a:pt x="180" y="0"/>
                    <a:pt x="46" y="0"/>
                  </a:cubicBezTo>
                  <a:cubicBezTo>
                    <a:pt x="21" y="0"/>
                    <a:pt x="0" y="20"/>
                    <a:pt x="0" y="45"/>
                  </a:cubicBezTo>
                  <a:cubicBezTo>
                    <a:pt x="0" y="510"/>
                    <a:pt x="0" y="975"/>
                    <a:pt x="0" y="1440"/>
                  </a:cubicBezTo>
                  <a:cubicBezTo>
                    <a:pt x="0" y="1464"/>
                    <a:pt x="21" y="1485"/>
                    <a:pt x="46" y="1485"/>
                  </a:cubicBezTo>
                  <a:cubicBezTo>
                    <a:pt x="180" y="1485"/>
                    <a:pt x="315" y="1485"/>
                    <a:pt x="449" y="1485"/>
                  </a:cubicBezTo>
                  <a:cubicBezTo>
                    <a:pt x="543" y="1485"/>
                    <a:pt x="630" y="1469"/>
                    <a:pt x="710" y="1437"/>
                  </a:cubicBezTo>
                  <a:cubicBezTo>
                    <a:pt x="802" y="1399"/>
                    <a:pt x="882" y="1342"/>
                    <a:pt x="945" y="1265"/>
                  </a:cubicBezTo>
                  <a:cubicBezTo>
                    <a:pt x="1088" y="1090"/>
                    <a:pt x="1110" y="868"/>
                    <a:pt x="1110" y="752"/>
                  </a:cubicBezTo>
                  <a:cubicBezTo>
                    <a:pt x="1108" y="652"/>
                    <a:pt x="1094" y="403"/>
                    <a:pt x="945" y="221"/>
                  </a:cubicBezTo>
                  <a:cubicBezTo>
                    <a:pt x="882" y="144"/>
                    <a:pt x="804" y="87"/>
                    <a:pt x="710" y="48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rtlCol="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nb-NO" sz="2400" b="0" i="0" u="none" strike="noStrike" kern="1200">
                <a:ln>
                  <a:noFill/>
                </a:ln>
                <a:latin typeface="Segoe UI" panose="020B0502040204020203" pitchFamily="34" charset="0"/>
                <a:ea typeface="SimSun" pitchFamily="2"/>
                <a:cs typeface="Lucida Sans" pitchFamily="2"/>
              </a:endParaRPr>
            </a:p>
          </p:txBody>
        </p:sp>
        <p:sp>
          <p:nvSpPr>
            <p:cNvPr id="10" name="Freeform: Shape 4"/>
            <p:cNvSpPr/>
            <p:nvPr/>
          </p:nvSpPr>
          <p:spPr>
            <a:xfrm>
              <a:off x="3687617" y="496671"/>
              <a:ext cx="406440" cy="9666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30" h="2686">
                  <a:moveTo>
                    <a:pt x="1130" y="0"/>
                  </a:moveTo>
                  <a:cubicBezTo>
                    <a:pt x="1130" y="684"/>
                    <a:pt x="1130" y="1367"/>
                    <a:pt x="1130" y="2051"/>
                  </a:cubicBezTo>
                  <a:cubicBezTo>
                    <a:pt x="1130" y="2070"/>
                    <a:pt x="1118" y="2086"/>
                    <a:pt x="1100" y="2092"/>
                  </a:cubicBezTo>
                  <a:cubicBezTo>
                    <a:pt x="1096" y="2093"/>
                    <a:pt x="1092" y="2094"/>
                    <a:pt x="1087" y="2094"/>
                  </a:cubicBezTo>
                  <a:cubicBezTo>
                    <a:pt x="1073" y="2094"/>
                    <a:pt x="1061" y="2087"/>
                    <a:pt x="1052" y="2077"/>
                  </a:cubicBezTo>
                  <a:cubicBezTo>
                    <a:pt x="747" y="1688"/>
                    <a:pt x="443" y="1300"/>
                    <a:pt x="138" y="911"/>
                  </a:cubicBezTo>
                  <a:cubicBezTo>
                    <a:pt x="138" y="1503"/>
                    <a:pt x="138" y="2094"/>
                    <a:pt x="138" y="2686"/>
                  </a:cubicBezTo>
                  <a:cubicBezTo>
                    <a:pt x="92" y="2686"/>
                    <a:pt x="46" y="2686"/>
                    <a:pt x="0" y="2686"/>
                  </a:cubicBezTo>
                  <a:cubicBezTo>
                    <a:pt x="0" y="2001"/>
                    <a:pt x="0" y="1316"/>
                    <a:pt x="0" y="631"/>
                  </a:cubicBezTo>
                  <a:cubicBezTo>
                    <a:pt x="0" y="612"/>
                    <a:pt x="12" y="596"/>
                    <a:pt x="29" y="590"/>
                  </a:cubicBezTo>
                  <a:cubicBezTo>
                    <a:pt x="34" y="589"/>
                    <a:pt x="38" y="589"/>
                    <a:pt x="42" y="589"/>
                  </a:cubicBezTo>
                  <a:cubicBezTo>
                    <a:pt x="55" y="589"/>
                    <a:pt x="68" y="595"/>
                    <a:pt x="77" y="606"/>
                  </a:cubicBezTo>
                  <a:cubicBezTo>
                    <a:pt x="382" y="994"/>
                    <a:pt x="686" y="1383"/>
                    <a:pt x="991" y="1771"/>
                  </a:cubicBezTo>
                  <a:cubicBezTo>
                    <a:pt x="991" y="1181"/>
                    <a:pt x="991" y="590"/>
                    <a:pt x="991" y="0"/>
                  </a:cubicBezTo>
                  <a:cubicBezTo>
                    <a:pt x="1037" y="0"/>
                    <a:pt x="1084" y="0"/>
                    <a:pt x="1130" y="0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rtlCol="0" anchor="ctr" anchorCtr="1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nb-NO" sz="2400" b="0" i="0" u="none" strike="noStrike" kern="1200">
                <a:ln>
                  <a:noFill/>
                </a:ln>
                <a:latin typeface="Segoe UI" panose="020B0502040204020203" pitchFamily="34" charset="0"/>
                <a:ea typeface="SimSun" pitchFamily="2"/>
                <a:cs typeface="Lucida Sans" pitchFamily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67736084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7.xml"/><Relationship Id="rId13" Type="http://schemas.openxmlformats.org/officeDocument/2006/relationships/slideLayout" Target="../slideLayouts/slideLayout172.xml"/><Relationship Id="rId3" Type="http://schemas.openxmlformats.org/officeDocument/2006/relationships/slideLayout" Target="../slideLayouts/slideLayout162.xml"/><Relationship Id="rId7" Type="http://schemas.openxmlformats.org/officeDocument/2006/relationships/slideLayout" Target="../slideLayouts/slideLayout166.xml"/><Relationship Id="rId12" Type="http://schemas.openxmlformats.org/officeDocument/2006/relationships/slideLayout" Target="../slideLayouts/slideLayout171.xml"/><Relationship Id="rId2" Type="http://schemas.openxmlformats.org/officeDocument/2006/relationships/slideLayout" Target="../slideLayouts/slideLayout161.xml"/><Relationship Id="rId1" Type="http://schemas.openxmlformats.org/officeDocument/2006/relationships/slideLayout" Target="../slideLayouts/slideLayout160.xml"/><Relationship Id="rId6" Type="http://schemas.openxmlformats.org/officeDocument/2006/relationships/slideLayout" Target="../slideLayouts/slideLayout165.xml"/><Relationship Id="rId11" Type="http://schemas.openxmlformats.org/officeDocument/2006/relationships/slideLayout" Target="../slideLayouts/slideLayout170.xml"/><Relationship Id="rId5" Type="http://schemas.openxmlformats.org/officeDocument/2006/relationships/slideLayout" Target="../slideLayouts/slideLayout164.xml"/><Relationship Id="rId10" Type="http://schemas.openxmlformats.org/officeDocument/2006/relationships/slideLayout" Target="../slideLayouts/slideLayout169.xml"/><Relationship Id="rId4" Type="http://schemas.openxmlformats.org/officeDocument/2006/relationships/slideLayout" Target="../slideLayouts/slideLayout163.xml"/><Relationship Id="rId9" Type="http://schemas.openxmlformats.org/officeDocument/2006/relationships/slideLayout" Target="../slideLayouts/slideLayout168.xml"/><Relationship Id="rId14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0.xml"/><Relationship Id="rId13" Type="http://schemas.openxmlformats.org/officeDocument/2006/relationships/slideLayout" Target="../slideLayouts/slideLayout185.xml"/><Relationship Id="rId18" Type="http://schemas.openxmlformats.org/officeDocument/2006/relationships/image" Target="../media/image10.png"/><Relationship Id="rId3" Type="http://schemas.openxmlformats.org/officeDocument/2006/relationships/slideLayout" Target="../slideLayouts/slideLayout175.xml"/><Relationship Id="rId7" Type="http://schemas.openxmlformats.org/officeDocument/2006/relationships/slideLayout" Target="../slideLayouts/slideLayout179.xml"/><Relationship Id="rId12" Type="http://schemas.openxmlformats.org/officeDocument/2006/relationships/slideLayout" Target="../slideLayouts/slideLayout184.xml"/><Relationship Id="rId17" Type="http://schemas.openxmlformats.org/officeDocument/2006/relationships/theme" Target="../theme/theme11.xml"/><Relationship Id="rId2" Type="http://schemas.openxmlformats.org/officeDocument/2006/relationships/slideLayout" Target="../slideLayouts/slideLayout174.xml"/><Relationship Id="rId16" Type="http://schemas.openxmlformats.org/officeDocument/2006/relationships/slideLayout" Target="../slideLayouts/slideLayout188.xml"/><Relationship Id="rId1" Type="http://schemas.openxmlformats.org/officeDocument/2006/relationships/slideLayout" Target="../slideLayouts/slideLayout173.xml"/><Relationship Id="rId6" Type="http://schemas.openxmlformats.org/officeDocument/2006/relationships/slideLayout" Target="../slideLayouts/slideLayout178.xml"/><Relationship Id="rId11" Type="http://schemas.openxmlformats.org/officeDocument/2006/relationships/slideLayout" Target="../slideLayouts/slideLayout183.xml"/><Relationship Id="rId5" Type="http://schemas.openxmlformats.org/officeDocument/2006/relationships/slideLayout" Target="../slideLayouts/slideLayout177.xml"/><Relationship Id="rId15" Type="http://schemas.openxmlformats.org/officeDocument/2006/relationships/slideLayout" Target="../slideLayouts/slideLayout187.xml"/><Relationship Id="rId10" Type="http://schemas.openxmlformats.org/officeDocument/2006/relationships/slideLayout" Target="../slideLayouts/slideLayout182.xml"/><Relationship Id="rId4" Type="http://schemas.openxmlformats.org/officeDocument/2006/relationships/slideLayout" Target="../slideLayouts/slideLayout176.xml"/><Relationship Id="rId9" Type="http://schemas.openxmlformats.org/officeDocument/2006/relationships/slideLayout" Target="../slideLayouts/slideLayout181.xml"/><Relationship Id="rId14" Type="http://schemas.openxmlformats.org/officeDocument/2006/relationships/slideLayout" Target="../slideLayouts/slideLayout186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6.xml"/><Relationship Id="rId13" Type="http://schemas.openxmlformats.org/officeDocument/2006/relationships/tags" Target="../tags/tag9.xml"/><Relationship Id="rId3" Type="http://schemas.openxmlformats.org/officeDocument/2006/relationships/slideLayout" Target="../slideLayouts/slideLayout191.xml"/><Relationship Id="rId7" Type="http://schemas.openxmlformats.org/officeDocument/2006/relationships/slideLayout" Target="../slideLayouts/slideLayout195.xml"/><Relationship Id="rId12" Type="http://schemas.openxmlformats.org/officeDocument/2006/relationships/tags" Target="../tags/tag8.xml"/><Relationship Id="rId2" Type="http://schemas.openxmlformats.org/officeDocument/2006/relationships/slideLayout" Target="../slideLayouts/slideLayout190.xml"/><Relationship Id="rId1" Type="http://schemas.openxmlformats.org/officeDocument/2006/relationships/slideLayout" Target="../slideLayouts/slideLayout189.xml"/><Relationship Id="rId6" Type="http://schemas.openxmlformats.org/officeDocument/2006/relationships/slideLayout" Target="../slideLayouts/slideLayout194.xml"/><Relationship Id="rId11" Type="http://schemas.openxmlformats.org/officeDocument/2006/relationships/theme" Target="../theme/theme12.xml"/><Relationship Id="rId5" Type="http://schemas.openxmlformats.org/officeDocument/2006/relationships/slideLayout" Target="../slideLayouts/slideLayout193.xml"/><Relationship Id="rId15" Type="http://schemas.openxmlformats.org/officeDocument/2006/relationships/image" Target="../media/image19.emf"/><Relationship Id="rId10" Type="http://schemas.openxmlformats.org/officeDocument/2006/relationships/slideLayout" Target="../slideLayouts/slideLayout198.xml"/><Relationship Id="rId4" Type="http://schemas.openxmlformats.org/officeDocument/2006/relationships/slideLayout" Target="../slideLayouts/slideLayout192.xml"/><Relationship Id="rId9" Type="http://schemas.openxmlformats.org/officeDocument/2006/relationships/slideLayout" Target="../slideLayouts/slideLayout197.xml"/><Relationship Id="rId14" Type="http://schemas.openxmlformats.org/officeDocument/2006/relationships/oleObject" Target="../embeddings/oleObject7.bin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6.xml"/><Relationship Id="rId13" Type="http://schemas.openxmlformats.org/officeDocument/2006/relationships/tags" Target="../tags/tag22.xml"/><Relationship Id="rId3" Type="http://schemas.openxmlformats.org/officeDocument/2006/relationships/slideLayout" Target="../slideLayouts/slideLayout201.xml"/><Relationship Id="rId7" Type="http://schemas.openxmlformats.org/officeDocument/2006/relationships/slideLayout" Target="../slideLayouts/slideLayout205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200.xml"/><Relationship Id="rId16" Type="http://schemas.openxmlformats.org/officeDocument/2006/relationships/image" Target="../media/image19.emf"/><Relationship Id="rId1" Type="http://schemas.openxmlformats.org/officeDocument/2006/relationships/slideLayout" Target="../slideLayouts/slideLayout199.xml"/><Relationship Id="rId6" Type="http://schemas.openxmlformats.org/officeDocument/2006/relationships/slideLayout" Target="../slideLayouts/slideLayout204.xml"/><Relationship Id="rId11" Type="http://schemas.openxmlformats.org/officeDocument/2006/relationships/slideLayout" Target="../slideLayouts/slideLayout209.xml"/><Relationship Id="rId5" Type="http://schemas.openxmlformats.org/officeDocument/2006/relationships/slideLayout" Target="../slideLayouts/slideLayout203.xml"/><Relationship Id="rId15" Type="http://schemas.openxmlformats.org/officeDocument/2006/relationships/oleObject" Target="../embeddings/oleObject15.bin"/><Relationship Id="rId10" Type="http://schemas.openxmlformats.org/officeDocument/2006/relationships/slideLayout" Target="../slideLayouts/slideLayout208.xml"/><Relationship Id="rId4" Type="http://schemas.openxmlformats.org/officeDocument/2006/relationships/slideLayout" Target="../slideLayouts/slideLayout202.xml"/><Relationship Id="rId9" Type="http://schemas.openxmlformats.org/officeDocument/2006/relationships/slideLayout" Target="../slideLayouts/slideLayout207.xml"/><Relationship Id="rId14" Type="http://schemas.openxmlformats.org/officeDocument/2006/relationships/tags" Target="../tags/tag2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7.xml"/><Relationship Id="rId13" Type="http://schemas.openxmlformats.org/officeDocument/2006/relationships/theme" Target="../theme/theme14.xml"/><Relationship Id="rId3" Type="http://schemas.openxmlformats.org/officeDocument/2006/relationships/slideLayout" Target="../slideLayouts/slideLayout212.xml"/><Relationship Id="rId7" Type="http://schemas.openxmlformats.org/officeDocument/2006/relationships/slideLayout" Target="../slideLayouts/slideLayout216.xml"/><Relationship Id="rId12" Type="http://schemas.openxmlformats.org/officeDocument/2006/relationships/slideLayout" Target="../slideLayouts/slideLayout221.xml"/><Relationship Id="rId17" Type="http://schemas.openxmlformats.org/officeDocument/2006/relationships/image" Target="../media/image19.emf"/><Relationship Id="rId2" Type="http://schemas.openxmlformats.org/officeDocument/2006/relationships/slideLayout" Target="../slideLayouts/slideLayout211.xml"/><Relationship Id="rId16" Type="http://schemas.openxmlformats.org/officeDocument/2006/relationships/oleObject" Target="../embeddings/oleObject23.bin"/><Relationship Id="rId1" Type="http://schemas.openxmlformats.org/officeDocument/2006/relationships/slideLayout" Target="../slideLayouts/slideLayout210.xml"/><Relationship Id="rId6" Type="http://schemas.openxmlformats.org/officeDocument/2006/relationships/slideLayout" Target="../slideLayouts/slideLayout215.xml"/><Relationship Id="rId11" Type="http://schemas.openxmlformats.org/officeDocument/2006/relationships/slideLayout" Target="../slideLayouts/slideLayout220.xml"/><Relationship Id="rId5" Type="http://schemas.openxmlformats.org/officeDocument/2006/relationships/slideLayout" Target="../slideLayouts/slideLayout214.xml"/><Relationship Id="rId15" Type="http://schemas.openxmlformats.org/officeDocument/2006/relationships/tags" Target="../tags/tag37.xml"/><Relationship Id="rId10" Type="http://schemas.openxmlformats.org/officeDocument/2006/relationships/slideLayout" Target="../slideLayouts/slideLayout219.xml"/><Relationship Id="rId4" Type="http://schemas.openxmlformats.org/officeDocument/2006/relationships/slideLayout" Target="../slideLayouts/slideLayout213.xml"/><Relationship Id="rId9" Type="http://schemas.openxmlformats.org/officeDocument/2006/relationships/slideLayout" Target="../slideLayouts/slideLayout218.xml"/><Relationship Id="rId14" Type="http://schemas.openxmlformats.org/officeDocument/2006/relationships/tags" Target="../tags/tag36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9.xml"/><Relationship Id="rId13" Type="http://schemas.openxmlformats.org/officeDocument/2006/relationships/image" Target="../media/image22.png"/><Relationship Id="rId18" Type="http://schemas.openxmlformats.org/officeDocument/2006/relationships/image" Target="../media/image27.png"/><Relationship Id="rId3" Type="http://schemas.openxmlformats.org/officeDocument/2006/relationships/slideLayout" Target="../slideLayouts/slideLayout224.xml"/><Relationship Id="rId7" Type="http://schemas.openxmlformats.org/officeDocument/2006/relationships/slideLayout" Target="../slideLayouts/slideLayout228.xml"/><Relationship Id="rId12" Type="http://schemas.openxmlformats.org/officeDocument/2006/relationships/theme" Target="../theme/theme15.xml"/><Relationship Id="rId17" Type="http://schemas.openxmlformats.org/officeDocument/2006/relationships/image" Target="../media/image26.png"/><Relationship Id="rId2" Type="http://schemas.openxmlformats.org/officeDocument/2006/relationships/slideLayout" Target="../slideLayouts/slideLayout223.xml"/><Relationship Id="rId16" Type="http://schemas.openxmlformats.org/officeDocument/2006/relationships/image" Target="../media/image25.png"/><Relationship Id="rId1" Type="http://schemas.openxmlformats.org/officeDocument/2006/relationships/slideLayout" Target="../slideLayouts/slideLayout222.xml"/><Relationship Id="rId6" Type="http://schemas.openxmlformats.org/officeDocument/2006/relationships/slideLayout" Target="../slideLayouts/slideLayout227.xml"/><Relationship Id="rId11" Type="http://schemas.openxmlformats.org/officeDocument/2006/relationships/slideLayout" Target="../slideLayouts/slideLayout232.xml"/><Relationship Id="rId5" Type="http://schemas.openxmlformats.org/officeDocument/2006/relationships/slideLayout" Target="../slideLayouts/slideLayout226.xml"/><Relationship Id="rId15" Type="http://schemas.openxmlformats.org/officeDocument/2006/relationships/image" Target="../media/image24.png"/><Relationship Id="rId10" Type="http://schemas.openxmlformats.org/officeDocument/2006/relationships/slideLayout" Target="../slideLayouts/slideLayout231.xml"/><Relationship Id="rId19" Type="http://schemas.openxmlformats.org/officeDocument/2006/relationships/image" Target="../media/image28.svg"/><Relationship Id="rId4" Type="http://schemas.openxmlformats.org/officeDocument/2006/relationships/slideLayout" Target="../slideLayouts/slideLayout225.xml"/><Relationship Id="rId9" Type="http://schemas.openxmlformats.org/officeDocument/2006/relationships/slideLayout" Target="../slideLayouts/slideLayout230.xml"/><Relationship Id="rId14" Type="http://schemas.openxmlformats.org/officeDocument/2006/relationships/image" Target="../media/image23.pn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0.xml"/><Relationship Id="rId3" Type="http://schemas.openxmlformats.org/officeDocument/2006/relationships/slideLayout" Target="../slideLayouts/slideLayout235.xml"/><Relationship Id="rId7" Type="http://schemas.openxmlformats.org/officeDocument/2006/relationships/slideLayout" Target="../slideLayouts/slideLayout239.xml"/><Relationship Id="rId12" Type="http://schemas.openxmlformats.org/officeDocument/2006/relationships/theme" Target="../theme/theme16.xml"/><Relationship Id="rId2" Type="http://schemas.openxmlformats.org/officeDocument/2006/relationships/slideLayout" Target="../slideLayouts/slideLayout234.xml"/><Relationship Id="rId1" Type="http://schemas.openxmlformats.org/officeDocument/2006/relationships/slideLayout" Target="../slideLayouts/slideLayout233.xml"/><Relationship Id="rId6" Type="http://schemas.openxmlformats.org/officeDocument/2006/relationships/slideLayout" Target="../slideLayouts/slideLayout238.xml"/><Relationship Id="rId11" Type="http://schemas.openxmlformats.org/officeDocument/2006/relationships/slideLayout" Target="../slideLayouts/slideLayout243.xml"/><Relationship Id="rId5" Type="http://schemas.openxmlformats.org/officeDocument/2006/relationships/slideLayout" Target="../slideLayouts/slideLayout237.xml"/><Relationship Id="rId10" Type="http://schemas.openxmlformats.org/officeDocument/2006/relationships/slideLayout" Target="../slideLayouts/slideLayout242.xml"/><Relationship Id="rId4" Type="http://schemas.openxmlformats.org/officeDocument/2006/relationships/slideLayout" Target="../slideLayouts/slideLayout236.xml"/><Relationship Id="rId9" Type="http://schemas.openxmlformats.org/officeDocument/2006/relationships/slideLayout" Target="../slideLayouts/slideLayout241.xml"/></Relationships>
</file>

<file path=ppt/slideMasters/_rels/slideMaster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6.xml"/><Relationship Id="rId7" Type="http://schemas.openxmlformats.org/officeDocument/2006/relationships/image" Target="../media/image47.jpeg"/><Relationship Id="rId2" Type="http://schemas.openxmlformats.org/officeDocument/2006/relationships/slideLayout" Target="../slideLayouts/slideLayout245.xml"/><Relationship Id="rId1" Type="http://schemas.openxmlformats.org/officeDocument/2006/relationships/slideLayout" Target="../slideLayouts/slideLayout244.xml"/><Relationship Id="rId6" Type="http://schemas.openxmlformats.org/officeDocument/2006/relationships/theme" Target="../theme/theme17.xml"/><Relationship Id="rId5" Type="http://schemas.openxmlformats.org/officeDocument/2006/relationships/slideLayout" Target="../slideLayouts/slideLayout248.xml"/><Relationship Id="rId4" Type="http://schemas.openxmlformats.org/officeDocument/2006/relationships/slideLayout" Target="../slideLayouts/slideLayout247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6.xml"/><Relationship Id="rId13" Type="http://schemas.openxmlformats.org/officeDocument/2006/relationships/theme" Target="../theme/theme18.xml"/><Relationship Id="rId3" Type="http://schemas.openxmlformats.org/officeDocument/2006/relationships/slideLayout" Target="../slideLayouts/slideLayout251.xml"/><Relationship Id="rId7" Type="http://schemas.openxmlformats.org/officeDocument/2006/relationships/slideLayout" Target="../slideLayouts/slideLayout255.xml"/><Relationship Id="rId12" Type="http://schemas.openxmlformats.org/officeDocument/2006/relationships/slideLayout" Target="../slideLayouts/slideLayout260.xml"/><Relationship Id="rId2" Type="http://schemas.openxmlformats.org/officeDocument/2006/relationships/slideLayout" Target="../slideLayouts/slideLayout250.xml"/><Relationship Id="rId1" Type="http://schemas.openxmlformats.org/officeDocument/2006/relationships/slideLayout" Target="../slideLayouts/slideLayout249.xml"/><Relationship Id="rId6" Type="http://schemas.openxmlformats.org/officeDocument/2006/relationships/slideLayout" Target="../slideLayouts/slideLayout254.xml"/><Relationship Id="rId11" Type="http://schemas.openxmlformats.org/officeDocument/2006/relationships/slideLayout" Target="../slideLayouts/slideLayout259.xml"/><Relationship Id="rId5" Type="http://schemas.openxmlformats.org/officeDocument/2006/relationships/slideLayout" Target="../slideLayouts/slideLayout253.xml"/><Relationship Id="rId15" Type="http://schemas.openxmlformats.org/officeDocument/2006/relationships/image" Target="../media/image53.png"/><Relationship Id="rId10" Type="http://schemas.openxmlformats.org/officeDocument/2006/relationships/slideLayout" Target="../slideLayouts/slideLayout258.xml"/><Relationship Id="rId4" Type="http://schemas.openxmlformats.org/officeDocument/2006/relationships/slideLayout" Target="../slideLayouts/slideLayout252.xml"/><Relationship Id="rId9" Type="http://schemas.openxmlformats.org/officeDocument/2006/relationships/slideLayout" Target="../slideLayouts/slideLayout257.xml"/><Relationship Id="rId14" Type="http://schemas.openxmlformats.org/officeDocument/2006/relationships/image" Target="../media/image52.jpeg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8.xml"/><Relationship Id="rId13" Type="http://schemas.openxmlformats.org/officeDocument/2006/relationships/slideLayout" Target="../slideLayouts/slideLayout273.xml"/><Relationship Id="rId3" Type="http://schemas.openxmlformats.org/officeDocument/2006/relationships/slideLayout" Target="../slideLayouts/slideLayout263.xml"/><Relationship Id="rId7" Type="http://schemas.openxmlformats.org/officeDocument/2006/relationships/slideLayout" Target="../slideLayouts/slideLayout267.xml"/><Relationship Id="rId12" Type="http://schemas.openxmlformats.org/officeDocument/2006/relationships/slideLayout" Target="../slideLayouts/slideLayout272.xml"/><Relationship Id="rId2" Type="http://schemas.openxmlformats.org/officeDocument/2006/relationships/slideLayout" Target="../slideLayouts/slideLayout262.xml"/><Relationship Id="rId1" Type="http://schemas.openxmlformats.org/officeDocument/2006/relationships/slideLayout" Target="../slideLayouts/slideLayout261.xml"/><Relationship Id="rId6" Type="http://schemas.openxmlformats.org/officeDocument/2006/relationships/slideLayout" Target="../slideLayouts/slideLayout266.xml"/><Relationship Id="rId11" Type="http://schemas.openxmlformats.org/officeDocument/2006/relationships/slideLayout" Target="../slideLayouts/slideLayout271.xml"/><Relationship Id="rId5" Type="http://schemas.openxmlformats.org/officeDocument/2006/relationships/slideLayout" Target="../slideLayouts/slideLayout265.xml"/><Relationship Id="rId10" Type="http://schemas.openxmlformats.org/officeDocument/2006/relationships/slideLayout" Target="../slideLayouts/slideLayout270.xml"/><Relationship Id="rId4" Type="http://schemas.openxmlformats.org/officeDocument/2006/relationships/slideLayout" Target="../slideLayouts/slideLayout264.xml"/><Relationship Id="rId9" Type="http://schemas.openxmlformats.org/officeDocument/2006/relationships/slideLayout" Target="../slideLayouts/slideLayout269.xml"/><Relationship Id="rId14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ags" Target="../tags/tag3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1.xml"/><Relationship Id="rId13" Type="http://schemas.openxmlformats.org/officeDocument/2006/relationships/slideLayout" Target="../slideLayouts/slideLayout286.xml"/><Relationship Id="rId18" Type="http://schemas.openxmlformats.org/officeDocument/2006/relationships/image" Target="../media/image19.emf"/><Relationship Id="rId3" Type="http://schemas.openxmlformats.org/officeDocument/2006/relationships/slideLayout" Target="../slideLayouts/slideLayout276.xml"/><Relationship Id="rId7" Type="http://schemas.openxmlformats.org/officeDocument/2006/relationships/slideLayout" Target="../slideLayouts/slideLayout280.xml"/><Relationship Id="rId12" Type="http://schemas.openxmlformats.org/officeDocument/2006/relationships/slideLayout" Target="../slideLayouts/slideLayout285.xml"/><Relationship Id="rId17" Type="http://schemas.openxmlformats.org/officeDocument/2006/relationships/oleObject" Target="../embeddings/oleObject32.bin"/><Relationship Id="rId2" Type="http://schemas.openxmlformats.org/officeDocument/2006/relationships/slideLayout" Target="../slideLayouts/slideLayout275.xml"/><Relationship Id="rId16" Type="http://schemas.openxmlformats.org/officeDocument/2006/relationships/tags" Target="../tags/tag53.xml"/><Relationship Id="rId1" Type="http://schemas.openxmlformats.org/officeDocument/2006/relationships/slideLayout" Target="../slideLayouts/slideLayout274.xml"/><Relationship Id="rId6" Type="http://schemas.openxmlformats.org/officeDocument/2006/relationships/slideLayout" Target="../slideLayouts/slideLayout279.xml"/><Relationship Id="rId11" Type="http://schemas.openxmlformats.org/officeDocument/2006/relationships/slideLayout" Target="../slideLayouts/slideLayout284.xml"/><Relationship Id="rId5" Type="http://schemas.openxmlformats.org/officeDocument/2006/relationships/slideLayout" Target="../slideLayouts/slideLayout278.xml"/><Relationship Id="rId15" Type="http://schemas.openxmlformats.org/officeDocument/2006/relationships/tags" Target="../tags/tag52.xml"/><Relationship Id="rId10" Type="http://schemas.openxmlformats.org/officeDocument/2006/relationships/slideLayout" Target="../slideLayouts/slideLayout283.xml"/><Relationship Id="rId4" Type="http://schemas.openxmlformats.org/officeDocument/2006/relationships/slideLayout" Target="../slideLayouts/slideLayout277.xml"/><Relationship Id="rId9" Type="http://schemas.openxmlformats.org/officeDocument/2006/relationships/slideLayout" Target="../slideLayouts/slideLayout282.xml"/><Relationship Id="rId14" Type="http://schemas.openxmlformats.org/officeDocument/2006/relationships/theme" Target="../theme/theme20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4.xml"/><Relationship Id="rId3" Type="http://schemas.openxmlformats.org/officeDocument/2006/relationships/slideLayout" Target="../slideLayouts/slideLayout289.xml"/><Relationship Id="rId7" Type="http://schemas.openxmlformats.org/officeDocument/2006/relationships/slideLayout" Target="../slideLayouts/slideLayout293.xml"/><Relationship Id="rId12" Type="http://schemas.openxmlformats.org/officeDocument/2006/relationships/theme" Target="../theme/theme21.xml"/><Relationship Id="rId2" Type="http://schemas.openxmlformats.org/officeDocument/2006/relationships/slideLayout" Target="../slideLayouts/slideLayout288.xml"/><Relationship Id="rId1" Type="http://schemas.openxmlformats.org/officeDocument/2006/relationships/slideLayout" Target="../slideLayouts/slideLayout287.xml"/><Relationship Id="rId6" Type="http://schemas.openxmlformats.org/officeDocument/2006/relationships/slideLayout" Target="../slideLayouts/slideLayout292.xml"/><Relationship Id="rId11" Type="http://schemas.openxmlformats.org/officeDocument/2006/relationships/slideLayout" Target="../slideLayouts/slideLayout297.xml"/><Relationship Id="rId5" Type="http://schemas.openxmlformats.org/officeDocument/2006/relationships/slideLayout" Target="../slideLayouts/slideLayout291.xml"/><Relationship Id="rId10" Type="http://schemas.openxmlformats.org/officeDocument/2006/relationships/slideLayout" Target="../slideLayouts/slideLayout296.xml"/><Relationship Id="rId4" Type="http://schemas.openxmlformats.org/officeDocument/2006/relationships/slideLayout" Target="../slideLayouts/slideLayout290.xml"/><Relationship Id="rId9" Type="http://schemas.openxmlformats.org/officeDocument/2006/relationships/slideLayout" Target="../slideLayouts/slideLayout295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5.xml"/><Relationship Id="rId13" Type="http://schemas.openxmlformats.org/officeDocument/2006/relationships/slideLayout" Target="../slideLayouts/slideLayout310.xml"/><Relationship Id="rId18" Type="http://schemas.openxmlformats.org/officeDocument/2006/relationships/theme" Target="../theme/theme22.xml"/><Relationship Id="rId3" Type="http://schemas.openxmlformats.org/officeDocument/2006/relationships/slideLayout" Target="../slideLayouts/slideLayout300.xml"/><Relationship Id="rId21" Type="http://schemas.openxmlformats.org/officeDocument/2006/relationships/image" Target="../media/image58.png"/><Relationship Id="rId7" Type="http://schemas.openxmlformats.org/officeDocument/2006/relationships/slideLayout" Target="../slideLayouts/slideLayout304.xml"/><Relationship Id="rId12" Type="http://schemas.openxmlformats.org/officeDocument/2006/relationships/slideLayout" Target="../slideLayouts/slideLayout309.xml"/><Relationship Id="rId17" Type="http://schemas.openxmlformats.org/officeDocument/2006/relationships/slideLayout" Target="../slideLayouts/slideLayout314.xml"/><Relationship Id="rId2" Type="http://schemas.openxmlformats.org/officeDocument/2006/relationships/slideLayout" Target="../slideLayouts/slideLayout299.xml"/><Relationship Id="rId16" Type="http://schemas.openxmlformats.org/officeDocument/2006/relationships/slideLayout" Target="../slideLayouts/slideLayout313.xml"/><Relationship Id="rId20" Type="http://schemas.openxmlformats.org/officeDocument/2006/relationships/image" Target="../media/image57.png"/><Relationship Id="rId1" Type="http://schemas.openxmlformats.org/officeDocument/2006/relationships/slideLayout" Target="../slideLayouts/slideLayout298.xml"/><Relationship Id="rId6" Type="http://schemas.openxmlformats.org/officeDocument/2006/relationships/slideLayout" Target="../slideLayouts/slideLayout303.xml"/><Relationship Id="rId11" Type="http://schemas.openxmlformats.org/officeDocument/2006/relationships/slideLayout" Target="../slideLayouts/slideLayout308.xml"/><Relationship Id="rId5" Type="http://schemas.openxmlformats.org/officeDocument/2006/relationships/slideLayout" Target="../slideLayouts/slideLayout302.xml"/><Relationship Id="rId15" Type="http://schemas.openxmlformats.org/officeDocument/2006/relationships/slideLayout" Target="../slideLayouts/slideLayout312.xml"/><Relationship Id="rId10" Type="http://schemas.openxmlformats.org/officeDocument/2006/relationships/slideLayout" Target="../slideLayouts/slideLayout307.xml"/><Relationship Id="rId19" Type="http://schemas.openxmlformats.org/officeDocument/2006/relationships/image" Target="../media/image56.png"/><Relationship Id="rId4" Type="http://schemas.openxmlformats.org/officeDocument/2006/relationships/slideLayout" Target="../slideLayouts/slideLayout301.xml"/><Relationship Id="rId9" Type="http://schemas.openxmlformats.org/officeDocument/2006/relationships/slideLayout" Target="../slideLayouts/slideLayout306.xml"/><Relationship Id="rId14" Type="http://schemas.openxmlformats.org/officeDocument/2006/relationships/slideLayout" Target="../slideLayouts/slideLayout311.xml"/><Relationship Id="rId22" Type="http://schemas.openxmlformats.org/officeDocument/2006/relationships/image" Target="../media/image59.png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2.xml"/><Relationship Id="rId13" Type="http://schemas.openxmlformats.org/officeDocument/2006/relationships/image" Target="../media/image60.png"/><Relationship Id="rId3" Type="http://schemas.openxmlformats.org/officeDocument/2006/relationships/slideLayout" Target="../slideLayouts/slideLayout317.xml"/><Relationship Id="rId7" Type="http://schemas.openxmlformats.org/officeDocument/2006/relationships/slideLayout" Target="../slideLayouts/slideLayout321.xml"/><Relationship Id="rId12" Type="http://schemas.openxmlformats.org/officeDocument/2006/relationships/theme" Target="../theme/theme23.xml"/><Relationship Id="rId2" Type="http://schemas.openxmlformats.org/officeDocument/2006/relationships/slideLayout" Target="../slideLayouts/slideLayout316.xml"/><Relationship Id="rId1" Type="http://schemas.openxmlformats.org/officeDocument/2006/relationships/slideLayout" Target="../slideLayouts/slideLayout315.xml"/><Relationship Id="rId6" Type="http://schemas.openxmlformats.org/officeDocument/2006/relationships/slideLayout" Target="../slideLayouts/slideLayout320.xml"/><Relationship Id="rId11" Type="http://schemas.openxmlformats.org/officeDocument/2006/relationships/slideLayout" Target="../slideLayouts/slideLayout325.xml"/><Relationship Id="rId5" Type="http://schemas.openxmlformats.org/officeDocument/2006/relationships/slideLayout" Target="../slideLayouts/slideLayout319.xml"/><Relationship Id="rId10" Type="http://schemas.openxmlformats.org/officeDocument/2006/relationships/slideLayout" Target="../slideLayouts/slideLayout324.xml"/><Relationship Id="rId4" Type="http://schemas.openxmlformats.org/officeDocument/2006/relationships/slideLayout" Target="../slideLayouts/slideLayout318.xml"/><Relationship Id="rId9" Type="http://schemas.openxmlformats.org/officeDocument/2006/relationships/slideLayout" Target="../slideLayouts/slideLayout323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3.xml"/><Relationship Id="rId3" Type="http://schemas.openxmlformats.org/officeDocument/2006/relationships/slideLayout" Target="../slideLayouts/slideLayout328.xml"/><Relationship Id="rId7" Type="http://schemas.openxmlformats.org/officeDocument/2006/relationships/slideLayout" Target="../slideLayouts/slideLayout332.xml"/><Relationship Id="rId12" Type="http://schemas.openxmlformats.org/officeDocument/2006/relationships/theme" Target="../theme/theme24.xml"/><Relationship Id="rId2" Type="http://schemas.openxmlformats.org/officeDocument/2006/relationships/slideLayout" Target="../slideLayouts/slideLayout327.xml"/><Relationship Id="rId1" Type="http://schemas.openxmlformats.org/officeDocument/2006/relationships/slideLayout" Target="../slideLayouts/slideLayout326.xml"/><Relationship Id="rId6" Type="http://schemas.openxmlformats.org/officeDocument/2006/relationships/slideLayout" Target="../slideLayouts/slideLayout331.xml"/><Relationship Id="rId11" Type="http://schemas.openxmlformats.org/officeDocument/2006/relationships/slideLayout" Target="../slideLayouts/slideLayout336.xml"/><Relationship Id="rId5" Type="http://schemas.openxmlformats.org/officeDocument/2006/relationships/slideLayout" Target="../slideLayouts/slideLayout330.xml"/><Relationship Id="rId10" Type="http://schemas.openxmlformats.org/officeDocument/2006/relationships/slideLayout" Target="../slideLayouts/slideLayout335.xml"/><Relationship Id="rId4" Type="http://schemas.openxmlformats.org/officeDocument/2006/relationships/slideLayout" Target="../slideLayouts/slideLayout329.xml"/><Relationship Id="rId9" Type="http://schemas.openxmlformats.org/officeDocument/2006/relationships/slideLayout" Target="../slideLayouts/slideLayout334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slideLayout" Target="../slideLayouts/slideLayout50.xml"/><Relationship Id="rId39" Type="http://schemas.openxmlformats.org/officeDocument/2006/relationships/slideLayout" Target="../slideLayouts/slideLayout63.xml"/><Relationship Id="rId21" Type="http://schemas.openxmlformats.org/officeDocument/2006/relationships/slideLayout" Target="../slideLayouts/slideLayout45.xml"/><Relationship Id="rId34" Type="http://schemas.openxmlformats.org/officeDocument/2006/relationships/slideLayout" Target="../slideLayouts/slideLayout58.xml"/><Relationship Id="rId42" Type="http://schemas.openxmlformats.org/officeDocument/2006/relationships/oleObject" Target="../embeddings/oleObject3.bin"/><Relationship Id="rId7" Type="http://schemas.openxmlformats.org/officeDocument/2006/relationships/slideLayout" Target="../slideLayouts/slideLayout31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9" Type="http://schemas.openxmlformats.org/officeDocument/2006/relationships/slideLayout" Target="../slideLayouts/slideLayout53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slideLayout" Target="../slideLayouts/slideLayout48.xml"/><Relationship Id="rId32" Type="http://schemas.openxmlformats.org/officeDocument/2006/relationships/slideLayout" Target="../slideLayouts/slideLayout56.xml"/><Relationship Id="rId37" Type="http://schemas.openxmlformats.org/officeDocument/2006/relationships/slideLayout" Target="../slideLayouts/slideLayout61.xml"/><Relationship Id="rId40" Type="http://schemas.openxmlformats.org/officeDocument/2006/relationships/theme" Target="../theme/theme3.xml"/><Relationship Id="rId45" Type="http://schemas.openxmlformats.org/officeDocument/2006/relationships/image" Target="../media/image3.png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slideLayout" Target="../slideLayouts/slideLayout47.xml"/><Relationship Id="rId28" Type="http://schemas.openxmlformats.org/officeDocument/2006/relationships/slideLayout" Target="../slideLayouts/slideLayout52.xml"/><Relationship Id="rId36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31" Type="http://schemas.openxmlformats.org/officeDocument/2006/relationships/slideLayout" Target="../slideLayouts/slideLayout55.xml"/><Relationship Id="rId44" Type="http://schemas.openxmlformats.org/officeDocument/2006/relationships/image" Target="../media/image2.png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Relationship Id="rId27" Type="http://schemas.openxmlformats.org/officeDocument/2006/relationships/slideLayout" Target="../slideLayouts/slideLayout51.xml"/><Relationship Id="rId30" Type="http://schemas.openxmlformats.org/officeDocument/2006/relationships/slideLayout" Target="../slideLayouts/slideLayout54.xml"/><Relationship Id="rId35" Type="http://schemas.openxmlformats.org/officeDocument/2006/relationships/slideLayout" Target="../slideLayouts/slideLayout59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slideLayout" Target="../slideLayouts/slideLayout49.xml"/><Relationship Id="rId33" Type="http://schemas.openxmlformats.org/officeDocument/2006/relationships/slideLayout" Target="../slideLayouts/slideLayout57.xml"/><Relationship Id="rId38" Type="http://schemas.openxmlformats.org/officeDocument/2006/relationships/slideLayout" Target="../slideLayouts/slideLayout62.xml"/><Relationship Id="rId46" Type="http://schemas.openxmlformats.org/officeDocument/2006/relationships/image" Target="../media/image4.emf"/><Relationship Id="rId20" Type="http://schemas.openxmlformats.org/officeDocument/2006/relationships/slideLayout" Target="../slideLayouts/slideLayout44.xml"/><Relationship Id="rId41" Type="http://schemas.openxmlformats.org/officeDocument/2006/relationships/tags" Target="../tags/tag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66.xml"/><Relationship Id="rId7" Type="http://schemas.openxmlformats.org/officeDocument/2006/relationships/slideLayout" Target="../slideLayouts/slideLayout7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5" Type="http://schemas.openxmlformats.org/officeDocument/2006/relationships/slideLayout" Target="../slideLayouts/slideLayout68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73.xml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Relationship Id="rId14" Type="http://schemas.openxmlformats.org/officeDocument/2006/relationships/oleObject" Target="../embeddings/oleObject4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slideLayout" Target="../slideLayouts/slideLayout87.xml"/><Relationship Id="rId18" Type="http://schemas.openxmlformats.org/officeDocument/2006/relationships/slideLayout" Target="../slideLayouts/slideLayout92.xml"/><Relationship Id="rId26" Type="http://schemas.openxmlformats.org/officeDocument/2006/relationships/tags" Target="../tags/tag6.xml"/><Relationship Id="rId3" Type="http://schemas.openxmlformats.org/officeDocument/2006/relationships/slideLayout" Target="../slideLayouts/slideLayout77.xml"/><Relationship Id="rId21" Type="http://schemas.openxmlformats.org/officeDocument/2006/relationships/slideLayout" Target="../slideLayouts/slideLayout95.xml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17" Type="http://schemas.openxmlformats.org/officeDocument/2006/relationships/slideLayout" Target="../slideLayouts/slideLayout91.xml"/><Relationship Id="rId25" Type="http://schemas.openxmlformats.org/officeDocument/2006/relationships/theme" Target="../theme/theme5.xml"/><Relationship Id="rId2" Type="http://schemas.openxmlformats.org/officeDocument/2006/relationships/slideLayout" Target="../slideLayouts/slideLayout76.xml"/><Relationship Id="rId16" Type="http://schemas.openxmlformats.org/officeDocument/2006/relationships/slideLayout" Target="../slideLayouts/slideLayout90.xml"/><Relationship Id="rId20" Type="http://schemas.openxmlformats.org/officeDocument/2006/relationships/slideLayout" Target="../slideLayouts/slideLayout94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24" Type="http://schemas.openxmlformats.org/officeDocument/2006/relationships/slideLayout" Target="../slideLayouts/slideLayout98.xml"/><Relationship Id="rId5" Type="http://schemas.openxmlformats.org/officeDocument/2006/relationships/slideLayout" Target="../slideLayouts/slideLayout79.xml"/><Relationship Id="rId15" Type="http://schemas.openxmlformats.org/officeDocument/2006/relationships/slideLayout" Target="../slideLayouts/slideLayout89.xml"/><Relationship Id="rId23" Type="http://schemas.openxmlformats.org/officeDocument/2006/relationships/slideLayout" Target="../slideLayouts/slideLayout97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84.xml"/><Relationship Id="rId19" Type="http://schemas.openxmlformats.org/officeDocument/2006/relationships/slideLayout" Target="../slideLayouts/slideLayout93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slideLayout" Target="../slideLayouts/slideLayout88.xml"/><Relationship Id="rId22" Type="http://schemas.openxmlformats.org/officeDocument/2006/relationships/slideLayout" Target="../slideLayouts/slideLayout96.xml"/><Relationship Id="rId27" Type="http://schemas.openxmlformats.org/officeDocument/2006/relationships/oleObject" Target="../embeddings/oleObject5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.xml"/><Relationship Id="rId13" Type="http://schemas.openxmlformats.org/officeDocument/2006/relationships/slideLayout" Target="../slideLayouts/slideLayout111.xml"/><Relationship Id="rId18" Type="http://schemas.openxmlformats.org/officeDocument/2006/relationships/slideLayout" Target="../slideLayouts/slideLayout116.xml"/><Relationship Id="rId26" Type="http://schemas.openxmlformats.org/officeDocument/2006/relationships/theme" Target="../theme/theme6.xml"/><Relationship Id="rId3" Type="http://schemas.openxmlformats.org/officeDocument/2006/relationships/slideLayout" Target="../slideLayouts/slideLayout101.xml"/><Relationship Id="rId21" Type="http://schemas.openxmlformats.org/officeDocument/2006/relationships/slideLayout" Target="../slideLayouts/slideLayout119.xml"/><Relationship Id="rId7" Type="http://schemas.openxmlformats.org/officeDocument/2006/relationships/slideLayout" Target="../slideLayouts/slideLayout105.xml"/><Relationship Id="rId12" Type="http://schemas.openxmlformats.org/officeDocument/2006/relationships/slideLayout" Target="../slideLayouts/slideLayout110.xml"/><Relationship Id="rId17" Type="http://schemas.openxmlformats.org/officeDocument/2006/relationships/slideLayout" Target="../slideLayouts/slideLayout115.xml"/><Relationship Id="rId25" Type="http://schemas.openxmlformats.org/officeDocument/2006/relationships/slideLayout" Target="../slideLayouts/slideLayout123.xml"/><Relationship Id="rId2" Type="http://schemas.openxmlformats.org/officeDocument/2006/relationships/slideLayout" Target="../slideLayouts/slideLayout100.xml"/><Relationship Id="rId16" Type="http://schemas.openxmlformats.org/officeDocument/2006/relationships/slideLayout" Target="../slideLayouts/slideLayout114.xml"/><Relationship Id="rId20" Type="http://schemas.openxmlformats.org/officeDocument/2006/relationships/slideLayout" Target="../slideLayouts/slideLayout118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11" Type="http://schemas.openxmlformats.org/officeDocument/2006/relationships/slideLayout" Target="../slideLayouts/slideLayout109.xml"/><Relationship Id="rId24" Type="http://schemas.openxmlformats.org/officeDocument/2006/relationships/slideLayout" Target="../slideLayouts/slideLayout122.xml"/><Relationship Id="rId5" Type="http://schemas.openxmlformats.org/officeDocument/2006/relationships/slideLayout" Target="../slideLayouts/slideLayout103.xml"/><Relationship Id="rId15" Type="http://schemas.openxmlformats.org/officeDocument/2006/relationships/slideLayout" Target="../slideLayouts/slideLayout113.xml"/><Relationship Id="rId23" Type="http://schemas.openxmlformats.org/officeDocument/2006/relationships/slideLayout" Target="../slideLayouts/slideLayout121.xml"/><Relationship Id="rId28" Type="http://schemas.openxmlformats.org/officeDocument/2006/relationships/oleObject" Target="../embeddings/oleObject6.bin"/><Relationship Id="rId10" Type="http://schemas.openxmlformats.org/officeDocument/2006/relationships/slideLayout" Target="../slideLayouts/slideLayout108.xml"/><Relationship Id="rId19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102.xml"/><Relationship Id="rId9" Type="http://schemas.openxmlformats.org/officeDocument/2006/relationships/slideLayout" Target="../slideLayouts/slideLayout107.xml"/><Relationship Id="rId14" Type="http://schemas.openxmlformats.org/officeDocument/2006/relationships/slideLayout" Target="../slideLayouts/slideLayout112.xml"/><Relationship Id="rId22" Type="http://schemas.openxmlformats.org/officeDocument/2006/relationships/slideLayout" Target="../slideLayouts/slideLayout120.xml"/><Relationship Id="rId27" Type="http://schemas.openxmlformats.org/officeDocument/2006/relationships/tags" Target="../tags/tag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1.xml"/><Relationship Id="rId3" Type="http://schemas.openxmlformats.org/officeDocument/2006/relationships/slideLayout" Target="../slideLayouts/slideLayout126.xml"/><Relationship Id="rId7" Type="http://schemas.openxmlformats.org/officeDocument/2006/relationships/slideLayout" Target="../slideLayouts/slideLayout130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125.xml"/><Relationship Id="rId1" Type="http://schemas.openxmlformats.org/officeDocument/2006/relationships/slideLayout" Target="../slideLayouts/slideLayout124.xml"/><Relationship Id="rId6" Type="http://schemas.openxmlformats.org/officeDocument/2006/relationships/slideLayout" Target="../slideLayouts/slideLayout129.xml"/><Relationship Id="rId11" Type="http://schemas.openxmlformats.org/officeDocument/2006/relationships/slideLayout" Target="../slideLayouts/slideLayout134.xml"/><Relationship Id="rId5" Type="http://schemas.openxmlformats.org/officeDocument/2006/relationships/slideLayout" Target="../slideLayouts/slideLayout128.xml"/><Relationship Id="rId10" Type="http://schemas.openxmlformats.org/officeDocument/2006/relationships/slideLayout" Target="../slideLayouts/slideLayout133.xml"/><Relationship Id="rId4" Type="http://schemas.openxmlformats.org/officeDocument/2006/relationships/slideLayout" Target="../slideLayouts/slideLayout127.xml"/><Relationship Id="rId9" Type="http://schemas.openxmlformats.org/officeDocument/2006/relationships/slideLayout" Target="../slideLayouts/slideLayout132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2.xml"/><Relationship Id="rId13" Type="http://schemas.openxmlformats.org/officeDocument/2006/relationships/slideLayout" Target="../slideLayouts/slideLayout147.xml"/><Relationship Id="rId3" Type="http://schemas.openxmlformats.org/officeDocument/2006/relationships/slideLayout" Target="../slideLayouts/slideLayout137.xml"/><Relationship Id="rId7" Type="http://schemas.openxmlformats.org/officeDocument/2006/relationships/slideLayout" Target="../slideLayouts/slideLayout141.xml"/><Relationship Id="rId12" Type="http://schemas.openxmlformats.org/officeDocument/2006/relationships/slideLayout" Target="../slideLayouts/slideLayout146.xml"/><Relationship Id="rId2" Type="http://schemas.openxmlformats.org/officeDocument/2006/relationships/slideLayout" Target="../slideLayouts/slideLayout136.xml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11" Type="http://schemas.openxmlformats.org/officeDocument/2006/relationships/slideLayout" Target="../slideLayouts/slideLayout145.xml"/><Relationship Id="rId5" Type="http://schemas.openxmlformats.org/officeDocument/2006/relationships/slideLayout" Target="../slideLayouts/slideLayout139.xml"/><Relationship Id="rId10" Type="http://schemas.openxmlformats.org/officeDocument/2006/relationships/slideLayout" Target="../slideLayouts/slideLayout144.xml"/><Relationship Id="rId4" Type="http://schemas.openxmlformats.org/officeDocument/2006/relationships/slideLayout" Target="../slideLayouts/slideLayout138.xml"/><Relationship Id="rId9" Type="http://schemas.openxmlformats.org/officeDocument/2006/relationships/slideLayout" Target="../slideLayouts/slideLayout143.xml"/><Relationship Id="rId14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5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150.xml"/><Relationship Id="rId7" Type="http://schemas.openxmlformats.org/officeDocument/2006/relationships/slideLayout" Target="../slideLayouts/slideLayout154.xml"/><Relationship Id="rId12" Type="http://schemas.openxmlformats.org/officeDocument/2006/relationships/slideLayout" Target="../slideLayouts/slideLayout159.xml"/><Relationship Id="rId2" Type="http://schemas.openxmlformats.org/officeDocument/2006/relationships/slideLayout" Target="../slideLayouts/slideLayout149.xml"/><Relationship Id="rId1" Type="http://schemas.openxmlformats.org/officeDocument/2006/relationships/slideLayout" Target="../slideLayouts/slideLayout148.xml"/><Relationship Id="rId6" Type="http://schemas.openxmlformats.org/officeDocument/2006/relationships/slideLayout" Target="../slideLayouts/slideLayout153.xml"/><Relationship Id="rId11" Type="http://schemas.openxmlformats.org/officeDocument/2006/relationships/slideLayout" Target="../slideLayouts/slideLayout158.xml"/><Relationship Id="rId5" Type="http://schemas.openxmlformats.org/officeDocument/2006/relationships/slideLayout" Target="../slideLayouts/slideLayout152.xml"/><Relationship Id="rId10" Type="http://schemas.openxmlformats.org/officeDocument/2006/relationships/slideLayout" Target="../slideLayouts/slideLayout157.xml"/><Relationship Id="rId4" Type="http://schemas.openxmlformats.org/officeDocument/2006/relationships/slideLayout" Target="../slideLayouts/slideLayout151.xml"/><Relationship Id="rId9" Type="http://schemas.openxmlformats.org/officeDocument/2006/relationships/slideLayout" Target="../slideLayouts/slideLayout1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E221BEE-B52B-4A1F-903C-20D13966E8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823336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53" imgH="353" progId="TCLayout.ActiveDocument.1">
                  <p:embed/>
                </p:oleObj>
              </mc:Choice>
              <mc:Fallback>
                <p:oleObj name="think-cell Slide" r:id="rId15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E221BEE-B52B-4A1F-903C-20D13966E8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690FB9F8-6791-4795-BB09-6697B7874D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C05934A2-2BA0-4D5A-83F0-A965563812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8EEA65A-E66E-4021-80BE-4F03C7D1BF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815ABA-5AD9-4CFD-83D4-B9B9C9C5CC9C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EB50F7A8-8CCF-4240-83C4-7A6AA0495C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17134C4E-6C3C-490E-A145-12B5E4724B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FDC2A16-8918-4093-8FB3-00182BD6EED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56692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7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C1F79B5-539C-496D-91D9-1E769C343FA7}" type="datetimeFigureOut">
              <a:rPr lang="nb-NO" smtClean="0"/>
              <a:pPr/>
              <a:t>04.05.2022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B8C954-5965-4531-896B-DE1AB9F6300A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703712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1" r:id="rId1"/>
    <p:sldLayoutId id="2147483832" r:id="rId2"/>
    <p:sldLayoutId id="2147483833" r:id="rId3"/>
    <p:sldLayoutId id="2147483834" r:id="rId4"/>
    <p:sldLayoutId id="2147483835" r:id="rId5"/>
    <p:sldLayoutId id="2147483836" r:id="rId6"/>
    <p:sldLayoutId id="2147483837" r:id="rId7"/>
    <p:sldLayoutId id="2147483838" r:id="rId8"/>
    <p:sldLayoutId id="2147483839" r:id="rId9"/>
    <p:sldLayoutId id="2147483840" r:id="rId10"/>
    <p:sldLayoutId id="2147483841" r:id="rId11"/>
    <p:sldLayoutId id="2147483842" r:id="rId12"/>
    <p:sldLayoutId id="2147483843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828103" y="540068"/>
            <a:ext cx="10513314" cy="113723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828104" y="2052257"/>
            <a:ext cx="10513314" cy="378047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838199" y="6402939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983651F3-9B16-40C6-B209-3688FC9C95F6}" type="datetimeFigureOut">
              <a:rPr lang="nb-NO" smtClean="0"/>
              <a:pPr/>
              <a:t>04.05.2022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2029325" y="6404085"/>
            <a:ext cx="7443537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9853864" y="6402939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3" name="Bilde 12" descr="Logo til Askøy kommune">
            <a:extLst>
              <a:ext uri="{FF2B5EF4-FFF2-40B4-BE49-F238E27FC236}">
                <a16:creationId xmlns:a16="http://schemas.microsoft.com/office/drawing/2014/main" id="{D8BB09E4-71A5-45CC-937A-46B601FBC49C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10513314" y="6048756"/>
            <a:ext cx="1233758" cy="539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58133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3" r:id="rId9"/>
    <p:sldLayoutId id="2147483854" r:id="rId10"/>
    <p:sldLayoutId id="2147483855" r:id="rId11"/>
    <p:sldLayoutId id="2147483856" r:id="rId12"/>
    <p:sldLayoutId id="2147483857" r:id="rId13"/>
    <p:sldLayoutId id="2147483858" r:id="rId14"/>
    <p:sldLayoutId id="2147483859" r:id="rId15"/>
    <p:sldLayoutId id="2147483860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23" indent="-180023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46" indent="-180023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69" indent="-180023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92" indent="-180023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900115" indent="-180023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CEE504D-B961-492C-98EA-F715B9B091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490761946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92" imgH="595" progId="TCLayout.ActiveDocument.1">
                  <p:embed/>
                </p:oleObj>
              </mc:Choice>
              <mc:Fallback>
                <p:oleObj name="think-cell Slide" r:id="rId14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CEE504D-B961-492C-98EA-F715B9B091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C61B7CB-6A6B-4219-9D04-783B398D5216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nb-NO" sz="2399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nb-NO" noProof="0"/>
              <a:t>Click to edit Master text styles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  <a:p>
            <a:pPr lvl="3"/>
            <a:r>
              <a:rPr lang="nb-NO" noProof="0"/>
              <a:t>Fourth level</a:t>
            </a:r>
          </a:p>
          <a:p>
            <a:pPr lvl="4"/>
            <a:r>
              <a:rPr lang="nb-NO" noProof="0"/>
              <a:t>Fifth level</a:t>
            </a:r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7E89FB01-0304-4B7A-83F4-087FD710583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1250" y="6356350"/>
            <a:ext cx="303055" cy="311150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4DE1CE93-8A80-4A24-92CA-71C05E4537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769AC85D-6BA0-4E5B-A206-FB7E85E0D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5A99D1FF-A731-4C56-AEC5-4C61FAC748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/>
            </a:p>
          </p:txBody>
        </p:sp>
      </p:grp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1E733AAD-1BCD-417D-A2A4-521F133E28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6900" y="6471244"/>
            <a:ext cx="662721" cy="180000"/>
          </a:xfrm>
          <a:prstGeom prst="rect">
            <a:avLst/>
          </a:prstGeom>
        </p:spPr>
        <p:txBody>
          <a:bodyPr/>
          <a:lstStyle>
            <a:lvl1pPr marL="0" algn="l" defTabSz="913943" rtl="0" eaLnBrk="1" latinLnBrk="0" hangingPunct="1">
              <a:defRPr lang="en-GB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nb-NO"/>
              <a:t>Side </a:t>
            </a:r>
            <a:fld id="{F1BC30E3-FFE5-4B91-AA19-87A149EBB9EE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336225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2" r:id="rId1"/>
    <p:sldLayoutId id="2147483863" r:id="rId2"/>
    <p:sldLayoutId id="2147483864" r:id="rId3"/>
    <p:sldLayoutId id="2147483865" r:id="rId4"/>
    <p:sldLayoutId id="2147483866" r:id="rId5"/>
    <p:sldLayoutId id="2147483867" r:id="rId6"/>
    <p:sldLayoutId id="2147483868" r:id="rId7"/>
    <p:sldLayoutId id="2147483869" r:id="rId8"/>
    <p:sldLayoutId id="2147483870" r:id="rId9"/>
    <p:sldLayoutId id="2147483871" r:id="rId10"/>
  </p:sldLayoutIdLst>
  <p:hf hdr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2399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43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9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2875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7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313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5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5751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3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218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CEE504D-B961-492C-98EA-F715B9B091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263602734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592" imgH="595" progId="TCLayout.ActiveDocument.1">
                  <p:embed/>
                </p:oleObj>
              </mc:Choice>
              <mc:Fallback>
                <p:oleObj name="think-cell Slide" r:id="rId15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CEE504D-B961-492C-98EA-F715B9B091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C61B7CB-6A6B-4219-9D04-783B398D5216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nb-NO" sz="2398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2" y="2942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2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nb-NO" noProof="0"/>
              <a:t>Click to edit Master text styles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  <a:p>
            <a:pPr lvl="3"/>
            <a:r>
              <a:rPr lang="nb-NO" noProof="0"/>
              <a:t>Fourth level</a:t>
            </a:r>
          </a:p>
          <a:p>
            <a:pPr lvl="4"/>
            <a:r>
              <a:rPr lang="nb-NO" noProof="0"/>
              <a:t>Fifth level</a:t>
            </a:r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7E89FB01-0304-4B7A-83F4-087FD710583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1251" y="6356350"/>
            <a:ext cx="303055" cy="311150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4DE1CE93-8A80-4A24-92CA-71C05E4537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769AC85D-6BA0-4E5B-A206-FB7E85E0D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5A99D1FF-A731-4C56-AEC5-4C61FAC748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/>
            </a:p>
          </p:txBody>
        </p:sp>
      </p:grp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1E733AAD-1BCD-417D-A2A4-521F133E28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6901" y="6471244"/>
            <a:ext cx="662721" cy="180000"/>
          </a:xfrm>
          <a:prstGeom prst="rect">
            <a:avLst/>
          </a:prstGeom>
        </p:spPr>
        <p:txBody>
          <a:bodyPr/>
          <a:lstStyle>
            <a:lvl1pPr marL="0" algn="l" defTabSz="913486" rtl="0" eaLnBrk="1" latinLnBrk="0" hangingPunct="1">
              <a:defRPr lang="en-GB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nb-NO"/>
              <a:t>Side </a:t>
            </a:r>
            <a:fld id="{F1BC30E3-FFE5-4B91-AA19-87A149EBB9EE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402270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3875" r:id="rId3"/>
    <p:sldLayoutId id="2147483876" r:id="rId4"/>
    <p:sldLayoutId id="2147483877" r:id="rId5"/>
    <p:sldLayoutId id="2147483878" r:id="rId6"/>
    <p:sldLayoutId id="2147483879" r:id="rId7"/>
    <p:sldLayoutId id="2147483880" r:id="rId8"/>
    <p:sldLayoutId id="2147483881" r:id="rId9"/>
    <p:sldLayoutId id="2147483882" r:id="rId10"/>
    <p:sldLayoutId id="2147483883" r:id="rId11"/>
  </p:sldLayoutIdLst>
  <p:hf hdr="0"/>
  <p:txStyles>
    <p:titleStyle>
      <a:lvl1pPr algn="l" defTabSz="913486" rtl="0" eaLnBrk="1" latinLnBrk="0" hangingPunct="1">
        <a:lnSpc>
          <a:spcPct val="85000"/>
        </a:lnSpc>
        <a:spcBef>
          <a:spcPct val="0"/>
        </a:spcBef>
        <a:buNone/>
        <a:defRPr sz="2398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260" indent="-356260" algn="l" defTabSz="913486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998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2519" indent="-356260" algn="l" defTabSz="913486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798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8778" indent="-356260" algn="l" defTabSz="913486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598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5038" indent="-356260" algn="l" defTabSz="913486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398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1297" indent="-356260" algn="l" defTabSz="913486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198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2086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6pPr>
      <a:lvl7pPr marL="2968829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7pPr>
      <a:lvl8pPr marL="3425572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8pPr>
      <a:lvl9pPr marL="3882315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7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486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229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6972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3715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0457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7201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39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CEE504D-B961-492C-98EA-F715B9B091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107371589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92" imgH="595" progId="TCLayout.ActiveDocument.1">
                  <p:embed/>
                </p:oleObj>
              </mc:Choice>
              <mc:Fallback>
                <p:oleObj name="think-cell Slide" r:id="rId16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CEE504D-B961-492C-98EA-F715B9B091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C61B7CB-6A6B-4219-9D04-783B398D5216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nb-NO" sz="2398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2" y="2942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2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nb-NO" noProof="0"/>
              <a:t>Click to edit Master text styles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  <a:p>
            <a:pPr lvl="3"/>
            <a:r>
              <a:rPr lang="nb-NO" noProof="0"/>
              <a:t>Fourth level</a:t>
            </a:r>
          </a:p>
          <a:p>
            <a:pPr lvl="4"/>
            <a:r>
              <a:rPr lang="nb-NO" noProof="0"/>
              <a:t>Fifth level</a:t>
            </a:r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7E89FB01-0304-4B7A-83F4-087FD710583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1251" y="6356350"/>
            <a:ext cx="303055" cy="311150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4DE1CE93-8A80-4A24-92CA-71C05E4537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769AC85D-6BA0-4E5B-A206-FB7E85E0D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5A99D1FF-A731-4C56-AEC5-4C61FAC748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8"/>
            </a:p>
          </p:txBody>
        </p:sp>
      </p:grp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1E733AAD-1BCD-417D-A2A4-521F133E28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6901" y="6471244"/>
            <a:ext cx="662721" cy="180000"/>
          </a:xfrm>
          <a:prstGeom prst="rect">
            <a:avLst/>
          </a:prstGeom>
        </p:spPr>
        <p:txBody>
          <a:bodyPr/>
          <a:lstStyle>
            <a:lvl1pPr marL="0" algn="l" defTabSz="913486" rtl="0" eaLnBrk="1" latinLnBrk="0" hangingPunct="1">
              <a:defRPr lang="en-GB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nb-NO"/>
              <a:t>Side </a:t>
            </a:r>
            <a:fld id="{F1BC30E3-FFE5-4B91-AA19-87A149EBB9EE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0403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  <p:sldLayoutId id="2147483889" r:id="rId5"/>
    <p:sldLayoutId id="2147483890" r:id="rId6"/>
    <p:sldLayoutId id="2147483891" r:id="rId7"/>
    <p:sldLayoutId id="2147483892" r:id="rId8"/>
    <p:sldLayoutId id="2147483893" r:id="rId9"/>
    <p:sldLayoutId id="2147483894" r:id="rId10"/>
    <p:sldLayoutId id="2147483895" r:id="rId11"/>
    <p:sldLayoutId id="2147483896" r:id="rId12"/>
  </p:sldLayoutIdLst>
  <p:hf hdr="0"/>
  <p:txStyles>
    <p:titleStyle>
      <a:lvl1pPr algn="l" defTabSz="913486" rtl="0" eaLnBrk="1" latinLnBrk="0" hangingPunct="1">
        <a:lnSpc>
          <a:spcPct val="85000"/>
        </a:lnSpc>
        <a:spcBef>
          <a:spcPct val="0"/>
        </a:spcBef>
        <a:buNone/>
        <a:defRPr sz="2398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260" indent="-356260" algn="l" defTabSz="913486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998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2519" indent="-356260" algn="l" defTabSz="913486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798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8778" indent="-356260" algn="l" defTabSz="913486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598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5038" indent="-356260" algn="l" defTabSz="913486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398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1297" indent="-356260" algn="l" defTabSz="913486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198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2086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6pPr>
      <a:lvl7pPr marL="2968829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7pPr>
      <a:lvl8pPr marL="3425572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8pPr>
      <a:lvl9pPr marL="3882315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7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486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229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6972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3715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0457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7201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39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_2" descr="Et bilde som inneholder sitter, svart, tegning&#10;&#10;Automatisk generert beskrivelse" hidden="1">
            <a:extLst>
              <a:ext uri="{FF2B5EF4-FFF2-40B4-BE49-F238E27FC236}">
                <a16:creationId xmlns:a16="http://schemas.microsoft.com/office/drawing/2014/main" id="{EDD765B6-96CC-46BA-8A64-7065B130C294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2784" y="3089582"/>
            <a:ext cx="7769216" cy="3005080"/>
          </a:xfrm>
          <a:prstGeom prst="rect">
            <a:avLst/>
          </a:prstGeom>
        </p:spPr>
      </p:pic>
      <p:pic>
        <p:nvPicPr>
          <p:cNvPr id="21" name="p_5" descr="Et bilde som inneholder tegning&#10;&#10;Automatisk generert beskrivelse" hidden="1">
            <a:extLst>
              <a:ext uri="{FF2B5EF4-FFF2-40B4-BE49-F238E27FC236}">
                <a16:creationId xmlns:a16="http://schemas.microsoft.com/office/drawing/2014/main" id="{A8D53FC3-AB7D-4787-996A-367DFF679AF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7545" y="3883841"/>
            <a:ext cx="6894455" cy="2212665"/>
          </a:xfrm>
          <a:prstGeom prst="rect">
            <a:avLst/>
          </a:prstGeom>
        </p:spPr>
      </p:pic>
      <p:pic>
        <p:nvPicPr>
          <p:cNvPr id="19" name="p_4" descr="Et bilde som inneholder tegning&#10;&#10;Automatisk generert beskrivelse" hidden="1">
            <a:extLst>
              <a:ext uri="{FF2B5EF4-FFF2-40B4-BE49-F238E27FC236}">
                <a16:creationId xmlns:a16="http://schemas.microsoft.com/office/drawing/2014/main" id="{50571781-AC10-4FFC-A34E-7E2BE3E7AAC3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2784" y="3783266"/>
            <a:ext cx="7769216" cy="2313241"/>
          </a:xfrm>
          <a:prstGeom prst="rect">
            <a:avLst/>
          </a:prstGeom>
        </p:spPr>
      </p:pic>
      <p:sp>
        <p:nvSpPr>
          <p:cNvPr id="7" name="Rektangel 6">
            <a:extLst>
              <a:ext uri="{FF2B5EF4-FFF2-40B4-BE49-F238E27FC236}">
                <a16:creationId xmlns:a16="http://schemas.microsoft.com/office/drawing/2014/main" id="{76E40695-07CE-4664-B957-C2A07B1039FD}"/>
              </a:ext>
            </a:extLst>
          </p:cNvPr>
          <p:cNvSpPr/>
          <p:nvPr/>
        </p:nvSpPr>
        <p:spPr>
          <a:xfrm>
            <a:off x="-859" y="6096506"/>
            <a:ext cx="12193718" cy="76149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nb-NO" sz="900"/>
          </a:p>
        </p:txBody>
      </p:sp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748207A6-D495-4C60-B3EE-B7F3B14F56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47" y="835548"/>
            <a:ext cx="10650907" cy="384721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947FDA83-10A6-45A3-9393-3482920F61D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70547" y="2182762"/>
            <a:ext cx="10650907" cy="317028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4C1A859-0ECB-4C2B-91B7-931E409E21B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" y="-644498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19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D1879A-B795-41E4-B2B6-F7A10D9632BD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31F076F2-CE3F-414F-B748-59DEAAD3D8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06725" y="6299202"/>
            <a:ext cx="4114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99">
                <a:solidFill>
                  <a:schemeClr val="lt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10701A4B-C8F6-4D80-983C-2290E92944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70547" y="6299202"/>
            <a:ext cx="75355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199">
                <a:solidFill>
                  <a:schemeClr val="lt1"/>
                </a:solidFill>
              </a:defRPr>
            </a:lvl1pPr>
          </a:lstStyle>
          <a:p>
            <a:fld id="{01E161A4-FDC2-4F2C-B9E2-6B3A1B4013C0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3" name="p_1" descr="Et bilde som inneholder tegning&#10;&#10;Automatisk generert beskrivelse">
            <a:extLst>
              <a:ext uri="{FF2B5EF4-FFF2-40B4-BE49-F238E27FC236}">
                <a16:creationId xmlns:a16="http://schemas.microsoft.com/office/drawing/2014/main" id="{20A7E0DE-F0B7-45F3-A7FE-0949A6D9B9AC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6518" y="4197759"/>
            <a:ext cx="6705482" cy="1898747"/>
          </a:xfrm>
          <a:prstGeom prst="rect">
            <a:avLst/>
          </a:prstGeom>
        </p:spPr>
      </p:pic>
      <p:pic>
        <p:nvPicPr>
          <p:cNvPr id="17" name="p_3" descr="Et bilde som inneholder svart, bord, datamaskin, hvit&#10;&#10;Automatisk generert beskrivelse" hidden="1">
            <a:extLst>
              <a:ext uri="{FF2B5EF4-FFF2-40B4-BE49-F238E27FC236}">
                <a16:creationId xmlns:a16="http://schemas.microsoft.com/office/drawing/2014/main" id="{213641F3-21D0-4237-BA97-43FBB29D3E48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81" y="3082284"/>
            <a:ext cx="4571920" cy="3014223"/>
          </a:xfrm>
          <a:prstGeom prst="rect">
            <a:avLst/>
          </a:prstGeom>
        </p:spPr>
      </p:pic>
      <p:pic>
        <p:nvPicPr>
          <p:cNvPr id="22" name="Grafikk 21">
            <a:extLst>
              <a:ext uri="{FF2B5EF4-FFF2-40B4-BE49-F238E27FC236}">
                <a16:creationId xmlns:a16="http://schemas.microsoft.com/office/drawing/2014/main" id="{C7507BA3-F479-45CA-9017-D59A7F26D5C1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9909355" y="6288187"/>
            <a:ext cx="1512098" cy="381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81855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9" r:id="rId2"/>
    <p:sldLayoutId id="2147483900" r:id="rId3"/>
    <p:sldLayoutId id="2147483901" r:id="rId4"/>
    <p:sldLayoutId id="2147483902" r:id="rId5"/>
    <p:sldLayoutId id="2147483903" r:id="rId6"/>
    <p:sldLayoutId id="2147483904" r:id="rId7"/>
    <p:sldLayoutId id="2147483905" r:id="rId8"/>
    <p:sldLayoutId id="2147483906" r:id="rId9"/>
    <p:sldLayoutId id="2147483907" r:id="rId10"/>
    <p:sldLayoutId id="2147483908" r:id="rId11"/>
  </p:sldLayoutIdLst>
  <p:txStyles>
    <p:titleStyle>
      <a:lvl1pPr algn="l" defTabSz="913898" rtl="0" eaLnBrk="1" latinLnBrk="0" hangingPunct="1">
        <a:lnSpc>
          <a:spcPct val="100000"/>
        </a:lnSpc>
        <a:spcBef>
          <a:spcPct val="0"/>
        </a:spcBef>
        <a:buNone/>
        <a:defRPr sz="2499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475" indent="-228475" algn="l" defTabSz="913898" rtl="0" eaLnBrk="1" latinLnBrk="0" hangingPunct="1">
        <a:lnSpc>
          <a:spcPct val="100000"/>
        </a:lnSpc>
        <a:spcBef>
          <a:spcPts val="1859"/>
        </a:spcBef>
        <a:buFont typeface="Arial" panose="020B0604020202020204" pitchFamily="34" charset="0"/>
        <a:buChar char="•"/>
        <a:defRPr sz="16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48" indent="-228475" algn="l" defTabSz="913898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99" kern="1200">
          <a:solidFill>
            <a:schemeClr val="tx1"/>
          </a:solidFill>
          <a:latin typeface="+mn-lt"/>
          <a:ea typeface="+mn-ea"/>
          <a:cs typeface="+mn-cs"/>
        </a:defRPr>
      </a:lvl2pPr>
      <a:lvl3pPr marL="685423" indent="-228475" algn="l" defTabSz="913898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99" kern="1200">
          <a:solidFill>
            <a:schemeClr val="tx1"/>
          </a:solidFill>
          <a:latin typeface="+mn-lt"/>
          <a:ea typeface="+mn-ea"/>
          <a:cs typeface="+mn-cs"/>
        </a:defRPr>
      </a:lvl3pPr>
      <a:lvl4pPr marL="913897" indent="-228475" algn="l" defTabSz="913898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99" kern="1200">
          <a:solidFill>
            <a:schemeClr val="tx1"/>
          </a:solidFill>
          <a:latin typeface="+mn-lt"/>
          <a:ea typeface="+mn-ea"/>
          <a:cs typeface="+mn-cs"/>
        </a:defRPr>
      </a:lvl4pPr>
      <a:lvl5pPr marL="1142372" indent="-228475" algn="l" defTabSz="913898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99" kern="1200">
          <a:solidFill>
            <a:schemeClr val="tx1"/>
          </a:solidFill>
          <a:latin typeface="+mn-lt"/>
          <a:ea typeface="+mn-ea"/>
          <a:cs typeface="+mn-cs"/>
        </a:defRPr>
      </a:lvl5pPr>
      <a:lvl6pPr marL="2513218" indent="-228475" algn="l" defTabSz="91389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166" indent="-228475" algn="l" defTabSz="91389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115" indent="-228475" algn="l" defTabSz="91389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063" indent="-228475" algn="l" defTabSz="91389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389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48" algn="l" defTabSz="91389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898" algn="l" defTabSz="91389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846" algn="l" defTabSz="91389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795" algn="l" defTabSz="91389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743" algn="l" defTabSz="91389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691" algn="l" defTabSz="91389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640" algn="l" defTabSz="91389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588" algn="l" defTabSz="91389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609601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9601" y="1600206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09600" y="6356366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ED86DDC-66E9-40BE-99E0-50A623695962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165601" y="6356366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9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737600" y="6356366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9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4D83FE6-9EF6-4A62-984F-347D2A03995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299269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0" r:id="rId1"/>
    <p:sldLayoutId id="2147483911" r:id="rId2"/>
    <p:sldLayoutId id="2147483912" r:id="rId3"/>
    <p:sldLayoutId id="2147483913" r:id="rId4"/>
    <p:sldLayoutId id="2147483914" r:id="rId5"/>
    <p:sldLayoutId id="2147483915" r:id="rId6"/>
    <p:sldLayoutId id="2147483916" r:id="rId7"/>
    <p:sldLayoutId id="2147483917" r:id="rId8"/>
    <p:sldLayoutId id="2147483918" r:id="rId9"/>
    <p:sldLayoutId id="2147483919" r:id="rId10"/>
    <p:sldLayoutId id="2147483920" r:id="rId11"/>
  </p:sldLayoutIdLst>
  <p:txStyles>
    <p:titleStyle>
      <a:lvl1pPr algn="ctr" defTabSz="913943" rtl="0" eaLnBrk="1" latinLnBrk="0" hangingPunct="1">
        <a:spcBef>
          <a:spcPct val="0"/>
        </a:spcBef>
        <a:buNone/>
        <a:defRPr sz="439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729" indent="-342729" algn="l" defTabSz="913943" rtl="0" eaLnBrk="1" latinLnBrk="0" hangingPunct="1">
        <a:spcBef>
          <a:spcPct val="20000"/>
        </a:spcBef>
        <a:buFont typeface="Arial" pitchFamily="34" charset="0"/>
        <a:buChar char="•"/>
        <a:defRPr sz="3198" kern="1200">
          <a:solidFill>
            <a:schemeClr val="tx1"/>
          </a:solidFill>
          <a:latin typeface="+mn-lt"/>
          <a:ea typeface="+mn-ea"/>
          <a:cs typeface="+mn-cs"/>
        </a:defRPr>
      </a:lvl1pPr>
      <a:lvl2pPr marL="742579" indent="-285607" algn="l" defTabSz="913943" rtl="0" eaLnBrk="1" latinLnBrk="0" hangingPunct="1">
        <a:spcBef>
          <a:spcPct val="20000"/>
        </a:spcBef>
        <a:buFont typeface="Arial" pitchFamily="34" charset="0"/>
        <a:buChar char="–"/>
        <a:defRPr sz="2799" kern="1200">
          <a:solidFill>
            <a:schemeClr val="tx1"/>
          </a:solidFill>
          <a:latin typeface="+mn-lt"/>
          <a:ea typeface="+mn-ea"/>
          <a:cs typeface="+mn-cs"/>
        </a:defRPr>
      </a:lvl2pPr>
      <a:lvl3pPr marL="1142429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599400" indent="-228486" algn="l" defTabSz="913943" rtl="0" eaLnBrk="1" latinLnBrk="0" hangingPunct="1">
        <a:spcBef>
          <a:spcPct val="20000"/>
        </a:spcBef>
        <a:buFont typeface="Arial" pitchFamily="34" charset="0"/>
        <a:buChar char="–"/>
        <a:defRPr sz="1999" kern="1200">
          <a:solidFill>
            <a:schemeClr val="tx1"/>
          </a:solidFill>
          <a:latin typeface="+mn-lt"/>
          <a:ea typeface="+mn-ea"/>
          <a:cs typeface="+mn-cs"/>
        </a:defRPr>
      </a:lvl4pPr>
      <a:lvl5pPr marL="2056371" indent="-228486" algn="l" defTabSz="913943" rtl="0" eaLnBrk="1" latinLnBrk="0" hangingPunct="1">
        <a:spcBef>
          <a:spcPct val="20000"/>
        </a:spcBef>
        <a:buFont typeface="Arial" pitchFamily="34" charset="0"/>
        <a:buChar char="»"/>
        <a:defRPr sz="1999" kern="1200">
          <a:solidFill>
            <a:schemeClr val="tx1"/>
          </a:solidFill>
          <a:latin typeface="+mn-lt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93507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2" r:id="rId1"/>
    <p:sldLayoutId id="2147483923" r:id="rId2"/>
    <p:sldLayoutId id="2147483924" r:id="rId3"/>
    <p:sldLayoutId id="2147483925" r:id="rId4"/>
    <p:sldLayoutId id="2147483926" r:id="rId5"/>
  </p:sldLayoutIdLst>
  <p:hf sldNum="0" hdr="0" ftr="0" dt="0"/>
  <p:txStyles>
    <p:titleStyle>
      <a:lvl1pPr algn="ctr" defTabSz="1219170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/>
          <p:cNvPicPr preferRelativeResize="0"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" y="1"/>
            <a:ext cx="12191989" cy="6857993"/>
          </a:xfrm>
          <a:prstGeom prst="rect">
            <a:avLst/>
          </a:prstGeom>
        </p:spPr>
      </p:pic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1487488" y="6472256"/>
            <a:ext cx="92643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67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nn-NO"/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624417" y="274639"/>
            <a:ext cx="9504031" cy="10801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  <a:endParaRPr lang="nn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4419" y="1600202"/>
            <a:ext cx="10944189" cy="41338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n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1487488" y="6472256"/>
            <a:ext cx="19669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67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nn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10512491" y="6472256"/>
            <a:ext cx="67217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67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3C3A6922-2C30-4BC5-B43E-BB12E61A9113}" type="slidenum">
              <a:rPr lang="nn-NO" smtClean="0"/>
              <a:pPr/>
              <a:t>‹#›</a:t>
            </a:fld>
            <a:endParaRPr lang="nn-NO"/>
          </a:p>
        </p:txBody>
      </p:sp>
      <p:pic>
        <p:nvPicPr>
          <p:cNvPr id="7" name="Picture 2" descr="I:\_GRAFISK\Grafisk profil\Logo\oygarden_logo_hvitt_skjold.png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66639" y="265279"/>
            <a:ext cx="1479432" cy="763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151403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29" r:id="rId2"/>
    <p:sldLayoutId id="2147483930" r:id="rId3"/>
    <p:sldLayoutId id="2147483931" r:id="rId4"/>
    <p:sldLayoutId id="2147483932" r:id="rId5"/>
    <p:sldLayoutId id="2147483933" r:id="rId6"/>
    <p:sldLayoutId id="2147483934" r:id="rId7"/>
    <p:sldLayoutId id="2147483935" r:id="rId8"/>
    <p:sldLayoutId id="2147483936" r:id="rId9"/>
    <p:sldLayoutId id="2147483937" r:id="rId10"/>
    <p:sldLayoutId id="2147483938" r:id="rId11"/>
    <p:sldLayoutId id="2147483939" r:id="rId12"/>
  </p:sldLayoutIdLst>
  <p:hf sldNum="0" hdr="0" ftr="0" dt="0"/>
  <p:txStyles>
    <p:titleStyle>
      <a:lvl1pPr algn="ctr" defTabSz="1219170" rtl="0" eaLnBrk="1" latinLnBrk="0" hangingPunct="1">
        <a:spcBef>
          <a:spcPct val="0"/>
        </a:spcBef>
        <a:buNone/>
        <a:defRPr sz="3733" b="1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3733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3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»"/>
        <a:defRPr sz="2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ACB9332F-F21D-4DD1-9891-F9CA41C6FA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3EE2031D-8731-4594-B503-2686B1A62E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791EF0E-3ECB-4E88-9C7D-8DD05395F7E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014241-BD6D-4EE8-B01E-1571C6CD0863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DC14CB7-3D2C-4B83-AD62-0DAA1F837B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C2DDED7-D7CD-47B8-AB33-E8A8BB5FDD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7650AA2-4DDB-40E3-AAB0-B08A14F60CC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25440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1" r:id="rId1"/>
    <p:sldLayoutId id="2147483942" r:id="rId2"/>
    <p:sldLayoutId id="2147483943" r:id="rId3"/>
    <p:sldLayoutId id="2147483944" r:id="rId4"/>
    <p:sldLayoutId id="2147483945" r:id="rId5"/>
    <p:sldLayoutId id="2147483946" r:id="rId6"/>
    <p:sldLayoutId id="2147483947" r:id="rId7"/>
    <p:sldLayoutId id="2147483948" r:id="rId8"/>
    <p:sldLayoutId id="2147483949" r:id="rId9"/>
    <p:sldLayoutId id="2147483950" r:id="rId10"/>
    <p:sldLayoutId id="2147483951" r:id="rId11"/>
    <p:sldLayoutId id="2147483952" r:id="rId12"/>
    <p:sldLayoutId id="2147483953" r:id="rId13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0138365-8C2A-4D48-B579-C541EF8235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655169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53" imgH="353" progId="TCLayout.ActiveDocument.1">
                  <p:embed/>
                </p:oleObj>
              </mc:Choice>
              <mc:Fallback>
                <p:oleObj name="think-cell Slide" r:id="rId15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0138365-8C2A-4D48-B579-C541EF8235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C1F79B5-539C-496D-91D9-1E769C343FA7}" type="datetimeFigureOut">
              <a:rPr lang="nb-NO" smtClean="0"/>
              <a:pPr/>
              <a:t>04.05.2022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B8C954-5965-4531-896B-DE1AB9F6300A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528865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CEE504D-B961-492C-98EA-F715B9B091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592" imgH="595" progId="TCLayout.ActiveDocument.1">
                  <p:embed/>
                </p:oleObj>
              </mc:Choice>
              <mc:Fallback>
                <p:oleObj name="think-cell Slide" r:id="rId17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CEE504D-B961-492C-98EA-F715B9B091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C61B7CB-6A6B-4219-9D04-783B398D5216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1" y="1"/>
            <a:ext cx="158668" cy="158751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nb-NO" sz="2399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nb-NO" noProof="0"/>
              <a:t>Click to edit Master text styles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  <a:p>
            <a:pPr lvl="3"/>
            <a:r>
              <a:rPr lang="nb-NO" noProof="0"/>
              <a:t>Fourth level</a:t>
            </a:r>
          </a:p>
          <a:p>
            <a:pPr lvl="4"/>
            <a:r>
              <a:rPr lang="nb-NO" noProof="0"/>
              <a:t>Fifth level</a:t>
            </a:r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7E89FB01-0304-4B7A-83F4-087FD710583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1251" y="6356350"/>
            <a:ext cx="303055" cy="311151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4DE1CE93-8A80-4A24-92CA-71C05E4537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769AC85D-6BA0-4E5B-A206-FB7E85E0D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5A99D1FF-A731-4C56-AEC5-4C61FAC748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799"/>
            </a:p>
          </p:txBody>
        </p:sp>
      </p:grp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1E733AAD-1BCD-417D-A2A4-521F133E28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6901" y="6471244"/>
            <a:ext cx="662721" cy="180000"/>
          </a:xfrm>
          <a:prstGeom prst="rect">
            <a:avLst/>
          </a:prstGeom>
        </p:spPr>
        <p:txBody>
          <a:bodyPr/>
          <a:lstStyle>
            <a:lvl1pPr marL="0" algn="l" defTabSz="913889" rtl="0" eaLnBrk="1" latinLnBrk="0" hangingPunct="1">
              <a:defRPr lang="en-GB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nb-NO"/>
              <a:t>Side </a:t>
            </a:r>
            <a:fld id="{F1BC30E3-FFE5-4B91-AA19-87A149EBB9EE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94871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5" r:id="rId1"/>
    <p:sldLayoutId id="2147483956" r:id="rId2"/>
    <p:sldLayoutId id="2147483957" r:id="rId3"/>
    <p:sldLayoutId id="2147483958" r:id="rId4"/>
    <p:sldLayoutId id="2147483959" r:id="rId5"/>
    <p:sldLayoutId id="2147483960" r:id="rId6"/>
    <p:sldLayoutId id="2147483961" r:id="rId7"/>
    <p:sldLayoutId id="2147483962" r:id="rId8"/>
    <p:sldLayoutId id="2147483963" r:id="rId9"/>
    <p:sldLayoutId id="2147483964" r:id="rId10"/>
    <p:sldLayoutId id="2147483965" r:id="rId11"/>
    <p:sldLayoutId id="2147483966" r:id="rId12"/>
    <p:sldLayoutId id="2147483967" r:id="rId13"/>
  </p:sldLayoutIdLst>
  <p:hf hdr="0"/>
  <p:txStyles>
    <p:titleStyle>
      <a:lvl1pPr algn="l" defTabSz="913889" rtl="0" eaLnBrk="1" latinLnBrk="0" hangingPunct="1">
        <a:lnSpc>
          <a:spcPct val="85000"/>
        </a:lnSpc>
        <a:spcBef>
          <a:spcPct val="0"/>
        </a:spcBef>
        <a:buNone/>
        <a:defRPr sz="2399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416" indent="-356416" algn="l" defTabSz="913889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9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2834" indent="-356416" algn="l" defTabSz="913889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7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251" indent="-356416" algn="l" defTabSz="913889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5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5667" indent="-356416" algn="l" defTabSz="913889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3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2085" indent="-356416" algn="l" defTabSz="913889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2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196" indent="-228473" algn="l" defTabSz="913889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140" indent="-228473" algn="l" defTabSz="913889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085" indent="-228473" algn="l" defTabSz="913889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031" indent="-228473" algn="l" defTabSz="913889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8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45" algn="l" defTabSz="91388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889" algn="l" defTabSz="91388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834" algn="l" defTabSz="91388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778" algn="l" defTabSz="91388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724" algn="l" defTabSz="91388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669" algn="l" defTabSz="91388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613" algn="l" defTabSz="91388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558" algn="l" defTabSz="91388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A5119CFA-D3C2-09F1-F9C3-699DF61564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425F65AC-AB4A-8B63-1507-509BE7504D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1E1EB34E-D6A0-EA2F-265A-F6006B8703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5404E7-8059-E44A-94D0-D1F34409B5ED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13135225-2686-11D7-ABDD-D7A3237988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6B23FBB-1413-E4E0-E1D2-EEA8C1281E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61BE3E-D761-FA45-81F6-74B15057DCF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763660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9" r:id="rId1"/>
    <p:sldLayoutId id="2147483970" r:id="rId2"/>
    <p:sldLayoutId id="2147483971" r:id="rId3"/>
    <p:sldLayoutId id="2147483972" r:id="rId4"/>
    <p:sldLayoutId id="2147483973" r:id="rId5"/>
    <p:sldLayoutId id="2147483974" r:id="rId6"/>
    <p:sldLayoutId id="2147483975" r:id="rId7"/>
    <p:sldLayoutId id="2147483976" r:id="rId8"/>
    <p:sldLayoutId id="2147483977" r:id="rId9"/>
    <p:sldLayoutId id="2147483978" r:id="rId10"/>
    <p:sldLayoutId id="214748397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6111" y="452718"/>
            <a:ext cx="9404723" cy="14005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2" y="2052918"/>
            <a:ext cx="8946541" cy="41954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5400000">
            <a:off x="10155639" y="1790701"/>
            <a:ext cx="990599" cy="30479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fld id="{8407EB34-0314-44B9-9989-215D86D1A555}" type="datetime1">
              <a:rPr lang="nb-NO" smtClean="0"/>
              <a:t>04.05.2022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rot="5400000">
            <a:off x="8951573" y="3225297"/>
            <a:ext cx="3859795" cy="3048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5AE922-6A57-4D6C-94A1-9D1C616035F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7180204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81" r:id="rId1"/>
    <p:sldLayoutId id="2147483982" r:id="rId2"/>
    <p:sldLayoutId id="2147483983" r:id="rId3"/>
    <p:sldLayoutId id="2147483984" r:id="rId4"/>
    <p:sldLayoutId id="2147483985" r:id="rId5"/>
    <p:sldLayoutId id="2147483986" r:id="rId6"/>
    <p:sldLayoutId id="2147483987" r:id="rId7"/>
    <p:sldLayoutId id="2147483988" r:id="rId8"/>
    <p:sldLayoutId id="2147483989" r:id="rId9"/>
    <p:sldLayoutId id="2147483990" r:id="rId10"/>
    <p:sldLayoutId id="2147483991" r:id="rId11"/>
    <p:sldLayoutId id="2147483992" r:id="rId12"/>
    <p:sldLayoutId id="2147483993" r:id="rId13"/>
    <p:sldLayoutId id="2147483994" r:id="rId14"/>
    <p:sldLayoutId id="2147483995" r:id="rId15"/>
    <p:sldLayoutId id="2147483996" r:id="rId16"/>
    <p:sldLayoutId id="2147483997" r:id="rId17"/>
  </p:sldLayoutIdLst>
  <p:hf sldNum="0" hdr="0" ftr="0" dt="0"/>
  <p:txStyles>
    <p:titleStyle>
      <a:lvl1pPr algn="l" defTabSz="457200" rtl="0" eaLnBrk="1" latinLnBrk="0" hangingPunct="1">
        <a:spcBef>
          <a:spcPct val="0"/>
        </a:spcBef>
        <a:buNone/>
        <a:defRPr sz="4200" b="0" i="0" kern="1200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2000" b="0" i="0" kern="1200">
          <a:solidFill>
            <a:schemeClr val="tx1"/>
          </a:solidFill>
          <a:latin typeface="+mj-lt"/>
          <a:ea typeface="+mj-ea"/>
          <a:cs typeface="+mj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800" b="0" i="0" kern="1200">
          <a:solidFill>
            <a:schemeClr val="tx1"/>
          </a:solidFill>
          <a:latin typeface="+mj-lt"/>
          <a:ea typeface="+mj-ea"/>
          <a:cs typeface="+mj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600" b="0" i="0" kern="1200">
          <a:solidFill>
            <a:schemeClr val="tx1"/>
          </a:solidFill>
          <a:latin typeface="+mj-lt"/>
          <a:ea typeface="+mj-ea"/>
          <a:cs typeface="+mj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5pPr>
      <a:lvl6pPr marL="2506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19179"/>
            <a:ext cx="12192000" cy="535781"/>
          </a:xfrm>
          <a:prstGeom prst="rect">
            <a:avLst/>
          </a:prstGeom>
        </p:spPr>
      </p:pic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99797" y="274639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99797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TekstSylinder 5"/>
          <p:cNvSpPr txBox="1"/>
          <p:nvPr/>
        </p:nvSpPr>
        <p:spPr>
          <a:xfrm>
            <a:off x="431372" y="6448571"/>
            <a:ext cx="2789353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nb-NO" sz="1200" b="1">
                <a:solidFill>
                  <a:srgbClr val="1D1D1D"/>
                </a:solidFill>
              </a:rPr>
              <a:t>BERGEN LUFTHAVN FLESLAND </a:t>
            </a:r>
            <a:r>
              <a:rPr lang="nb-NO" sz="1200" b="1">
                <a:solidFill>
                  <a:srgbClr val="84236B"/>
                </a:solidFill>
              </a:rPr>
              <a:t>T3</a:t>
            </a:r>
          </a:p>
        </p:txBody>
      </p:sp>
    </p:spTree>
    <p:extLst>
      <p:ext uri="{BB962C8B-B14F-4D97-AF65-F5344CB8AC3E}">
        <p14:creationId xmlns:p14="http://schemas.microsoft.com/office/powerpoint/2010/main" val="9740482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9" r:id="rId1"/>
    <p:sldLayoutId id="2147484000" r:id="rId2"/>
    <p:sldLayoutId id="2147484001" r:id="rId3"/>
    <p:sldLayoutId id="2147484002" r:id="rId4"/>
    <p:sldLayoutId id="2147484003" r:id="rId5"/>
    <p:sldLayoutId id="2147484004" r:id="rId6"/>
    <p:sldLayoutId id="2147484005" r:id="rId7"/>
    <p:sldLayoutId id="2147484006" r:id="rId8"/>
    <p:sldLayoutId id="2147484007" r:id="rId9"/>
    <p:sldLayoutId id="2147484008" r:id="rId10"/>
    <p:sldLayoutId id="2147484009" r:id="rId11"/>
  </p:sldLayoutIdLst>
  <p:hf sldNum="0" hdr="0" ftr="0" dt="0"/>
  <p:txStyles>
    <p:titleStyle>
      <a:lvl1pPr algn="l" defTabSz="914377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42891" indent="-342891" algn="l" defTabSz="914377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2" indent="-28574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accent3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accent3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i="0">
                <a:solidFill>
                  <a:schemeClr val="tx1">
                    <a:tint val="75000"/>
                  </a:schemeClr>
                </a:solidFill>
                <a:latin typeface="Helvetica Neue Light" charset="0"/>
              </a:defRPr>
            </a:lvl1pPr>
          </a:lstStyle>
          <a:p>
            <a:fld id="{D15115B5-22B3-3341-8606-329944385CDD}" type="datetimeFigureOut">
              <a:rPr lang="en-US" smtClean="0"/>
              <a:pPr/>
              <a:t>5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0" i="0">
                <a:solidFill>
                  <a:schemeClr val="tx1">
                    <a:tint val="75000"/>
                  </a:schemeClr>
                </a:solidFill>
                <a:latin typeface="Helvetica Neue Light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>
                    <a:tint val="75000"/>
                  </a:schemeClr>
                </a:solidFill>
                <a:latin typeface="Helvetica Neue Light" charset="0"/>
              </a:defRPr>
            </a:lvl1pPr>
          </a:lstStyle>
          <a:p>
            <a:fld id="{9FB0F1FF-46A1-4F4C-A154-7A0A3DE72A3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98157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1" r:id="rId1"/>
    <p:sldLayoutId id="2147484012" r:id="rId2"/>
    <p:sldLayoutId id="2147484013" r:id="rId3"/>
    <p:sldLayoutId id="2147484014" r:id="rId4"/>
    <p:sldLayoutId id="2147484015" r:id="rId5"/>
    <p:sldLayoutId id="2147484016" r:id="rId6"/>
    <p:sldLayoutId id="2147484017" r:id="rId7"/>
    <p:sldLayoutId id="2147484018" r:id="rId8"/>
    <p:sldLayoutId id="2147484019" r:id="rId9"/>
    <p:sldLayoutId id="2147484020" r:id="rId10"/>
    <p:sldLayoutId id="214748402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tx1"/>
          </a:solidFill>
          <a:latin typeface="Helvetica Neue Light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b="0" i="0" kern="1200">
          <a:solidFill>
            <a:schemeClr val="tx1"/>
          </a:solidFill>
          <a:latin typeface="Helvetica Neue Light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b="0" i="0" kern="1200">
          <a:solidFill>
            <a:schemeClr val="tx1"/>
          </a:solidFill>
          <a:latin typeface="Helvetica Neue Light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b="0" i="0" kern="1200">
          <a:solidFill>
            <a:schemeClr val="tx1"/>
          </a:solidFill>
          <a:latin typeface="Helvetica Neue Light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b="0" i="0" kern="1200">
          <a:solidFill>
            <a:schemeClr val="tx1"/>
          </a:solidFill>
          <a:latin typeface="Helvetica Neue Light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b="0" i="0" kern="1200">
          <a:solidFill>
            <a:schemeClr val="tx1"/>
          </a:solidFill>
          <a:latin typeface="Helvetica Neue Light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70FF646-0593-4A14-9E58-0FD37BBCB3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15522852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353" imgH="353" progId="TCLayout.ActiveDocument.1">
                  <p:embed/>
                </p:oleObj>
              </mc:Choice>
              <mc:Fallback>
                <p:oleObj name="think-cell Slide" r:id="rId42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70FF646-0593-4A14-9E58-0FD37BBCB3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798618" y="312767"/>
            <a:ext cx="10590003" cy="7486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1800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GB" noProof="0"/>
              <a:t>Presentation title</a:t>
            </a:r>
            <a:br>
              <a:rPr lang="en-GB" noProof="0"/>
            </a:br>
            <a:r>
              <a:rPr lang="en-GB" noProof="0"/>
              <a:t>(in cyan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08620" y="6280546"/>
            <a:ext cx="480000" cy="15557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800" b="0" baseline="0"/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31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798617" y="1647826"/>
            <a:ext cx="10590003" cy="40592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4 No bullet text 18</a:t>
            </a:r>
          </a:p>
          <a:p>
            <a:pPr lvl="4"/>
            <a:r>
              <a:rPr lang="en-GB" noProof="0"/>
              <a:t>5 </a:t>
            </a:r>
            <a:r>
              <a:rPr lang="en-GB" noProof="0" err="1"/>
              <a:t>Megaheader</a:t>
            </a:r>
            <a:r>
              <a:rPr lang="en-GB" noProof="0"/>
              <a:t> caps 48</a:t>
            </a:r>
          </a:p>
          <a:p>
            <a:pPr lvl="5"/>
            <a:r>
              <a:rPr lang="en-GB" noProof="0"/>
              <a:t>6 Header caps 18</a:t>
            </a:r>
          </a:p>
          <a:p>
            <a:pPr lvl="6"/>
            <a:r>
              <a:rPr lang="en-GB" noProof="0"/>
              <a:t>7 Text 18</a:t>
            </a:r>
          </a:p>
          <a:p>
            <a:pPr lvl="7"/>
            <a:r>
              <a:rPr lang="en-GB" noProof="0"/>
              <a:t>8 Number 16</a:t>
            </a:r>
          </a:p>
          <a:p>
            <a:pPr lvl="8"/>
            <a:r>
              <a:rPr lang="en-GB" noProof="0"/>
              <a:t>9 Letter 16</a:t>
            </a:r>
          </a:p>
          <a:p>
            <a:pPr lvl="8"/>
            <a:endParaRPr lang="en-GB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9E4955-7821-481C-9AF7-C7D9376755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56591" y="6280502"/>
            <a:ext cx="6515949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10" name="Date_DateCustomA">
            <a:extLst>
              <a:ext uri="{FF2B5EF4-FFF2-40B4-BE49-F238E27FC236}">
                <a16:creationId xmlns:a16="http://schemas.microsoft.com/office/drawing/2014/main" id="{ADC3E656-DC3F-4718-B1B2-E5B4B66615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8E8A079D-0F01-4087-8466-404AA9697848}" type="datetime1">
              <a:rPr lang="da-DK" smtClean="0"/>
              <a:t>04-05-2022</a:t>
            </a:fld>
            <a:endParaRPr lang="da-DK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135459E-96A0-4D48-B1D9-A034EE07E024}"/>
              </a:ext>
            </a:extLst>
          </p:cNvPr>
          <p:cNvGrpSpPr/>
          <p:nvPr userDrawn="1"/>
        </p:nvGrpSpPr>
        <p:grpSpPr>
          <a:xfrm>
            <a:off x="-1972350" y="522085"/>
            <a:ext cx="1797025" cy="2906915"/>
            <a:chOff x="-1899137" y="-1"/>
            <a:chExt cx="1796791" cy="2907588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7DF113FF-8BE3-4207-A5C6-F4579EED1B78}"/>
                </a:ext>
              </a:extLst>
            </p:cNvPr>
            <p:cNvGrpSpPr/>
            <p:nvPr userDrawn="1"/>
          </p:nvGrpSpPr>
          <p:grpSpPr>
            <a:xfrm>
              <a:off x="-1899137" y="-1"/>
              <a:ext cx="1796791" cy="2907588"/>
              <a:chOff x="9009867" y="1645032"/>
              <a:chExt cx="2365739" cy="3828268"/>
            </a:xfrm>
          </p:grpSpPr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5359A05F-1860-4448-A740-55E89B66880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4"/>
              <a:stretch>
                <a:fillRect/>
              </a:stretch>
            </p:blipFill>
            <p:spPr>
              <a:xfrm>
                <a:off x="9182748" y="1852126"/>
                <a:ext cx="599367" cy="280555"/>
              </a:xfrm>
              <a:prstGeom prst="rect">
                <a:avLst/>
              </a:prstGeom>
            </p:spPr>
          </p:pic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18399B32-2EE3-49AE-80A0-6797B01E89E6}"/>
                  </a:ext>
                </a:extLst>
              </p:cNvPr>
              <p:cNvSpPr txBox="1"/>
              <p:nvPr/>
            </p:nvSpPr>
            <p:spPr bwMode="auto">
              <a:xfrm>
                <a:off x="9199275" y="2239970"/>
                <a:ext cx="1887588" cy="8509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12697" marR="0" indent="-25395" algn="l" defTabSz="457109" rtl="0" eaLnBrk="0" fontAlgn="base" latinLnBrk="0" hangingPunct="0">
                  <a:spcBef>
                    <a:spcPct val="0"/>
                  </a:spcBef>
                  <a:spcAft>
                    <a:spcPts val="600"/>
                  </a:spcAft>
                  <a:buClrTx/>
                  <a:buSzTx/>
                  <a:tabLst/>
                </a:pPr>
                <a:r>
                  <a:rPr kumimoji="0" lang="en-GB" sz="7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LIST LEVELS (BULLET LEVELS) </a:t>
                </a:r>
                <a:br>
                  <a:rPr kumimoji="0" lang="en-GB" sz="7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br>
                  <a:rPr kumimoji="0" lang="en-GB" sz="7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r>
                  <a:rPr kumimoji="0" lang="en-GB" sz="7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USE ABOVE TOOL IN THE TAB HOME TO CHANGE TEXT STYLES (ALSO USE TAB FUNCTION)</a:t>
                </a:r>
              </a:p>
            </p:txBody>
          </p:sp>
          <p:sp>
            <p:nvSpPr>
              <p:cNvPr id="14" name="Rectangle: Rounded Corners 13">
                <a:extLst>
                  <a:ext uri="{FF2B5EF4-FFF2-40B4-BE49-F238E27FC236}">
                    <a16:creationId xmlns:a16="http://schemas.microsoft.com/office/drawing/2014/main" id="{6A251040-79B2-4E75-B580-29B9D6CC1B9D}"/>
                  </a:ext>
                </a:extLst>
              </p:cNvPr>
              <p:cNvSpPr/>
              <p:nvPr/>
            </p:nvSpPr>
            <p:spPr>
              <a:xfrm>
                <a:off x="9009867" y="1645032"/>
                <a:ext cx="2365739" cy="3828268"/>
              </a:xfrm>
              <a:prstGeom prst="roundRect">
                <a:avLst>
                  <a:gd name="adj" fmla="val 3193"/>
                </a:avLst>
              </a:prstGeom>
              <a:noFill/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>
                  <a:solidFill>
                    <a:schemeClr val="accent3"/>
                  </a:solidFill>
                </a:endParaRPr>
              </a:p>
            </p:txBody>
          </p:sp>
        </p:grp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225B3411-6214-4AE2-A1EF-BEE63EC00B0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1884053" y="1200637"/>
              <a:ext cx="1418614" cy="1444137"/>
            </a:xfrm>
            <a:prstGeom prst="rect">
              <a:avLst/>
            </a:prstGeom>
          </p:spPr>
        </p:pic>
      </p:grpSp>
      <p:pic>
        <p:nvPicPr>
          <p:cNvPr id="25" name="Picture 24">
            <a:extLst>
              <a:ext uri="{FF2B5EF4-FFF2-40B4-BE49-F238E27FC236}">
                <a16:creationId xmlns:a16="http://schemas.microsoft.com/office/drawing/2014/main" id="{038C835D-7A3F-4157-850A-1556A9D8479F}"/>
              </a:ext>
            </a:extLst>
          </p:cNvPr>
          <p:cNvPicPr>
            <a:picLocks noChangeAspect="1"/>
          </p:cNvPicPr>
          <p:nvPr userDrawn="1"/>
        </p:nvPicPr>
        <p:blipFill>
          <a:blip r:embed="rId4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617" y="6158174"/>
            <a:ext cx="2826826" cy="255541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6515BF35-693E-4749-821E-5148CED147C8}"/>
              </a:ext>
            </a:extLst>
          </p:cNvPr>
          <p:cNvSpPr/>
          <p:nvPr userDrawn="1"/>
        </p:nvSpPr>
        <p:spPr>
          <a:xfrm>
            <a:off x="2052092" y="6141510"/>
            <a:ext cx="1573352" cy="27220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1779847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691" r:id="rId16"/>
    <p:sldLayoutId id="2147483692" r:id="rId17"/>
    <p:sldLayoutId id="2147483693" r:id="rId18"/>
    <p:sldLayoutId id="2147483694" r:id="rId19"/>
    <p:sldLayoutId id="2147483695" r:id="rId20"/>
    <p:sldLayoutId id="2147483696" r:id="rId21"/>
    <p:sldLayoutId id="2147483697" r:id="rId22"/>
    <p:sldLayoutId id="2147483698" r:id="rId23"/>
    <p:sldLayoutId id="2147483699" r:id="rId24"/>
    <p:sldLayoutId id="2147483700" r:id="rId25"/>
    <p:sldLayoutId id="2147483701" r:id="rId26"/>
    <p:sldLayoutId id="2147483702" r:id="rId27"/>
    <p:sldLayoutId id="2147483703" r:id="rId28"/>
    <p:sldLayoutId id="2147483704" r:id="rId29"/>
    <p:sldLayoutId id="2147483705" r:id="rId30"/>
    <p:sldLayoutId id="2147483706" r:id="rId31"/>
    <p:sldLayoutId id="2147483707" r:id="rId32"/>
    <p:sldLayoutId id="2147483708" r:id="rId33"/>
    <p:sldLayoutId id="2147483709" r:id="rId34"/>
    <p:sldLayoutId id="2147483710" r:id="rId35"/>
    <p:sldLayoutId id="2147483711" r:id="rId36"/>
    <p:sldLayoutId id="2147483712" r:id="rId37"/>
    <p:sldLayoutId id="2147483713" r:id="rId38"/>
    <p:sldLayoutId id="2147483714" r:id="rId39"/>
  </p:sldLayoutIdLst>
  <p:hf sldNum="0" hdr="0" ftr="0" dt="0"/>
  <p:txStyles>
    <p:titleStyle>
      <a:lvl1pPr algn="l" defTabSz="457098" rtl="0" eaLnBrk="1" fontAlgn="base" hangingPunct="1">
        <a:spcBef>
          <a:spcPct val="0"/>
        </a:spcBef>
        <a:spcAft>
          <a:spcPct val="0"/>
        </a:spcAft>
        <a:defRPr sz="2400" b="1" kern="1200" cap="all" spc="-50" baseline="0">
          <a:solidFill>
            <a:schemeClr val="tx2"/>
          </a:solidFill>
          <a:latin typeface="Verdana"/>
          <a:ea typeface="Verdana" pitchFamily="34" charset="0"/>
          <a:cs typeface="Verdana" pitchFamily="34" charset="0"/>
        </a:defRPr>
      </a:lvl1pPr>
      <a:lvl2pPr algn="l" defTabSz="457098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-111" charset="0"/>
          <a:ea typeface="Verdana" pitchFamily="34" charset="0"/>
          <a:cs typeface="Verdana" pitchFamily="34" charset="0"/>
        </a:defRPr>
      </a:lvl2pPr>
      <a:lvl3pPr algn="l" defTabSz="457098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-111" charset="0"/>
          <a:ea typeface="Verdana" pitchFamily="34" charset="0"/>
          <a:cs typeface="Verdana" pitchFamily="34" charset="0"/>
        </a:defRPr>
      </a:lvl3pPr>
      <a:lvl4pPr algn="l" defTabSz="457098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-111" charset="0"/>
          <a:ea typeface="Verdana" pitchFamily="34" charset="0"/>
          <a:cs typeface="Verdana" pitchFamily="34" charset="0"/>
        </a:defRPr>
      </a:lvl4pPr>
      <a:lvl5pPr algn="l" defTabSz="457098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-111" charset="0"/>
          <a:ea typeface="Verdana" pitchFamily="34" charset="0"/>
          <a:cs typeface="Verdana" pitchFamily="34" charset="0"/>
        </a:defRPr>
      </a:lvl5pPr>
      <a:lvl6pPr marL="457098" algn="l" defTabSz="457098" rtl="0" eaLnBrk="1" fontAlgn="base" hangingPunct="1">
        <a:spcBef>
          <a:spcPct val="0"/>
        </a:spcBef>
        <a:spcAft>
          <a:spcPct val="0"/>
        </a:spcAft>
        <a:defRPr sz="3199" b="1">
          <a:solidFill>
            <a:schemeClr val="bg1"/>
          </a:solidFill>
          <a:latin typeface="Verdana" pitchFamily="-111" charset="0"/>
          <a:ea typeface="Verdana" pitchFamily="34" charset="0"/>
          <a:cs typeface="Verdana" pitchFamily="34" charset="0"/>
        </a:defRPr>
      </a:lvl6pPr>
      <a:lvl7pPr marL="914194" algn="l" defTabSz="457098" rtl="0" eaLnBrk="1" fontAlgn="base" hangingPunct="1">
        <a:spcBef>
          <a:spcPct val="0"/>
        </a:spcBef>
        <a:spcAft>
          <a:spcPct val="0"/>
        </a:spcAft>
        <a:defRPr sz="3199" b="1">
          <a:solidFill>
            <a:schemeClr val="bg1"/>
          </a:solidFill>
          <a:latin typeface="Verdana" pitchFamily="-111" charset="0"/>
          <a:ea typeface="Verdana" pitchFamily="34" charset="0"/>
          <a:cs typeface="Verdana" pitchFamily="34" charset="0"/>
        </a:defRPr>
      </a:lvl7pPr>
      <a:lvl8pPr marL="1371292" algn="l" defTabSz="457098" rtl="0" eaLnBrk="1" fontAlgn="base" hangingPunct="1">
        <a:spcBef>
          <a:spcPct val="0"/>
        </a:spcBef>
        <a:spcAft>
          <a:spcPct val="0"/>
        </a:spcAft>
        <a:defRPr sz="3199" b="1">
          <a:solidFill>
            <a:schemeClr val="bg1"/>
          </a:solidFill>
          <a:latin typeface="Verdana" pitchFamily="-111" charset="0"/>
          <a:ea typeface="Verdana" pitchFamily="34" charset="0"/>
          <a:cs typeface="Verdana" pitchFamily="34" charset="0"/>
        </a:defRPr>
      </a:lvl8pPr>
      <a:lvl9pPr marL="1828388" algn="l" defTabSz="457098" rtl="0" eaLnBrk="1" fontAlgn="base" hangingPunct="1">
        <a:spcBef>
          <a:spcPct val="0"/>
        </a:spcBef>
        <a:spcAft>
          <a:spcPct val="0"/>
        </a:spcAft>
        <a:defRPr sz="3199" b="1">
          <a:solidFill>
            <a:schemeClr val="bg1"/>
          </a:solidFill>
          <a:latin typeface="Verdana" pitchFamily="-111" charset="0"/>
          <a:ea typeface="Verdana" pitchFamily="34" charset="0"/>
          <a:cs typeface="Verdana" pitchFamily="34" charset="0"/>
        </a:defRPr>
      </a:lvl9pPr>
    </p:titleStyle>
    <p:bodyStyle>
      <a:lvl1pPr marL="251950" indent="-251950" algn="l" defTabSz="457098" rtl="0" eaLnBrk="1" fontAlgn="base" hangingPunct="1">
        <a:lnSpc>
          <a:spcPct val="100000"/>
        </a:lnSpc>
        <a:spcBef>
          <a:spcPct val="0"/>
        </a:spcBef>
        <a:spcAft>
          <a:spcPts val="1200"/>
        </a:spcAft>
        <a:buFont typeface="Verdana" pitchFamily="34" charset="0"/>
        <a:buChar char="•"/>
        <a:defRPr kern="1200" spc="-50" baseline="0">
          <a:solidFill>
            <a:schemeClr val="tx1"/>
          </a:solidFill>
          <a:latin typeface="Verdana"/>
          <a:ea typeface="Verdana" pitchFamily="34" charset="0"/>
          <a:cs typeface="Verdana" pitchFamily="34" charset="0"/>
        </a:defRPr>
      </a:lvl1pPr>
      <a:lvl2pPr marL="647870" indent="-251950" algn="l" defTabSz="457098" rtl="0" eaLnBrk="1" fontAlgn="base" hangingPunct="1">
        <a:lnSpc>
          <a:spcPct val="100000"/>
        </a:lnSpc>
        <a:spcBef>
          <a:spcPct val="0"/>
        </a:spcBef>
        <a:spcAft>
          <a:spcPts val="1200"/>
        </a:spcAft>
        <a:buFont typeface="Verdana" pitchFamily="34" charset="0"/>
        <a:buChar char="•"/>
        <a:defRPr sz="1600" kern="1200" spc="-50" baseline="0">
          <a:solidFill>
            <a:schemeClr val="tx1"/>
          </a:solidFill>
          <a:latin typeface="Verdana"/>
          <a:ea typeface="Verdana" pitchFamily="34" charset="0"/>
          <a:cs typeface="+mn-cs"/>
        </a:defRPr>
      </a:lvl2pPr>
      <a:lvl3pPr marL="979004" indent="-251950" algn="l" defTabSz="457098" rtl="0" eaLnBrk="1" fontAlgn="base" hangingPunct="1">
        <a:lnSpc>
          <a:spcPct val="100000"/>
        </a:lnSpc>
        <a:spcBef>
          <a:spcPct val="0"/>
        </a:spcBef>
        <a:spcAft>
          <a:spcPts val="1200"/>
        </a:spcAft>
        <a:buFont typeface="Verdana" pitchFamily="34" charset="0"/>
        <a:buChar char="•"/>
        <a:defRPr sz="1400" kern="1200" spc="-50" baseline="0">
          <a:solidFill>
            <a:schemeClr val="tx1"/>
          </a:solidFill>
          <a:latin typeface="Verdana"/>
          <a:ea typeface="Verdana" pitchFamily="34" charset="0"/>
          <a:cs typeface="+mn-cs"/>
        </a:defRPr>
      </a:lvl3pPr>
      <a:lvl4pPr marL="0" indent="0" algn="l" defTabSz="457098" rtl="0" eaLnBrk="1" fontAlgn="base" hangingPunct="1">
        <a:lnSpc>
          <a:spcPct val="100000"/>
        </a:lnSpc>
        <a:spcBef>
          <a:spcPct val="0"/>
        </a:spcBef>
        <a:spcAft>
          <a:spcPts val="1200"/>
        </a:spcAft>
        <a:buFont typeface="Arial" panose="020B0604020202020204" pitchFamily="34" charset="0"/>
        <a:buChar char="​"/>
        <a:defRPr sz="1800" kern="1200" spc="-50" baseline="0">
          <a:solidFill>
            <a:schemeClr val="tx1"/>
          </a:solidFill>
          <a:latin typeface="Verdana"/>
          <a:ea typeface="Verdana" pitchFamily="34" charset="0"/>
          <a:cs typeface="+mn-cs"/>
        </a:defRPr>
      </a:lvl4pPr>
      <a:lvl5pPr marL="0" indent="0" algn="l" defTabSz="457098" rtl="0" eaLnBrk="1" fontAlgn="base" hangingPunct="1">
        <a:lnSpc>
          <a:spcPct val="80000"/>
        </a:lnSpc>
        <a:spcBef>
          <a:spcPct val="0"/>
        </a:spcBef>
        <a:spcAft>
          <a:spcPts val="1200"/>
        </a:spcAft>
        <a:buFont typeface="Arial" panose="020B0604020202020204" pitchFamily="34" charset="0"/>
        <a:buChar char="​"/>
        <a:defRPr sz="4799" b="1" kern="1200" cap="all" spc="-100" baseline="0">
          <a:solidFill>
            <a:schemeClr val="tx1"/>
          </a:solidFill>
          <a:latin typeface="Verdana"/>
          <a:ea typeface="Verdana" pitchFamily="34" charset="0"/>
          <a:cs typeface="+mn-cs"/>
        </a:defRPr>
      </a:lvl5pPr>
      <a:lvl6pPr marL="0" indent="0" algn="l" defTabSz="457098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​"/>
        <a:defRPr sz="1800" b="1" kern="1200" cap="all" spc="-50" baseline="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457098" rtl="0" eaLnBrk="1" latinLnBrk="0" hangingPunct="1">
        <a:spcBef>
          <a:spcPts val="0"/>
        </a:spcBef>
        <a:spcAft>
          <a:spcPts val="1200"/>
        </a:spcAft>
        <a:buFont typeface="Arial" panose="020B0604020202020204" pitchFamily="34" charset="0"/>
        <a:buChar char="​"/>
        <a:defRPr sz="1800" i="0" kern="1200" spc="-50">
          <a:solidFill>
            <a:schemeClr val="bg2"/>
          </a:solidFill>
          <a:latin typeface="+mn-lt"/>
          <a:ea typeface="+mn-ea"/>
          <a:cs typeface="+mn-cs"/>
        </a:defRPr>
      </a:lvl7pPr>
      <a:lvl8pPr marL="647870" indent="-251950" algn="l" defTabSz="457098" rtl="0" eaLnBrk="1" latinLnBrk="0" hangingPunct="1">
        <a:spcBef>
          <a:spcPts val="0"/>
        </a:spcBef>
        <a:spcAft>
          <a:spcPts val="1200"/>
        </a:spcAft>
        <a:buClr>
          <a:schemeClr val="bg2"/>
        </a:buClr>
        <a:buFont typeface="+mj-lt"/>
        <a:buAutoNum type="arabicPeriod"/>
        <a:defRPr sz="1600" kern="1200" spc="-50">
          <a:solidFill>
            <a:schemeClr val="tx1"/>
          </a:solidFill>
          <a:latin typeface="+mn-lt"/>
          <a:ea typeface="+mn-ea"/>
          <a:cs typeface="+mn-cs"/>
        </a:defRPr>
      </a:lvl8pPr>
      <a:lvl9pPr marL="647870" indent="-251950" algn="l" defTabSz="457098" rtl="0" eaLnBrk="1" latinLnBrk="0" hangingPunct="1">
        <a:spcBef>
          <a:spcPts val="0"/>
        </a:spcBef>
        <a:spcAft>
          <a:spcPts val="1200"/>
        </a:spcAft>
        <a:buClr>
          <a:schemeClr val="bg2"/>
        </a:buClr>
        <a:buFont typeface="+mj-lt"/>
        <a:buAutoNum type="alphaUcPeriod"/>
        <a:defRPr sz="1600" kern="1200" spc="-5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98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94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92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8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86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82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80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777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659">
          <p15:clr>
            <a:srgbClr val="F26B43"/>
          </p15:clr>
        </p15:guide>
        <p15:guide id="2" pos="7173">
          <p15:clr>
            <a:srgbClr val="F26B43"/>
          </p15:clr>
        </p15:guide>
        <p15:guide id="3" orient="horz" pos="1036">
          <p15:clr>
            <a:srgbClr val="F26B43"/>
          </p15:clr>
        </p15:guide>
        <p15:guide id="4" orient="horz" pos="3595">
          <p15:clr>
            <a:srgbClr val="F26B43"/>
          </p15:clr>
        </p15:guide>
        <p15:guide id="5" pos="6146">
          <p15:clr>
            <a:srgbClr val="F26B43"/>
          </p15:clr>
        </p15:guide>
        <p15:guide id="6" pos="5633">
          <p15:clr>
            <a:srgbClr val="F26B43"/>
          </p15:clr>
        </p15:guide>
        <p15:guide id="7" pos="5120">
          <p15:clr>
            <a:srgbClr val="F26B43"/>
          </p15:clr>
        </p15:guide>
        <p15:guide id="8" pos="4607">
          <p15:clr>
            <a:srgbClr val="F26B43"/>
          </p15:clr>
        </p15:guide>
        <p15:guide id="9" pos="4094">
          <p15:clr>
            <a:srgbClr val="F26B43"/>
          </p15:clr>
        </p15:guide>
        <p15:guide id="10" pos="3581">
          <p15:clr>
            <a:srgbClr val="F26B43"/>
          </p15:clr>
        </p15:guide>
        <p15:guide id="11" pos="3068">
          <p15:clr>
            <a:srgbClr val="F26B43"/>
          </p15:clr>
        </p15:guide>
        <p15:guide id="12" pos="2555">
          <p15:clr>
            <a:srgbClr val="F26B43"/>
          </p15:clr>
        </p15:guide>
        <p15:guide id="13" pos="2042">
          <p15:clr>
            <a:srgbClr val="F26B43"/>
          </p15:clr>
        </p15:guide>
        <p15:guide id="14" pos="1529">
          <p15:clr>
            <a:srgbClr val="F26B43"/>
          </p15:clr>
        </p15:guide>
        <p15:guide id="15" pos="1016">
          <p15:clr>
            <a:srgbClr val="F26B43"/>
          </p15:clr>
        </p15:guide>
        <p15:guide id="16" pos="50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A0E29F3-0223-4A33-BCA8-B90F0CAB46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877151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53" imgH="353" progId="TCLayout.ActiveDocument.1">
                  <p:embed/>
                </p:oleObj>
              </mc:Choice>
              <mc:Fallback>
                <p:oleObj name="think-cell Slide" r:id="rId14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A0E29F3-0223-4A33-BCA8-B90F0CAB46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6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b="0" i="0">
                <a:solidFill>
                  <a:schemeClr val="tx1">
                    <a:tint val="75000"/>
                  </a:schemeClr>
                </a:solidFill>
                <a:latin typeface="Helvetica Neue Light" charset="0"/>
              </a:defRPr>
            </a:lvl1pPr>
          </a:lstStyle>
          <a:p>
            <a:fld id="{D15115B5-22B3-3341-8606-329944385CDD}" type="datetimeFigureOut">
              <a:rPr lang="en-US" smtClean="0"/>
              <a:pPr/>
              <a:t>5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6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tx1">
                    <a:tint val="75000"/>
                  </a:schemeClr>
                </a:solidFill>
                <a:latin typeface="Helvetica Neue Light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6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Helvetica Neue Light" charset="0"/>
              </a:defRPr>
            </a:lvl1pPr>
          </a:lstStyle>
          <a:p>
            <a:fld id="{9FB0F1FF-46A1-4F4C-A154-7A0A3DE72A3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6611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</p:sldLayoutIdLst>
  <p:txStyles>
    <p:titleStyle>
      <a:lvl1pPr algn="l" defTabSz="685766" rtl="0" eaLnBrk="1" latinLnBrk="0" hangingPunct="1">
        <a:lnSpc>
          <a:spcPct val="90000"/>
        </a:lnSpc>
        <a:spcBef>
          <a:spcPct val="0"/>
        </a:spcBef>
        <a:buNone/>
        <a:defRPr sz="3300" b="0" i="0" kern="1200">
          <a:solidFill>
            <a:schemeClr val="tx1"/>
          </a:solidFill>
          <a:latin typeface="Helvetica Neue Light" charset="0"/>
          <a:ea typeface="+mj-ea"/>
          <a:cs typeface="+mj-cs"/>
        </a:defRPr>
      </a:lvl1pPr>
    </p:titleStyle>
    <p:bodyStyle>
      <a:lvl1pPr marL="171442" indent="-171442" algn="l" defTabSz="685766" rtl="0" eaLnBrk="1" latinLnBrk="0" hangingPunct="1">
        <a:lnSpc>
          <a:spcPct val="90000"/>
        </a:lnSpc>
        <a:spcBef>
          <a:spcPts val="751"/>
        </a:spcBef>
        <a:buFont typeface="Arial"/>
        <a:buChar char="•"/>
        <a:defRPr sz="2100" b="0" i="0" kern="1200">
          <a:solidFill>
            <a:schemeClr val="tx1"/>
          </a:solidFill>
          <a:latin typeface="Helvetica Neue Light" charset="0"/>
          <a:ea typeface="+mn-ea"/>
          <a:cs typeface="+mn-cs"/>
        </a:defRPr>
      </a:lvl1pPr>
      <a:lvl2pPr marL="514326" indent="-171442" algn="l" defTabSz="685766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800" b="0" i="0" kern="1200">
          <a:solidFill>
            <a:schemeClr val="tx1"/>
          </a:solidFill>
          <a:latin typeface="Helvetica Neue Light" charset="0"/>
          <a:ea typeface="+mn-ea"/>
          <a:cs typeface="+mn-cs"/>
        </a:defRPr>
      </a:lvl2pPr>
      <a:lvl3pPr marL="857208" indent="-171442" algn="l" defTabSz="685766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500" b="0" i="0" kern="1200">
          <a:solidFill>
            <a:schemeClr val="tx1"/>
          </a:solidFill>
          <a:latin typeface="Helvetica Neue Light" charset="0"/>
          <a:ea typeface="+mn-ea"/>
          <a:cs typeface="+mn-cs"/>
        </a:defRPr>
      </a:lvl3pPr>
      <a:lvl4pPr marL="1200091" indent="-171442" algn="l" defTabSz="685766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1" b="0" i="0" kern="1200">
          <a:solidFill>
            <a:schemeClr val="tx1"/>
          </a:solidFill>
          <a:latin typeface="Helvetica Neue Light" charset="0"/>
          <a:ea typeface="+mn-ea"/>
          <a:cs typeface="+mn-cs"/>
        </a:defRPr>
      </a:lvl4pPr>
      <a:lvl5pPr marL="1542973" indent="-171442" algn="l" defTabSz="685766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1" b="0" i="0" kern="1200">
          <a:solidFill>
            <a:schemeClr val="tx1"/>
          </a:solidFill>
          <a:latin typeface="Helvetica Neue Light" charset="0"/>
          <a:ea typeface="+mn-ea"/>
          <a:cs typeface="+mn-cs"/>
        </a:defRPr>
      </a:lvl5pPr>
      <a:lvl6pPr marL="1885857" indent="-171442" algn="l" defTabSz="685766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228739" indent="-171442" algn="l" defTabSz="685766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571622" indent="-171442" algn="l" defTabSz="685766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914506" indent="-171442" algn="l" defTabSz="685766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66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2882" algn="l" defTabSz="685766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5766" algn="l" defTabSz="685766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8649" algn="l" defTabSz="685766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1532" algn="l" defTabSz="685766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4414" algn="l" defTabSz="685766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7298" algn="l" defTabSz="685766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0180" algn="l" defTabSz="685766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3062" algn="l" defTabSz="685766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6D7BAF2-7662-4ED2-8D88-377B882CC6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840831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353" imgH="353" progId="TCLayout.ActiveDocument.1">
                  <p:embed/>
                </p:oleObj>
              </mc:Choice>
              <mc:Fallback>
                <p:oleObj name="think-cell Slide" r:id="rId27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6D7BAF2-7662-4ED2-8D88-377B882CC6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9">
            <a:extLst>
              <a:ext uri="{FF2B5EF4-FFF2-40B4-BE49-F238E27FC236}">
                <a16:creationId xmlns:a16="http://schemas.microsoft.com/office/drawing/2014/main" id="{36EC78A6-9E8C-4B4B-952C-A13EDE24366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06400" y="696384"/>
            <a:ext cx="11387667" cy="52239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35717" tIns="35717" rIns="35717" bIns="35717" numCol="1" rtlCol="0" anchor="t" anchorCtr="0" compatLnSpc="1">
            <a:prstTxWarp prst="textNoShape">
              <a:avLst/>
            </a:prstTxWarp>
          </a:bodyPr>
          <a:lstStyle/>
          <a:p>
            <a:pPr lvl="0" rtl="0"/>
            <a:r>
              <a:rPr lang="nb-no"/>
              <a:t>Click to edit Master text styles</a:t>
            </a:r>
          </a:p>
          <a:p>
            <a:pPr lvl="1" rtl="0"/>
            <a:r>
              <a:rPr lang="nb-no">
                <a:sym typeface="Arial" charset="0"/>
              </a:rPr>
              <a:t>Second level</a:t>
            </a:r>
            <a:endParaRPr lang="nb-NO">
              <a:sym typeface="Arial" charset="0"/>
            </a:endParaRPr>
          </a:p>
          <a:p>
            <a:pPr lvl="2" rtl="0"/>
            <a:r>
              <a:rPr lang="nb-no">
                <a:sym typeface="Arial" charset="0"/>
              </a:rPr>
              <a:t>Third level</a:t>
            </a:r>
            <a:endParaRPr lang="nb-NO">
              <a:sym typeface="Arial" charset="0"/>
            </a:endParaRPr>
          </a:p>
          <a:p>
            <a:pPr lvl="3" rtl="0"/>
            <a:r>
              <a:rPr lang="nb-no">
                <a:sym typeface="Arial" charset="0"/>
              </a:rPr>
              <a:t>Fourth level</a:t>
            </a:r>
            <a:endParaRPr lang="nb-NO">
              <a:sym typeface="Arial" charset="0"/>
            </a:endParaRPr>
          </a:p>
          <a:p>
            <a:pPr lvl="4" rtl="0"/>
            <a:r>
              <a:rPr lang="nb-no">
                <a:sym typeface="Arial" charset="0"/>
              </a:rPr>
              <a:t>Fifth level</a:t>
            </a:r>
            <a:endParaRPr lang="en-US">
              <a:sym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81810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  <p:sldLayoutId id="2147483752" r:id="rId12"/>
    <p:sldLayoutId id="2147483753" r:id="rId13"/>
    <p:sldLayoutId id="2147483754" r:id="rId14"/>
    <p:sldLayoutId id="2147483755" r:id="rId15"/>
    <p:sldLayoutId id="2147483756" r:id="rId16"/>
    <p:sldLayoutId id="2147483757" r:id="rId17"/>
    <p:sldLayoutId id="2147483758" r:id="rId18"/>
    <p:sldLayoutId id="2147483759" r:id="rId19"/>
    <p:sldLayoutId id="2147483760" r:id="rId20"/>
    <p:sldLayoutId id="2147483761" r:id="rId21"/>
    <p:sldLayoutId id="2147483762" r:id="rId22"/>
    <p:sldLayoutId id="2147483763" r:id="rId23"/>
    <p:sldLayoutId id="2147483764" r:id="rId24"/>
  </p:sldLayoutIdLst>
  <p:transition spd="med">
    <p:fade/>
  </p:transition>
  <p:txStyles>
    <p:titleStyle>
      <a:lvl1pPr marL="0" marR="0" indent="0" algn="l" defTabSz="41274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733" b="0" i="0" u="none" strike="noStrike" cap="none" spc="0" baseline="0">
          <a:solidFill>
            <a:srgbClr val="000000"/>
          </a:solidFill>
          <a:uFillTx/>
          <a:latin typeface="Segoe UI" panose="020B0502040204020203" pitchFamily="34" charset="0"/>
          <a:ea typeface="Segoe UI Emoji" panose="020B0502040204020203" pitchFamily="34" charset="0"/>
          <a:cs typeface="Segoe UI" panose="020B0502040204020203" pitchFamily="34" charset="0"/>
          <a:sym typeface="segoe UI"/>
        </a:defRPr>
      </a:lvl1pPr>
      <a:lvl2pPr marL="0" marR="0" indent="114297" algn="l" defTabSz="41274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-16071">
          <a:solidFill>
            <a:srgbClr val="000000"/>
          </a:solidFill>
          <a:uFillTx/>
          <a:latin typeface="+mn-lt"/>
          <a:ea typeface="+mn-ea"/>
          <a:cs typeface="+mn-cs"/>
          <a:sym typeface="segoe UI"/>
        </a:defRPr>
      </a:lvl2pPr>
      <a:lvl3pPr marL="0" marR="0" indent="228594" algn="l" defTabSz="41274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-16071">
          <a:solidFill>
            <a:srgbClr val="000000"/>
          </a:solidFill>
          <a:uFillTx/>
          <a:latin typeface="+mn-lt"/>
          <a:ea typeface="+mn-ea"/>
          <a:cs typeface="+mn-cs"/>
          <a:sym typeface="segoe UI"/>
        </a:defRPr>
      </a:lvl3pPr>
      <a:lvl4pPr marL="0" marR="0" indent="342891" algn="l" defTabSz="41274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-16071">
          <a:solidFill>
            <a:srgbClr val="000000"/>
          </a:solidFill>
          <a:uFillTx/>
          <a:latin typeface="+mn-lt"/>
          <a:ea typeface="+mn-ea"/>
          <a:cs typeface="+mn-cs"/>
          <a:sym typeface="segoe UI"/>
        </a:defRPr>
      </a:lvl4pPr>
      <a:lvl5pPr marL="0" marR="0" indent="457189" algn="l" defTabSz="41274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-16071">
          <a:solidFill>
            <a:srgbClr val="000000"/>
          </a:solidFill>
          <a:uFillTx/>
          <a:latin typeface="+mn-lt"/>
          <a:ea typeface="+mn-ea"/>
          <a:cs typeface="+mn-cs"/>
          <a:sym typeface="segoe UI"/>
        </a:defRPr>
      </a:lvl5pPr>
      <a:lvl6pPr marL="0" marR="0" indent="571486" algn="l" defTabSz="41274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-16071">
          <a:solidFill>
            <a:srgbClr val="000000"/>
          </a:solidFill>
          <a:uFillTx/>
          <a:latin typeface="+mn-lt"/>
          <a:ea typeface="+mn-ea"/>
          <a:cs typeface="+mn-cs"/>
          <a:sym typeface="segoe UI"/>
        </a:defRPr>
      </a:lvl6pPr>
      <a:lvl7pPr marL="0" marR="0" indent="685783" algn="l" defTabSz="41274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-16071">
          <a:solidFill>
            <a:srgbClr val="000000"/>
          </a:solidFill>
          <a:uFillTx/>
          <a:latin typeface="+mn-lt"/>
          <a:ea typeface="+mn-ea"/>
          <a:cs typeface="+mn-cs"/>
          <a:sym typeface="segoe UI"/>
        </a:defRPr>
      </a:lvl7pPr>
      <a:lvl8pPr marL="0" marR="0" indent="800080" algn="l" defTabSz="41274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-16071">
          <a:solidFill>
            <a:srgbClr val="000000"/>
          </a:solidFill>
          <a:uFillTx/>
          <a:latin typeface="+mn-lt"/>
          <a:ea typeface="+mn-ea"/>
          <a:cs typeface="+mn-cs"/>
          <a:sym typeface="segoe UI"/>
        </a:defRPr>
      </a:lvl8pPr>
      <a:lvl9pPr marL="0" marR="0" indent="914377" algn="l" defTabSz="41274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-16071">
          <a:solidFill>
            <a:srgbClr val="000000"/>
          </a:solidFill>
          <a:uFillTx/>
          <a:latin typeface="+mn-lt"/>
          <a:ea typeface="+mn-ea"/>
          <a:cs typeface="+mn-cs"/>
          <a:sym typeface="segoe UI"/>
        </a:defRPr>
      </a:lvl9pPr>
    </p:titleStyle>
    <p:bodyStyle>
      <a:lvl1pPr marL="508787" marR="190495" indent="-508787" algn="l" defTabSz="412740" eaLnBrk="1" latinLnBrk="0" hangingPunct="1">
        <a:lnSpc>
          <a:spcPct val="100000"/>
        </a:lnSpc>
        <a:spcBef>
          <a:spcPts val="3467"/>
        </a:spcBef>
        <a:spcAft>
          <a:spcPts val="0"/>
        </a:spcAft>
        <a:buClr>
          <a:srgbClr val="007272"/>
        </a:buClr>
        <a:buSzPct val="100000"/>
        <a:buFont typeface="Wingdings" pitchFamily="2" charset="2"/>
        <a:buChar char="§"/>
        <a:tabLst/>
        <a:defRPr sz="2667" b="0" i="0" u="none" strike="noStrike" cap="none" spc="0" baseline="0">
          <a:solidFill>
            <a:schemeClr val="tx1"/>
          </a:solidFill>
          <a:uFillTx/>
          <a:latin typeface="Segoe UI" panose="020B0502040204020203" pitchFamily="34" charset="0"/>
          <a:ea typeface="+mn-ea"/>
          <a:cs typeface="Segoe UI" panose="020B0502040204020203" pitchFamily="34" charset="0"/>
          <a:sym typeface="segoe UI"/>
        </a:defRPr>
      </a:lvl1pPr>
      <a:lvl2pPr marL="1012775" marR="190495" indent="-508787" algn="l" defTabSz="412740" eaLnBrk="1" latinLnBrk="0" hangingPunct="1">
        <a:lnSpc>
          <a:spcPct val="100000"/>
        </a:lnSpc>
        <a:spcBef>
          <a:spcPts val="3467"/>
        </a:spcBef>
        <a:spcAft>
          <a:spcPts val="0"/>
        </a:spcAft>
        <a:buClr>
          <a:srgbClr val="007272"/>
        </a:buClr>
        <a:buSzPct val="100000"/>
        <a:buFont typeface="Wingdings" pitchFamily="2" charset="2"/>
        <a:buChar char="§"/>
        <a:tabLst/>
        <a:defRPr sz="2667" b="0" i="0" u="none" strike="noStrike" cap="none" spc="0" baseline="0">
          <a:solidFill>
            <a:schemeClr val="tx1"/>
          </a:solidFill>
          <a:uFillTx/>
          <a:latin typeface="Segoe UI" panose="020B0502040204020203" pitchFamily="34" charset="0"/>
          <a:ea typeface="+mn-ea"/>
          <a:cs typeface="Segoe UI" panose="020B0502040204020203" pitchFamily="34" charset="0"/>
          <a:sym typeface="segoe UI"/>
        </a:defRPr>
      </a:lvl2pPr>
      <a:lvl3pPr marL="1511962" marR="190495" indent="-508787" algn="l" defTabSz="412740" eaLnBrk="1" latinLnBrk="0" hangingPunct="1">
        <a:lnSpc>
          <a:spcPct val="100000"/>
        </a:lnSpc>
        <a:spcBef>
          <a:spcPts val="3467"/>
        </a:spcBef>
        <a:spcAft>
          <a:spcPts val="0"/>
        </a:spcAft>
        <a:buClr>
          <a:srgbClr val="007272"/>
        </a:buClr>
        <a:buSzPct val="100000"/>
        <a:buFont typeface="Wingdings" pitchFamily="2" charset="2"/>
        <a:buChar char="§"/>
        <a:tabLst/>
        <a:defRPr sz="2667" b="0" i="0" u="none" strike="noStrike" cap="none" spc="0" baseline="0">
          <a:solidFill>
            <a:schemeClr val="tx1"/>
          </a:solidFill>
          <a:uFillTx/>
          <a:latin typeface="Segoe UI" panose="020B0502040204020203" pitchFamily="34" charset="0"/>
          <a:ea typeface="+mn-ea"/>
          <a:cs typeface="Segoe UI" panose="020B0502040204020203" pitchFamily="34" charset="0"/>
          <a:sym typeface="segoe UI"/>
        </a:defRPr>
      </a:lvl3pPr>
      <a:lvl4pPr marL="2025549" marR="190495" indent="-508787" algn="l" defTabSz="412740" eaLnBrk="1" latinLnBrk="0" hangingPunct="1">
        <a:lnSpc>
          <a:spcPct val="100000"/>
        </a:lnSpc>
        <a:spcBef>
          <a:spcPts val="3467"/>
        </a:spcBef>
        <a:spcAft>
          <a:spcPts val="0"/>
        </a:spcAft>
        <a:buClr>
          <a:srgbClr val="007272"/>
        </a:buClr>
        <a:buSzPct val="100000"/>
        <a:buFont typeface="Wingdings" pitchFamily="2" charset="2"/>
        <a:buChar char="§"/>
        <a:tabLst/>
        <a:defRPr sz="2667" b="0" i="0" u="none" strike="noStrike" cap="none" spc="0" baseline="0">
          <a:solidFill>
            <a:schemeClr val="tx1"/>
          </a:solidFill>
          <a:uFillTx/>
          <a:latin typeface="Segoe UI" panose="020B0502040204020203" pitchFamily="34" charset="0"/>
          <a:ea typeface="+mn-ea"/>
          <a:cs typeface="Segoe UI" panose="020B0502040204020203" pitchFamily="34" charset="0"/>
          <a:sym typeface="segoe UI"/>
        </a:defRPr>
      </a:lvl4pPr>
      <a:lvl5pPr marL="2524737" marR="190495" indent="-508787" algn="l" defTabSz="412740" eaLnBrk="1" latinLnBrk="0" hangingPunct="1">
        <a:lnSpc>
          <a:spcPct val="100000"/>
        </a:lnSpc>
        <a:spcBef>
          <a:spcPts val="3467"/>
        </a:spcBef>
        <a:spcAft>
          <a:spcPts val="0"/>
        </a:spcAft>
        <a:buClr>
          <a:srgbClr val="007272"/>
        </a:buClr>
        <a:buSzPct val="100000"/>
        <a:buFont typeface="Wingdings" pitchFamily="2" charset="2"/>
        <a:buChar char="§"/>
        <a:tabLst/>
        <a:defRPr sz="2667" b="0" i="0" u="none" strike="noStrike" cap="none" spc="0" baseline="0">
          <a:solidFill>
            <a:schemeClr val="tx1"/>
          </a:solidFill>
          <a:uFillTx/>
          <a:latin typeface="Segoe UI" panose="020B0502040204020203" pitchFamily="34" charset="0"/>
          <a:ea typeface="+mn-ea"/>
          <a:cs typeface="Segoe UI" panose="020B0502040204020203" pitchFamily="34" charset="0"/>
          <a:sym typeface="segoe UI"/>
        </a:defRPr>
      </a:lvl5pPr>
      <a:lvl6pPr marL="1904952" marR="190495" indent="-317492" algn="l" defTabSz="412740" eaLnBrk="1" latinLnBrk="0" hangingPunct="1">
        <a:lnSpc>
          <a:spcPts val="1500"/>
        </a:lnSpc>
        <a:spcBef>
          <a:spcPts val="1700"/>
        </a:spcBef>
        <a:spcAft>
          <a:spcPts val="0"/>
        </a:spcAft>
        <a:buClrTx/>
        <a:buSzPct val="75000"/>
        <a:buFontTx/>
        <a:buChar char="•"/>
        <a:tabLst/>
        <a:defRPr sz="2600" b="0" i="0" u="none" strike="noStrike" cap="none" spc="0" baseline="0">
          <a:solidFill>
            <a:srgbClr val="FFFFFF"/>
          </a:solidFill>
          <a:uFillTx/>
          <a:latin typeface="+mn-lt"/>
          <a:ea typeface="+mn-ea"/>
          <a:cs typeface="+mn-cs"/>
          <a:sym typeface="segoe UI"/>
        </a:defRPr>
      </a:lvl6pPr>
      <a:lvl7pPr marL="2222444" marR="190495" indent="-317492" algn="l" defTabSz="412740" eaLnBrk="1" latinLnBrk="0" hangingPunct="1">
        <a:lnSpc>
          <a:spcPts val="1500"/>
        </a:lnSpc>
        <a:spcBef>
          <a:spcPts val="1700"/>
        </a:spcBef>
        <a:spcAft>
          <a:spcPts val="0"/>
        </a:spcAft>
        <a:buClrTx/>
        <a:buSzPct val="75000"/>
        <a:buFontTx/>
        <a:buChar char="•"/>
        <a:tabLst/>
        <a:defRPr sz="2600" b="0" i="0" u="none" strike="noStrike" cap="none" spc="0" baseline="0">
          <a:solidFill>
            <a:srgbClr val="FFFFFF"/>
          </a:solidFill>
          <a:uFillTx/>
          <a:latin typeface="+mn-lt"/>
          <a:ea typeface="+mn-ea"/>
          <a:cs typeface="+mn-cs"/>
          <a:sym typeface="segoe UI"/>
        </a:defRPr>
      </a:lvl7pPr>
      <a:lvl8pPr marL="2539937" marR="190495" indent="-317492" algn="l" defTabSz="412740" eaLnBrk="1" latinLnBrk="0" hangingPunct="1">
        <a:lnSpc>
          <a:spcPts val="1500"/>
        </a:lnSpc>
        <a:spcBef>
          <a:spcPts val="1700"/>
        </a:spcBef>
        <a:spcAft>
          <a:spcPts val="0"/>
        </a:spcAft>
        <a:buClrTx/>
        <a:buSzPct val="75000"/>
        <a:buFontTx/>
        <a:buChar char="•"/>
        <a:tabLst/>
        <a:defRPr sz="2600" b="0" i="0" u="none" strike="noStrike" cap="none" spc="0" baseline="0">
          <a:solidFill>
            <a:srgbClr val="FFFFFF"/>
          </a:solidFill>
          <a:uFillTx/>
          <a:latin typeface="+mn-lt"/>
          <a:ea typeface="+mn-ea"/>
          <a:cs typeface="+mn-cs"/>
          <a:sym typeface="segoe UI"/>
        </a:defRPr>
      </a:lvl8pPr>
      <a:lvl9pPr marL="2857429" marR="190495" indent="-317492" algn="l" defTabSz="412740" eaLnBrk="1" latinLnBrk="0" hangingPunct="1">
        <a:lnSpc>
          <a:spcPts val="1500"/>
        </a:lnSpc>
        <a:spcBef>
          <a:spcPts val="1700"/>
        </a:spcBef>
        <a:spcAft>
          <a:spcPts val="0"/>
        </a:spcAft>
        <a:buClrTx/>
        <a:buSzPct val="75000"/>
        <a:buFontTx/>
        <a:buChar char="•"/>
        <a:tabLst/>
        <a:defRPr sz="2600" b="0" i="0" u="none" strike="noStrike" cap="none" spc="0" baseline="0">
          <a:solidFill>
            <a:srgbClr val="FFFFFF"/>
          </a:solidFill>
          <a:uFillTx/>
          <a:latin typeface="+mn-lt"/>
          <a:ea typeface="+mn-ea"/>
          <a:cs typeface="+mn-cs"/>
          <a:sym typeface="segoe UI"/>
        </a:defRPr>
      </a:lvl9pPr>
    </p:bodyStyle>
    <p:otherStyle>
      <a:lvl1pPr marL="0" marR="0" indent="0" algn="ctr" defTabSz="41274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segoe UI"/>
        </a:defRPr>
      </a:lvl1pPr>
      <a:lvl2pPr marL="0" marR="0" indent="114297" algn="ctr" defTabSz="41274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segoe UI"/>
        </a:defRPr>
      </a:lvl2pPr>
      <a:lvl3pPr marL="0" marR="0" indent="228594" algn="ctr" defTabSz="41274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segoe UI"/>
        </a:defRPr>
      </a:lvl3pPr>
      <a:lvl4pPr marL="0" marR="0" indent="342891" algn="ctr" defTabSz="41274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segoe UI"/>
        </a:defRPr>
      </a:lvl4pPr>
      <a:lvl5pPr marL="0" marR="0" indent="457189" algn="ctr" defTabSz="41274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segoe UI"/>
        </a:defRPr>
      </a:lvl5pPr>
      <a:lvl6pPr marL="0" marR="0" indent="571486" algn="ctr" defTabSz="41274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segoe UI"/>
        </a:defRPr>
      </a:lvl6pPr>
      <a:lvl7pPr marL="0" marR="0" indent="685783" algn="ctr" defTabSz="41274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segoe UI"/>
        </a:defRPr>
      </a:lvl7pPr>
      <a:lvl8pPr marL="0" marR="0" indent="800080" algn="ctr" defTabSz="41274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segoe UI"/>
        </a:defRPr>
      </a:lvl8pPr>
      <a:lvl9pPr marL="0" marR="0" indent="914377" algn="ctr" defTabSz="41274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segoe UI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3" orient="horz" pos="1439">
          <p15:clr>
            <a:srgbClr val="F26B43"/>
          </p15:clr>
        </p15:guide>
        <p15:guide id="4" orient="horz" pos="1257">
          <p15:clr>
            <a:srgbClr val="F26B43"/>
          </p15:clr>
        </p15:guide>
        <p15:guide id="5" orient="horz" pos="1076">
          <p15:clr>
            <a:srgbClr val="F26B43"/>
          </p15:clr>
        </p15:guide>
        <p15:guide id="6" orient="horz" pos="894">
          <p15:clr>
            <a:srgbClr val="F26B43"/>
          </p15:clr>
        </p15:guide>
        <p15:guide id="7" orient="horz" pos="713">
          <p15:clr>
            <a:srgbClr val="F26B43"/>
          </p15:clr>
        </p15:guide>
        <p15:guide id="8" orient="horz" pos="554">
          <p15:clr>
            <a:srgbClr val="F26B43"/>
          </p15:clr>
        </p15:guide>
        <p15:guide id="9" orient="horz" pos="350">
          <p15:clr>
            <a:srgbClr val="F26B43"/>
          </p15:clr>
        </p15:guide>
        <p15:guide id="10" orient="horz" pos="191">
          <p15:clr>
            <a:srgbClr val="F26B43"/>
          </p15:clr>
        </p15:guide>
        <p15:guide id="11" orient="horz" pos="1801">
          <p15:clr>
            <a:srgbClr val="F26B43"/>
          </p15:clr>
        </p15:guide>
        <p15:guide id="12" orient="horz" pos="1983">
          <p15:clr>
            <a:srgbClr val="F26B43"/>
          </p15:clr>
        </p15:guide>
        <p15:guide id="13" orient="horz" pos="2164">
          <p15:clr>
            <a:srgbClr val="F26B43"/>
          </p15:clr>
        </p15:guide>
        <p15:guide id="14" orient="horz" pos="2346">
          <p15:clr>
            <a:srgbClr val="F26B43"/>
          </p15:clr>
        </p15:guide>
        <p15:guide id="15" orient="horz" pos="2527">
          <p15:clr>
            <a:srgbClr val="F26B43"/>
          </p15:clr>
        </p15:guide>
        <p15:guide id="16" orient="horz" pos="2709">
          <p15:clr>
            <a:srgbClr val="F26B43"/>
          </p15:clr>
        </p15:guide>
        <p15:guide id="17" orient="horz" pos="2890">
          <p15:clr>
            <a:srgbClr val="F26B43"/>
          </p15:clr>
        </p15:guide>
        <p15:guide id="18" orient="horz" pos="3072">
          <p15:clr>
            <a:srgbClr val="F26B43"/>
          </p15:clr>
        </p15:guide>
        <p15:guide id="19" pos="181">
          <p15:clr>
            <a:srgbClr val="F26B43"/>
          </p15:clr>
        </p15:guide>
        <p15:guide id="20" pos="1066">
          <p15:clr>
            <a:srgbClr val="F26B43"/>
          </p15:clr>
        </p15:guide>
        <p15:guide id="21" pos="1973">
          <p15:clr>
            <a:srgbClr val="F26B43"/>
          </p15:clr>
        </p15:guide>
        <p15:guide id="22" pos="3787">
          <p15:clr>
            <a:srgbClr val="F26B43"/>
          </p15:clr>
        </p15:guide>
        <p15:guide id="23" pos="4672">
          <p15:clr>
            <a:srgbClr val="F26B43"/>
          </p15:clr>
        </p15:guide>
        <p15:guide id="24" pos="5579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A3D5309-B57B-4213-84CE-9FDC39C257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1328536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53" imgH="353" progId="TCLayout.ActiveDocument.1">
                  <p:embed/>
                </p:oleObj>
              </mc:Choice>
              <mc:Fallback>
                <p:oleObj name="think-cell Slide" r:id="rId28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A3D5309-B57B-4213-84CE-9FDC39C257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9">
            <a:extLst>
              <a:ext uri="{FF2B5EF4-FFF2-40B4-BE49-F238E27FC236}">
                <a16:creationId xmlns:a16="http://schemas.microsoft.com/office/drawing/2014/main" id="{36EC78A6-9E8C-4B4B-952C-A13EDE24366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06400" y="696384"/>
            <a:ext cx="11387667" cy="52239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35717" tIns="35717" rIns="35717" bIns="35717" numCol="1" rtlCol="0" anchor="t" anchorCtr="0" compatLnSpc="1">
            <a:prstTxWarp prst="textNoShape">
              <a:avLst/>
            </a:prstTxWarp>
          </a:bodyPr>
          <a:lstStyle/>
          <a:p>
            <a:pPr lvl="0" rtl="0"/>
            <a:r>
              <a:rPr lang="nb-no"/>
              <a:t>Click to edit Master text styles</a:t>
            </a:r>
          </a:p>
          <a:p>
            <a:pPr lvl="1" rtl="0"/>
            <a:r>
              <a:rPr lang="nb-no">
                <a:sym typeface="Arial" charset="0"/>
              </a:rPr>
              <a:t>Second level</a:t>
            </a:r>
            <a:endParaRPr lang="nb-NO">
              <a:sym typeface="Arial" charset="0"/>
            </a:endParaRPr>
          </a:p>
          <a:p>
            <a:pPr lvl="2" rtl="0"/>
            <a:r>
              <a:rPr lang="nb-no">
                <a:sym typeface="Arial" charset="0"/>
              </a:rPr>
              <a:t>Third level</a:t>
            </a:r>
            <a:endParaRPr lang="nb-NO">
              <a:sym typeface="Arial" charset="0"/>
            </a:endParaRPr>
          </a:p>
          <a:p>
            <a:pPr lvl="3" rtl="0"/>
            <a:r>
              <a:rPr lang="nb-no">
                <a:sym typeface="Arial" charset="0"/>
              </a:rPr>
              <a:t>Fourth level</a:t>
            </a:r>
            <a:endParaRPr lang="nb-NO">
              <a:sym typeface="Arial" charset="0"/>
            </a:endParaRPr>
          </a:p>
          <a:p>
            <a:pPr lvl="4" rtl="0"/>
            <a:r>
              <a:rPr lang="nb-no">
                <a:sym typeface="Arial" charset="0"/>
              </a:rPr>
              <a:t>Fifth level</a:t>
            </a:r>
            <a:endParaRPr lang="en-US">
              <a:sym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0991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6" r:id="rId1"/>
    <p:sldLayoutId id="2147483767" r:id="rId2"/>
    <p:sldLayoutId id="2147483768" r:id="rId3"/>
    <p:sldLayoutId id="2147483769" r:id="rId4"/>
    <p:sldLayoutId id="2147483770" r:id="rId5"/>
    <p:sldLayoutId id="2147483771" r:id="rId6"/>
    <p:sldLayoutId id="2147483772" r:id="rId7"/>
    <p:sldLayoutId id="2147483773" r:id="rId8"/>
    <p:sldLayoutId id="2147483774" r:id="rId9"/>
    <p:sldLayoutId id="2147483775" r:id="rId10"/>
    <p:sldLayoutId id="2147483776" r:id="rId11"/>
    <p:sldLayoutId id="2147483777" r:id="rId12"/>
    <p:sldLayoutId id="2147483778" r:id="rId13"/>
    <p:sldLayoutId id="2147483779" r:id="rId14"/>
    <p:sldLayoutId id="2147483780" r:id="rId15"/>
    <p:sldLayoutId id="2147483781" r:id="rId16"/>
    <p:sldLayoutId id="2147483782" r:id="rId17"/>
    <p:sldLayoutId id="2147483783" r:id="rId18"/>
    <p:sldLayoutId id="2147483784" r:id="rId19"/>
    <p:sldLayoutId id="2147483785" r:id="rId20"/>
    <p:sldLayoutId id="2147483786" r:id="rId21"/>
    <p:sldLayoutId id="2147483787" r:id="rId22"/>
    <p:sldLayoutId id="2147483788" r:id="rId23"/>
    <p:sldLayoutId id="2147483789" r:id="rId24"/>
    <p:sldLayoutId id="2147483790" r:id="rId25"/>
  </p:sldLayoutIdLst>
  <p:transition spd="med">
    <p:fade/>
  </p:transition>
  <p:hf hdr="0" ftr="0" dt="0"/>
  <p:txStyles>
    <p:titleStyle>
      <a:lvl1pPr marL="0" marR="0" indent="0" algn="l" defTabSz="41274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733" b="0" i="0" u="none" strike="noStrike" cap="none" spc="0" baseline="0">
          <a:solidFill>
            <a:srgbClr val="000000"/>
          </a:solidFill>
          <a:uFillTx/>
          <a:latin typeface="Segoe UI" panose="020B0502040204020203" pitchFamily="34" charset="0"/>
          <a:ea typeface="Segoe UI Emoji" panose="020B0502040204020203" pitchFamily="34" charset="0"/>
          <a:cs typeface="Segoe UI" panose="020B0502040204020203" pitchFamily="34" charset="0"/>
          <a:sym typeface="segoe UI"/>
        </a:defRPr>
      </a:lvl1pPr>
      <a:lvl2pPr marL="0" marR="0" indent="114297" algn="l" defTabSz="41274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-16071">
          <a:solidFill>
            <a:srgbClr val="000000"/>
          </a:solidFill>
          <a:uFillTx/>
          <a:latin typeface="+mn-lt"/>
          <a:ea typeface="+mn-ea"/>
          <a:cs typeface="+mn-cs"/>
          <a:sym typeface="segoe UI"/>
        </a:defRPr>
      </a:lvl2pPr>
      <a:lvl3pPr marL="0" marR="0" indent="228594" algn="l" defTabSz="41274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-16071">
          <a:solidFill>
            <a:srgbClr val="000000"/>
          </a:solidFill>
          <a:uFillTx/>
          <a:latin typeface="+mn-lt"/>
          <a:ea typeface="+mn-ea"/>
          <a:cs typeface="+mn-cs"/>
          <a:sym typeface="segoe UI"/>
        </a:defRPr>
      </a:lvl3pPr>
      <a:lvl4pPr marL="0" marR="0" indent="342891" algn="l" defTabSz="41274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-16071">
          <a:solidFill>
            <a:srgbClr val="000000"/>
          </a:solidFill>
          <a:uFillTx/>
          <a:latin typeface="+mn-lt"/>
          <a:ea typeface="+mn-ea"/>
          <a:cs typeface="+mn-cs"/>
          <a:sym typeface="segoe UI"/>
        </a:defRPr>
      </a:lvl4pPr>
      <a:lvl5pPr marL="0" marR="0" indent="457189" algn="l" defTabSz="41274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-16071">
          <a:solidFill>
            <a:srgbClr val="000000"/>
          </a:solidFill>
          <a:uFillTx/>
          <a:latin typeface="+mn-lt"/>
          <a:ea typeface="+mn-ea"/>
          <a:cs typeface="+mn-cs"/>
          <a:sym typeface="segoe UI"/>
        </a:defRPr>
      </a:lvl5pPr>
      <a:lvl6pPr marL="0" marR="0" indent="571486" algn="l" defTabSz="41274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-16071">
          <a:solidFill>
            <a:srgbClr val="000000"/>
          </a:solidFill>
          <a:uFillTx/>
          <a:latin typeface="+mn-lt"/>
          <a:ea typeface="+mn-ea"/>
          <a:cs typeface="+mn-cs"/>
          <a:sym typeface="segoe UI"/>
        </a:defRPr>
      </a:lvl6pPr>
      <a:lvl7pPr marL="0" marR="0" indent="685783" algn="l" defTabSz="41274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-16071">
          <a:solidFill>
            <a:srgbClr val="000000"/>
          </a:solidFill>
          <a:uFillTx/>
          <a:latin typeface="+mn-lt"/>
          <a:ea typeface="+mn-ea"/>
          <a:cs typeface="+mn-cs"/>
          <a:sym typeface="segoe UI"/>
        </a:defRPr>
      </a:lvl7pPr>
      <a:lvl8pPr marL="0" marR="0" indent="800080" algn="l" defTabSz="41274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-16071">
          <a:solidFill>
            <a:srgbClr val="000000"/>
          </a:solidFill>
          <a:uFillTx/>
          <a:latin typeface="+mn-lt"/>
          <a:ea typeface="+mn-ea"/>
          <a:cs typeface="+mn-cs"/>
          <a:sym typeface="segoe UI"/>
        </a:defRPr>
      </a:lvl8pPr>
      <a:lvl9pPr marL="0" marR="0" indent="914377" algn="l" defTabSz="41274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-16071">
          <a:solidFill>
            <a:srgbClr val="000000"/>
          </a:solidFill>
          <a:uFillTx/>
          <a:latin typeface="+mn-lt"/>
          <a:ea typeface="+mn-ea"/>
          <a:cs typeface="+mn-cs"/>
          <a:sym typeface="segoe UI"/>
        </a:defRPr>
      </a:lvl9pPr>
    </p:titleStyle>
    <p:bodyStyle>
      <a:lvl1pPr marL="508787" marR="190495" indent="-508787" algn="l" defTabSz="412740" eaLnBrk="1" latinLnBrk="0" hangingPunct="1">
        <a:lnSpc>
          <a:spcPct val="100000"/>
        </a:lnSpc>
        <a:spcBef>
          <a:spcPts val="3467"/>
        </a:spcBef>
        <a:spcAft>
          <a:spcPts val="0"/>
        </a:spcAft>
        <a:buClr>
          <a:srgbClr val="007272"/>
        </a:buClr>
        <a:buSzPct val="100000"/>
        <a:buFont typeface="Wingdings" pitchFamily="2" charset="2"/>
        <a:buChar char="§"/>
        <a:tabLst/>
        <a:defRPr sz="2667" b="0" i="0" u="none" strike="noStrike" cap="none" spc="0" baseline="0">
          <a:solidFill>
            <a:schemeClr val="tx1"/>
          </a:solidFill>
          <a:uFillTx/>
          <a:latin typeface="Segoe UI" panose="020B0502040204020203" pitchFamily="34" charset="0"/>
          <a:ea typeface="+mn-ea"/>
          <a:cs typeface="Segoe UI" panose="020B0502040204020203" pitchFamily="34" charset="0"/>
          <a:sym typeface="segoe UI"/>
        </a:defRPr>
      </a:lvl1pPr>
      <a:lvl2pPr marL="1012775" marR="190495" indent="-508787" algn="l" defTabSz="412740" eaLnBrk="1" latinLnBrk="0" hangingPunct="1">
        <a:lnSpc>
          <a:spcPct val="100000"/>
        </a:lnSpc>
        <a:spcBef>
          <a:spcPts val="3467"/>
        </a:spcBef>
        <a:spcAft>
          <a:spcPts val="0"/>
        </a:spcAft>
        <a:buClr>
          <a:srgbClr val="007272"/>
        </a:buClr>
        <a:buSzPct val="100000"/>
        <a:buFont typeface="Wingdings" pitchFamily="2" charset="2"/>
        <a:buChar char="§"/>
        <a:tabLst/>
        <a:defRPr sz="2667" b="0" i="0" u="none" strike="noStrike" cap="none" spc="0" baseline="0">
          <a:solidFill>
            <a:schemeClr val="tx1"/>
          </a:solidFill>
          <a:uFillTx/>
          <a:latin typeface="Segoe UI" panose="020B0502040204020203" pitchFamily="34" charset="0"/>
          <a:ea typeface="+mn-ea"/>
          <a:cs typeface="Segoe UI" panose="020B0502040204020203" pitchFamily="34" charset="0"/>
          <a:sym typeface="segoe UI"/>
        </a:defRPr>
      </a:lvl2pPr>
      <a:lvl3pPr marL="1511962" marR="190495" indent="-508787" algn="l" defTabSz="412740" eaLnBrk="1" latinLnBrk="0" hangingPunct="1">
        <a:lnSpc>
          <a:spcPct val="100000"/>
        </a:lnSpc>
        <a:spcBef>
          <a:spcPts val="3467"/>
        </a:spcBef>
        <a:spcAft>
          <a:spcPts val="0"/>
        </a:spcAft>
        <a:buClr>
          <a:srgbClr val="007272"/>
        </a:buClr>
        <a:buSzPct val="100000"/>
        <a:buFont typeface="Wingdings" pitchFamily="2" charset="2"/>
        <a:buChar char="§"/>
        <a:tabLst/>
        <a:defRPr sz="2667" b="0" i="0" u="none" strike="noStrike" cap="none" spc="0" baseline="0">
          <a:solidFill>
            <a:schemeClr val="tx1"/>
          </a:solidFill>
          <a:uFillTx/>
          <a:latin typeface="Segoe UI" panose="020B0502040204020203" pitchFamily="34" charset="0"/>
          <a:ea typeface="+mn-ea"/>
          <a:cs typeface="Segoe UI" panose="020B0502040204020203" pitchFamily="34" charset="0"/>
          <a:sym typeface="segoe UI"/>
        </a:defRPr>
      </a:lvl3pPr>
      <a:lvl4pPr marL="2025549" marR="190495" indent="-508787" algn="l" defTabSz="412740" eaLnBrk="1" latinLnBrk="0" hangingPunct="1">
        <a:lnSpc>
          <a:spcPct val="100000"/>
        </a:lnSpc>
        <a:spcBef>
          <a:spcPts val="3467"/>
        </a:spcBef>
        <a:spcAft>
          <a:spcPts val="0"/>
        </a:spcAft>
        <a:buClr>
          <a:srgbClr val="007272"/>
        </a:buClr>
        <a:buSzPct val="100000"/>
        <a:buFont typeface="Wingdings" pitchFamily="2" charset="2"/>
        <a:buChar char="§"/>
        <a:tabLst/>
        <a:defRPr sz="2667" b="0" i="0" u="none" strike="noStrike" cap="none" spc="0" baseline="0">
          <a:solidFill>
            <a:schemeClr val="tx1"/>
          </a:solidFill>
          <a:uFillTx/>
          <a:latin typeface="Segoe UI" panose="020B0502040204020203" pitchFamily="34" charset="0"/>
          <a:ea typeface="+mn-ea"/>
          <a:cs typeface="Segoe UI" panose="020B0502040204020203" pitchFamily="34" charset="0"/>
          <a:sym typeface="segoe UI"/>
        </a:defRPr>
      </a:lvl4pPr>
      <a:lvl5pPr marL="2524737" marR="190495" indent="-508787" algn="l" defTabSz="412740" eaLnBrk="1" latinLnBrk="0" hangingPunct="1">
        <a:lnSpc>
          <a:spcPct val="100000"/>
        </a:lnSpc>
        <a:spcBef>
          <a:spcPts val="3467"/>
        </a:spcBef>
        <a:spcAft>
          <a:spcPts val="0"/>
        </a:spcAft>
        <a:buClr>
          <a:srgbClr val="007272"/>
        </a:buClr>
        <a:buSzPct val="100000"/>
        <a:buFont typeface="Wingdings" pitchFamily="2" charset="2"/>
        <a:buChar char="§"/>
        <a:tabLst/>
        <a:defRPr sz="2667" b="0" i="0" u="none" strike="noStrike" cap="none" spc="0" baseline="0">
          <a:solidFill>
            <a:schemeClr val="tx1"/>
          </a:solidFill>
          <a:uFillTx/>
          <a:latin typeface="Segoe UI" panose="020B0502040204020203" pitchFamily="34" charset="0"/>
          <a:ea typeface="+mn-ea"/>
          <a:cs typeface="Segoe UI" panose="020B0502040204020203" pitchFamily="34" charset="0"/>
          <a:sym typeface="segoe UI"/>
        </a:defRPr>
      </a:lvl5pPr>
      <a:lvl6pPr marL="1904952" marR="190495" indent="-317492" algn="l" defTabSz="412740" eaLnBrk="1" latinLnBrk="0" hangingPunct="1">
        <a:lnSpc>
          <a:spcPts val="1500"/>
        </a:lnSpc>
        <a:spcBef>
          <a:spcPts val="1700"/>
        </a:spcBef>
        <a:spcAft>
          <a:spcPts val="0"/>
        </a:spcAft>
        <a:buClrTx/>
        <a:buSzPct val="75000"/>
        <a:buFontTx/>
        <a:buChar char="•"/>
        <a:tabLst/>
        <a:defRPr sz="2600" b="0" i="0" u="none" strike="noStrike" cap="none" spc="0" baseline="0">
          <a:solidFill>
            <a:srgbClr val="FFFFFF"/>
          </a:solidFill>
          <a:uFillTx/>
          <a:latin typeface="+mn-lt"/>
          <a:ea typeface="+mn-ea"/>
          <a:cs typeface="+mn-cs"/>
          <a:sym typeface="segoe UI"/>
        </a:defRPr>
      </a:lvl6pPr>
      <a:lvl7pPr marL="2222444" marR="190495" indent="-317492" algn="l" defTabSz="412740" eaLnBrk="1" latinLnBrk="0" hangingPunct="1">
        <a:lnSpc>
          <a:spcPts val="1500"/>
        </a:lnSpc>
        <a:spcBef>
          <a:spcPts val="1700"/>
        </a:spcBef>
        <a:spcAft>
          <a:spcPts val="0"/>
        </a:spcAft>
        <a:buClrTx/>
        <a:buSzPct val="75000"/>
        <a:buFontTx/>
        <a:buChar char="•"/>
        <a:tabLst/>
        <a:defRPr sz="2600" b="0" i="0" u="none" strike="noStrike" cap="none" spc="0" baseline="0">
          <a:solidFill>
            <a:srgbClr val="FFFFFF"/>
          </a:solidFill>
          <a:uFillTx/>
          <a:latin typeface="+mn-lt"/>
          <a:ea typeface="+mn-ea"/>
          <a:cs typeface="+mn-cs"/>
          <a:sym typeface="segoe UI"/>
        </a:defRPr>
      </a:lvl7pPr>
      <a:lvl8pPr marL="2539937" marR="190495" indent="-317492" algn="l" defTabSz="412740" eaLnBrk="1" latinLnBrk="0" hangingPunct="1">
        <a:lnSpc>
          <a:spcPts val="1500"/>
        </a:lnSpc>
        <a:spcBef>
          <a:spcPts val="1700"/>
        </a:spcBef>
        <a:spcAft>
          <a:spcPts val="0"/>
        </a:spcAft>
        <a:buClrTx/>
        <a:buSzPct val="75000"/>
        <a:buFontTx/>
        <a:buChar char="•"/>
        <a:tabLst/>
        <a:defRPr sz="2600" b="0" i="0" u="none" strike="noStrike" cap="none" spc="0" baseline="0">
          <a:solidFill>
            <a:srgbClr val="FFFFFF"/>
          </a:solidFill>
          <a:uFillTx/>
          <a:latin typeface="+mn-lt"/>
          <a:ea typeface="+mn-ea"/>
          <a:cs typeface="+mn-cs"/>
          <a:sym typeface="segoe UI"/>
        </a:defRPr>
      </a:lvl8pPr>
      <a:lvl9pPr marL="2857429" marR="190495" indent="-317492" algn="l" defTabSz="412740" eaLnBrk="1" latinLnBrk="0" hangingPunct="1">
        <a:lnSpc>
          <a:spcPts val="1500"/>
        </a:lnSpc>
        <a:spcBef>
          <a:spcPts val="1700"/>
        </a:spcBef>
        <a:spcAft>
          <a:spcPts val="0"/>
        </a:spcAft>
        <a:buClrTx/>
        <a:buSzPct val="75000"/>
        <a:buFontTx/>
        <a:buChar char="•"/>
        <a:tabLst/>
        <a:defRPr sz="2600" b="0" i="0" u="none" strike="noStrike" cap="none" spc="0" baseline="0">
          <a:solidFill>
            <a:srgbClr val="FFFFFF"/>
          </a:solidFill>
          <a:uFillTx/>
          <a:latin typeface="+mn-lt"/>
          <a:ea typeface="+mn-ea"/>
          <a:cs typeface="+mn-cs"/>
          <a:sym typeface="segoe UI"/>
        </a:defRPr>
      </a:lvl9pPr>
    </p:bodyStyle>
    <p:otherStyle>
      <a:lvl1pPr marL="0" marR="0" indent="0" algn="ctr" defTabSz="41274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segoe UI"/>
        </a:defRPr>
      </a:lvl1pPr>
      <a:lvl2pPr marL="0" marR="0" indent="114297" algn="ctr" defTabSz="41274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segoe UI"/>
        </a:defRPr>
      </a:lvl2pPr>
      <a:lvl3pPr marL="0" marR="0" indent="228594" algn="ctr" defTabSz="41274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segoe UI"/>
        </a:defRPr>
      </a:lvl3pPr>
      <a:lvl4pPr marL="0" marR="0" indent="342891" algn="ctr" defTabSz="41274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segoe UI"/>
        </a:defRPr>
      </a:lvl4pPr>
      <a:lvl5pPr marL="0" marR="0" indent="457189" algn="ctr" defTabSz="41274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segoe UI"/>
        </a:defRPr>
      </a:lvl5pPr>
      <a:lvl6pPr marL="0" marR="0" indent="571486" algn="ctr" defTabSz="41274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segoe UI"/>
        </a:defRPr>
      </a:lvl6pPr>
      <a:lvl7pPr marL="0" marR="0" indent="685783" algn="ctr" defTabSz="41274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segoe UI"/>
        </a:defRPr>
      </a:lvl7pPr>
      <a:lvl8pPr marL="0" marR="0" indent="800080" algn="ctr" defTabSz="41274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segoe UI"/>
        </a:defRPr>
      </a:lvl8pPr>
      <a:lvl9pPr marL="0" marR="0" indent="914377" algn="ctr" defTabSz="41274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segoe UI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3" orient="horz" pos="1439">
          <p15:clr>
            <a:srgbClr val="F26B43"/>
          </p15:clr>
        </p15:guide>
        <p15:guide id="4" orient="horz" pos="1257">
          <p15:clr>
            <a:srgbClr val="F26B43"/>
          </p15:clr>
        </p15:guide>
        <p15:guide id="5" orient="horz" pos="1076">
          <p15:clr>
            <a:srgbClr val="F26B43"/>
          </p15:clr>
        </p15:guide>
        <p15:guide id="6" orient="horz" pos="894">
          <p15:clr>
            <a:srgbClr val="F26B43"/>
          </p15:clr>
        </p15:guide>
        <p15:guide id="7" orient="horz" pos="713">
          <p15:clr>
            <a:srgbClr val="F26B43"/>
          </p15:clr>
        </p15:guide>
        <p15:guide id="8" orient="horz" pos="554">
          <p15:clr>
            <a:srgbClr val="F26B43"/>
          </p15:clr>
        </p15:guide>
        <p15:guide id="9" orient="horz" pos="350">
          <p15:clr>
            <a:srgbClr val="F26B43"/>
          </p15:clr>
        </p15:guide>
        <p15:guide id="10" orient="horz" pos="191">
          <p15:clr>
            <a:srgbClr val="F26B43"/>
          </p15:clr>
        </p15:guide>
        <p15:guide id="11" orient="horz" pos="1801">
          <p15:clr>
            <a:srgbClr val="F26B43"/>
          </p15:clr>
        </p15:guide>
        <p15:guide id="12" orient="horz" pos="1983">
          <p15:clr>
            <a:srgbClr val="F26B43"/>
          </p15:clr>
        </p15:guide>
        <p15:guide id="13" orient="horz" pos="2164">
          <p15:clr>
            <a:srgbClr val="F26B43"/>
          </p15:clr>
        </p15:guide>
        <p15:guide id="14" orient="horz" pos="2346">
          <p15:clr>
            <a:srgbClr val="F26B43"/>
          </p15:clr>
        </p15:guide>
        <p15:guide id="15" orient="horz" pos="2527">
          <p15:clr>
            <a:srgbClr val="F26B43"/>
          </p15:clr>
        </p15:guide>
        <p15:guide id="16" orient="horz" pos="2709">
          <p15:clr>
            <a:srgbClr val="F26B43"/>
          </p15:clr>
        </p15:guide>
        <p15:guide id="17" orient="horz" pos="2890">
          <p15:clr>
            <a:srgbClr val="F26B43"/>
          </p15:clr>
        </p15:guide>
        <p15:guide id="18" orient="horz" pos="3072">
          <p15:clr>
            <a:srgbClr val="F26B43"/>
          </p15:clr>
        </p15:guide>
        <p15:guide id="19" pos="181">
          <p15:clr>
            <a:srgbClr val="F26B43"/>
          </p15:clr>
        </p15:guide>
        <p15:guide id="20" pos="1066">
          <p15:clr>
            <a:srgbClr val="F26B43"/>
          </p15:clr>
        </p15:guide>
        <p15:guide id="21" pos="1973">
          <p15:clr>
            <a:srgbClr val="F26B43"/>
          </p15:clr>
        </p15:guide>
        <p15:guide id="22" pos="3787">
          <p15:clr>
            <a:srgbClr val="F26B43"/>
          </p15:clr>
        </p15:guide>
        <p15:guide id="23" pos="4672">
          <p15:clr>
            <a:srgbClr val="F26B43"/>
          </p15:clr>
        </p15:guide>
        <p15:guide id="24" pos="5579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6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b="0" i="0">
                <a:solidFill>
                  <a:schemeClr val="tx1">
                    <a:tint val="75000"/>
                  </a:schemeClr>
                </a:solidFill>
                <a:latin typeface="Helvetica Neue Light" charset="0"/>
              </a:defRPr>
            </a:lvl1pPr>
          </a:lstStyle>
          <a:p>
            <a:fld id="{D15115B5-22B3-3341-8606-329944385CDD}" type="datetimeFigureOut">
              <a:rPr lang="en-US" smtClean="0"/>
              <a:pPr/>
              <a:t>5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6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tx1">
                    <a:tint val="75000"/>
                  </a:schemeClr>
                </a:solidFill>
                <a:latin typeface="Helvetica Neue Light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6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Helvetica Neue Light" charset="0"/>
              </a:defRPr>
            </a:lvl1pPr>
          </a:lstStyle>
          <a:p>
            <a:fld id="{9FB0F1FF-46A1-4F4C-A154-7A0A3DE72A3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80570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4" r:id="rId3"/>
    <p:sldLayoutId id="2147483795" r:id="rId4"/>
    <p:sldLayoutId id="2147483796" r:id="rId5"/>
    <p:sldLayoutId id="2147483797" r:id="rId6"/>
    <p:sldLayoutId id="2147483798" r:id="rId7"/>
    <p:sldLayoutId id="2147483799" r:id="rId8"/>
    <p:sldLayoutId id="2147483800" r:id="rId9"/>
    <p:sldLayoutId id="2147483801" r:id="rId10"/>
    <p:sldLayoutId id="2147483802" r:id="rId11"/>
  </p:sldLayoutIdLst>
  <p:txStyles>
    <p:titleStyle>
      <a:lvl1pPr algn="l" defTabSz="685766" rtl="0" eaLnBrk="1" latinLnBrk="0" hangingPunct="1">
        <a:lnSpc>
          <a:spcPct val="90000"/>
        </a:lnSpc>
        <a:spcBef>
          <a:spcPct val="0"/>
        </a:spcBef>
        <a:buNone/>
        <a:defRPr sz="3300" b="0" i="0" kern="1200">
          <a:solidFill>
            <a:schemeClr val="tx1"/>
          </a:solidFill>
          <a:latin typeface="Helvetica Neue Light" charset="0"/>
          <a:ea typeface="+mj-ea"/>
          <a:cs typeface="+mj-cs"/>
        </a:defRPr>
      </a:lvl1pPr>
    </p:titleStyle>
    <p:bodyStyle>
      <a:lvl1pPr marL="171442" indent="-171442" algn="l" defTabSz="685766" rtl="0" eaLnBrk="1" latinLnBrk="0" hangingPunct="1">
        <a:lnSpc>
          <a:spcPct val="90000"/>
        </a:lnSpc>
        <a:spcBef>
          <a:spcPts val="751"/>
        </a:spcBef>
        <a:buFont typeface="Arial"/>
        <a:buChar char="•"/>
        <a:defRPr sz="2100" b="0" i="0" kern="1200">
          <a:solidFill>
            <a:schemeClr val="tx1"/>
          </a:solidFill>
          <a:latin typeface="Helvetica Neue Light" charset="0"/>
          <a:ea typeface="+mn-ea"/>
          <a:cs typeface="+mn-cs"/>
        </a:defRPr>
      </a:lvl1pPr>
      <a:lvl2pPr marL="514326" indent="-171442" algn="l" defTabSz="685766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800" b="0" i="0" kern="1200">
          <a:solidFill>
            <a:schemeClr val="tx1"/>
          </a:solidFill>
          <a:latin typeface="Helvetica Neue Light" charset="0"/>
          <a:ea typeface="+mn-ea"/>
          <a:cs typeface="+mn-cs"/>
        </a:defRPr>
      </a:lvl2pPr>
      <a:lvl3pPr marL="857208" indent="-171442" algn="l" defTabSz="685766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500" b="0" i="0" kern="1200">
          <a:solidFill>
            <a:schemeClr val="tx1"/>
          </a:solidFill>
          <a:latin typeface="Helvetica Neue Light" charset="0"/>
          <a:ea typeface="+mn-ea"/>
          <a:cs typeface="+mn-cs"/>
        </a:defRPr>
      </a:lvl3pPr>
      <a:lvl4pPr marL="1200091" indent="-171442" algn="l" defTabSz="685766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1" b="0" i="0" kern="1200">
          <a:solidFill>
            <a:schemeClr val="tx1"/>
          </a:solidFill>
          <a:latin typeface="Helvetica Neue Light" charset="0"/>
          <a:ea typeface="+mn-ea"/>
          <a:cs typeface="+mn-cs"/>
        </a:defRPr>
      </a:lvl4pPr>
      <a:lvl5pPr marL="1542973" indent="-171442" algn="l" defTabSz="685766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1" b="0" i="0" kern="1200">
          <a:solidFill>
            <a:schemeClr val="tx1"/>
          </a:solidFill>
          <a:latin typeface="Helvetica Neue Light" charset="0"/>
          <a:ea typeface="+mn-ea"/>
          <a:cs typeface="+mn-cs"/>
        </a:defRPr>
      </a:lvl5pPr>
      <a:lvl6pPr marL="1885857" indent="-171442" algn="l" defTabSz="685766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228739" indent="-171442" algn="l" defTabSz="685766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571622" indent="-171442" algn="l" defTabSz="685766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914506" indent="-171442" algn="l" defTabSz="685766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66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2882" algn="l" defTabSz="685766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5766" algn="l" defTabSz="685766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8649" algn="l" defTabSz="685766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1532" algn="l" defTabSz="685766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4414" algn="l" defTabSz="685766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7298" algn="l" defTabSz="685766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0180" algn="l" defTabSz="685766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3062" algn="l" defTabSz="685766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C1F79B5-539C-496D-91D9-1E769C343FA7}" type="datetimeFigureOut">
              <a:rPr lang="nb-NO" smtClean="0"/>
              <a:pPr/>
              <a:t>04.05.2022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B8C954-5965-4531-896B-DE1AB9F6300A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531059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4" r:id="rId1"/>
    <p:sldLayoutId id="2147483805" r:id="rId2"/>
    <p:sldLayoutId id="2147483806" r:id="rId3"/>
    <p:sldLayoutId id="2147483807" r:id="rId4"/>
    <p:sldLayoutId id="2147483808" r:id="rId5"/>
    <p:sldLayoutId id="2147483809" r:id="rId6"/>
    <p:sldLayoutId id="2147483810" r:id="rId7"/>
    <p:sldLayoutId id="2147483811" r:id="rId8"/>
    <p:sldLayoutId id="2147483812" r:id="rId9"/>
    <p:sldLayoutId id="2147483813" r:id="rId10"/>
    <p:sldLayoutId id="2147483814" r:id="rId11"/>
    <p:sldLayoutId id="2147483815" r:id="rId12"/>
    <p:sldLayoutId id="2147483816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9F2A6955-526F-48CD-BD76-59F17B603A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20AB55B-6C70-417F-B68B-2AF8A7B34D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97983D5F-0C8D-42E1-8213-3BC626BBF1D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62834F-D9A8-4A10-A623-55CAB7E29C4E}" type="datetimeFigureOut">
              <a:rPr lang="nb-NO" smtClean="0"/>
              <a:t>04.05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93A14444-23A4-4151-A3B8-9146AC65C3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A0710E9F-6ACD-474E-A4BE-AB627B300D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01BAB98-BA08-4E40-B8F7-58F7500F9A3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150607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  <p:sldLayoutId id="2147483824" r:id="rId7"/>
    <p:sldLayoutId id="2147483825" r:id="rId8"/>
    <p:sldLayoutId id="2147483826" r:id="rId9"/>
    <p:sldLayoutId id="2147483827" r:id="rId10"/>
    <p:sldLayoutId id="2147483828" r:id="rId11"/>
    <p:sldLayoutId id="214748382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6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jpeg"/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125.xml"/><Relationship Id="rId6" Type="http://schemas.openxmlformats.org/officeDocument/2006/relationships/image" Target="../media/image83.png"/><Relationship Id="rId5" Type="http://schemas.openxmlformats.org/officeDocument/2006/relationships/image" Target="../media/image82.png"/><Relationship Id="rId4" Type="http://schemas.openxmlformats.org/officeDocument/2006/relationships/image" Target="../media/image8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12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chart" Target="../charts/chart5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8.xml"/><Relationship Id="rId6" Type="http://schemas.openxmlformats.org/officeDocument/2006/relationships/image" Target="../media/image6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12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7" Type="http://schemas.openxmlformats.org/officeDocument/2006/relationships/image" Target="../media/image68.jpeg"/><Relationship Id="rId2" Type="http://schemas.openxmlformats.org/officeDocument/2006/relationships/hyperlink" Target="http://www.google.no/url?sa=i&amp;rct=j&amp;q=&amp;esrc=s&amp;source=images&amp;cd=&amp;cad=rja&amp;uact=8&amp;ved=0ahUKEwjpydCkk7_TAhUCEpoKHQ6YCcwQjRwIBw&amp;url=http://carl-gustav.oberg.io/seo-e-handel-de-vanliga-problemen/&amp;psig=AFQjCNEti04VGZcomXbxVeOj_tE4-DL_9w&amp;ust=1493194000628265" TargetMode="External"/><Relationship Id="rId1" Type="http://schemas.openxmlformats.org/officeDocument/2006/relationships/slideLayout" Target="../slideLayouts/slideLayout125.xml"/><Relationship Id="rId6" Type="http://schemas.openxmlformats.org/officeDocument/2006/relationships/image" Target="../media/image85.jpeg"/><Relationship Id="rId5" Type="http://schemas.openxmlformats.org/officeDocument/2006/relationships/hyperlink" Target="http://kart.finn.no/" TargetMode="External"/><Relationship Id="rId4" Type="http://schemas.openxmlformats.org/officeDocument/2006/relationships/image" Target="../media/image84.emf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13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sv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86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9.xml"/><Relationship Id="rId6" Type="http://schemas.openxmlformats.org/officeDocument/2006/relationships/image" Target="../media/image68.jpeg"/><Relationship Id="rId5" Type="http://schemas.openxmlformats.org/officeDocument/2006/relationships/image" Target="../media/image1.emf"/><Relationship Id="rId10" Type="http://schemas.openxmlformats.org/officeDocument/2006/relationships/image" Target="../media/image89.svg"/><Relationship Id="rId4" Type="http://schemas.openxmlformats.org/officeDocument/2006/relationships/oleObject" Target="../embeddings/oleObject44.bin"/><Relationship Id="rId9" Type="http://schemas.openxmlformats.org/officeDocument/2006/relationships/image" Target="../media/image8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1.xml"/><Relationship Id="rId4" Type="http://schemas.openxmlformats.org/officeDocument/2006/relationships/image" Target="../media/image9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14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91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0.xml"/><Relationship Id="rId6" Type="http://schemas.openxmlformats.org/officeDocument/2006/relationships/image" Target="../media/image6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92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1.xml"/><Relationship Id="rId6" Type="http://schemas.openxmlformats.org/officeDocument/2006/relationships/image" Target="../media/image6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chart" Target="../charts/chart9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2.xml"/><Relationship Id="rId6" Type="http://schemas.openxmlformats.org/officeDocument/2006/relationships/image" Target="../media/image6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chart" Target="../charts/chart10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3.xml"/><Relationship Id="rId6" Type="http://schemas.openxmlformats.org/officeDocument/2006/relationships/image" Target="../media/image6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8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93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4.xml"/><Relationship Id="rId6" Type="http://schemas.openxmlformats.org/officeDocument/2006/relationships/image" Target="../media/image6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7" Type="http://schemas.openxmlformats.org/officeDocument/2006/relationships/chart" Target="../charts/chart1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5.xml"/><Relationship Id="rId6" Type="http://schemas.openxmlformats.org/officeDocument/2006/relationships/image" Target="../media/image6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5.jpe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9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6.xml"/><Relationship Id="rId6" Type="http://schemas.openxmlformats.org/officeDocument/2006/relationships/image" Target="../media/image6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svg"/><Relationship Id="rId3" Type="http://schemas.openxmlformats.org/officeDocument/2006/relationships/image" Target="../media/image96.png"/><Relationship Id="rId7" Type="http://schemas.openxmlformats.org/officeDocument/2006/relationships/image" Target="../media/image9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8.svg"/><Relationship Id="rId5" Type="http://schemas.openxmlformats.org/officeDocument/2006/relationships/image" Target="../media/image97.png"/><Relationship Id="rId4" Type="http://schemas.openxmlformats.org/officeDocument/2006/relationships/image" Target="../media/image68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1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Layout" Target="../slideLayouts/slideLayout194.xml"/><Relationship Id="rId1" Type="http://schemas.openxmlformats.org/officeDocument/2006/relationships/tags" Target="../tags/tag77.xml"/><Relationship Id="rId5" Type="http://schemas.openxmlformats.org/officeDocument/2006/relationships/image" Target="../media/image102.png"/><Relationship Id="rId4" Type="http://schemas.openxmlformats.org/officeDocument/2006/relationships/image" Target="../media/image19.emf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6.wmf"/><Relationship Id="rId3" Type="http://schemas.openxmlformats.org/officeDocument/2006/relationships/oleObject" Target="../embeddings/oleObject53.bin"/><Relationship Id="rId7" Type="http://schemas.openxmlformats.org/officeDocument/2006/relationships/image" Target="../media/image105.png"/><Relationship Id="rId2" Type="http://schemas.openxmlformats.org/officeDocument/2006/relationships/slideLayout" Target="../slideLayouts/slideLayout194.xml"/><Relationship Id="rId1" Type="http://schemas.openxmlformats.org/officeDocument/2006/relationships/tags" Target="../tags/tag78.xml"/><Relationship Id="rId6" Type="http://schemas.openxmlformats.org/officeDocument/2006/relationships/image" Target="../media/image104.jpeg"/><Relationship Id="rId5" Type="http://schemas.openxmlformats.org/officeDocument/2006/relationships/image" Target="../media/image103.jpeg"/><Relationship Id="rId10" Type="http://schemas.openxmlformats.org/officeDocument/2006/relationships/image" Target="../media/image108.jpeg"/><Relationship Id="rId4" Type="http://schemas.openxmlformats.org/officeDocument/2006/relationships/image" Target="../media/image19.emf"/><Relationship Id="rId9" Type="http://schemas.openxmlformats.org/officeDocument/2006/relationships/image" Target="../media/image107.jpe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4.xml"/><Relationship Id="rId3" Type="http://schemas.openxmlformats.org/officeDocument/2006/relationships/slideLayout" Target="../slideLayouts/slideLayout194.xml"/><Relationship Id="rId7" Type="http://schemas.openxmlformats.org/officeDocument/2006/relationships/chart" Target="../charts/chart13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54.bin"/><Relationship Id="rId4" Type="http://schemas.openxmlformats.org/officeDocument/2006/relationships/notesSlide" Target="../notesSlides/notesSlide17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6.xml"/><Relationship Id="rId3" Type="http://schemas.openxmlformats.org/officeDocument/2006/relationships/notesSlide" Target="../notesSlides/notesSlide18.xml"/><Relationship Id="rId7" Type="http://schemas.openxmlformats.org/officeDocument/2006/relationships/chart" Target="../charts/chart15.xml"/><Relationship Id="rId2" Type="http://schemas.openxmlformats.org/officeDocument/2006/relationships/slideLayout" Target="../slideLayouts/slideLayout213.xml"/><Relationship Id="rId1" Type="http://schemas.openxmlformats.org/officeDocument/2006/relationships/tags" Target="../tags/tag81.xml"/><Relationship Id="rId6" Type="http://schemas.openxmlformats.org/officeDocument/2006/relationships/image" Target="../media/image109.jpe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55.bin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tags" Target="../tags/tag84.xml"/><Relationship Id="rId7" Type="http://schemas.openxmlformats.org/officeDocument/2006/relationships/oleObject" Target="../embeddings/oleObject56.bin"/><Relationship Id="rId12" Type="http://schemas.openxmlformats.org/officeDocument/2006/relationships/chart" Target="../charts/chart20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slideLayout" Target="../slideLayouts/slideLayout194.xml"/><Relationship Id="rId11" Type="http://schemas.openxmlformats.org/officeDocument/2006/relationships/chart" Target="../charts/chart19.xml"/><Relationship Id="rId5" Type="http://schemas.openxmlformats.org/officeDocument/2006/relationships/tags" Target="../tags/tag86.xml"/><Relationship Id="rId10" Type="http://schemas.openxmlformats.org/officeDocument/2006/relationships/chart" Target="../charts/chart18.xml"/><Relationship Id="rId4" Type="http://schemas.openxmlformats.org/officeDocument/2006/relationships/tags" Target="../tags/tag85.xml"/><Relationship Id="rId9" Type="http://schemas.openxmlformats.org/officeDocument/2006/relationships/chart" Target="../charts/chart1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lver.kommune.no/innhald/plan-bygg-og-eiendom/planar-omrade-tema/" TargetMode="Externa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25.xml"/><Relationship Id="rId4" Type="http://schemas.openxmlformats.org/officeDocument/2006/relationships/image" Target="../media/image110.jpeg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1.jpeg"/><Relationship Id="rId1" Type="http://schemas.openxmlformats.org/officeDocument/2006/relationships/slideLayout" Target="../slideLayouts/slideLayout23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2.png"/><Relationship Id="rId1" Type="http://schemas.openxmlformats.org/officeDocument/2006/relationships/slideLayout" Target="../slideLayouts/slideLayout234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5.png"/><Relationship Id="rId13" Type="http://schemas.openxmlformats.org/officeDocument/2006/relationships/image" Target="../media/image120.svg"/><Relationship Id="rId18" Type="http://schemas.openxmlformats.org/officeDocument/2006/relationships/image" Target="../media/image125.svg"/><Relationship Id="rId3" Type="http://schemas.openxmlformats.org/officeDocument/2006/relationships/slideLayout" Target="../slideLayouts/slideLayout194.xml"/><Relationship Id="rId7" Type="http://schemas.openxmlformats.org/officeDocument/2006/relationships/image" Target="../media/image114.png"/><Relationship Id="rId12" Type="http://schemas.openxmlformats.org/officeDocument/2006/relationships/image" Target="../media/image119.png"/><Relationship Id="rId17" Type="http://schemas.openxmlformats.org/officeDocument/2006/relationships/image" Target="../media/image124.png"/><Relationship Id="rId2" Type="http://schemas.openxmlformats.org/officeDocument/2006/relationships/tags" Target="../tags/tag88.xml"/><Relationship Id="rId16" Type="http://schemas.openxmlformats.org/officeDocument/2006/relationships/image" Target="../media/image123.png"/><Relationship Id="rId1" Type="http://schemas.openxmlformats.org/officeDocument/2006/relationships/tags" Target="../tags/tag87.xml"/><Relationship Id="rId6" Type="http://schemas.openxmlformats.org/officeDocument/2006/relationships/image" Target="../media/image113.emf"/><Relationship Id="rId11" Type="http://schemas.openxmlformats.org/officeDocument/2006/relationships/image" Target="../media/image118.svg"/><Relationship Id="rId5" Type="http://schemas.openxmlformats.org/officeDocument/2006/relationships/oleObject" Target="../embeddings/oleObject57.bin"/><Relationship Id="rId15" Type="http://schemas.openxmlformats.org/officeDocument/2006/relationships/image" Target="../media/image122.svg"/><Relationship Id="rId10" Type="http://schemas.openxmlformats.org/officeDocument/2006/relationships/image" Target="../media/image117.png"/><Relationship Id="rId4" Type="http://schemas.openxmlformats.org/officeDocument/2006/relationships/notesSlide" Target="../notesSlides/notesSlide20.xml"/><Relationship Id="rId9" Type="http://schemas.openxmlformats.org/officeDocument/2006/relationships/image" Target="../media/image116.svg"/><Relationship Id="rId14" Type="http://schemas.openxmlformats.org/officeDocument/2006/relationships/image" Target="../media/image12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136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7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9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6.png"/><Relationship Id="rId1" Type="http://schemas.openxmlformats.org/officeDocument/2006/relationships/slideLayout" Target="../slideLayouts/slideLayout18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8.png"/><Relationship Id="rId2" Type="http://schemas.openxmlformats.org/officeDocument/2006/relationships/image" Target="../media/image127.png"/><Relationship Id="rId1" Type="http://schemas.openxmlformats.org/officeDocument/2006/relationships/slideLayout" Target="../slideLayouts/slideLayout185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9.jpeg"/><Relationship Id="rId1" Type="http://schemas.openxmlformats.org/officeDocument/2006/relationships/slideLayout" Target="../slideLayouts/slideLayout18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1.jpeg"/><Relationship Id="rId2" Type="http://schemas.openxmlformats.org/officeDocument/2006/relationships/image" Target="../media/image130.jpeg"/><Relationship Id="rId1" Type="http://schemas.openxmlformats.org/officeDocument/2006/relationships/slideLayout" Target="../slideLayouts/slideLayout18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3.png"/><Relationship Id="rId2" Type="http://schemas.openxmlformats.org/officeDocument/2006/relationships/image" Target="../media/image132.jpeg"/><Relationship Id="rId1" Type="http://schemas.openxmlformats.org/officeDocument/2006/relationships/slideLayout" Target="../slideLayouts/slideLayout18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4.png"/><Relationship Id="rId1" Type="http://schemas.openxmlformats.org/officeDocument/2006/relationships/slideLayout" Target="../slideLayouts/slideLayout18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4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125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5.png"/><Relationship Id="rId1" Type="http://schemas.openxmlformats.org/officeDocument/2006/relationships/slideLayout" Target="../slideLayouts/slideLayout258.xml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5.png"/><Relationship Id="rId3" Type="http://schemas.openxmlformats.org/officeDocument/2006/relationships/notesSlide" Target="../notesSlides/notesSlide21.xml"/><Relationship Id="rId7" Type="http://schemas.openxmlformats.org/officeDocument/2006/relationships/image" Target="../media/image137.jpeg"/><Relationship Id="rId2" Type="http://schemas.openxmlformats.org/officeDocument/2006/relationships/slideLayout" Target="../slideLayouts/slideLayout272.xml"/><Relationship Id="rId1" Type="http://schemas.openxmlformats.org/officeDocument/2006/relationships/tags" Target="../tags/tag89.xml"/><Relationship Id="rId6" Type="http://schemas.openxmlformats.org/officeDocument/2006/relationships/image" Target="../media/image136.jpeg"/><Relationship Id="rId11" Type="http://schemas.openxmlformats.org/officeDocument/2006/relationships/image" Target="../media/image138.jpeg"/><Relationship Id="rId5" Type="http://schemas.openxmlformats.org/officeDocument/2006/relationships/image" Target="../media/image19.emf"/><Relationship Id="rId10" Type="http://schemas.openxmlformats.org/officeDocument/2006/relationships/image" Target="../media/image107.jpeg"/><Relationship Id="rId4" Type="http://schemas.openxmlformats.org/officeDocument/2006/relationships/oleObject" Target="../embeddings/oleObject58.bin"/><Relationship Id="rId9" Type="http://schemas.openxmlformats.org/officeDocument/2006/relationships/image" Target="../media/image106.wmf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2.xml"/><Relationship Id="rId3" Type="http://schemas.openxmlformats.org/officeDocument/2006/relationships/slideLayout" Target="../slideLayouts/slideLayout279.xml"/><Relationship Id="rId7" Type="http://schemas.openxmlformats.org/officeDocument/2006/relationships/chart" Target="../charts/chart21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59.bin"/><Relationship Id="rId4" Type="http://schemas.openxmlformats.org/officeDocument/2006/relationships/notesSlide" Target="../notesSlides/notesSlide2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9.png"/><Relationship Id="rId1" Type="http://schemas.openxmlformats.org/officeDocument/2006/relationships/slideLayout" Target="../slideLayouts/slideLayout286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0.png"/><Relationship Id="rId1" Type="http://schemas.openxmlformats.org/officeDocument/2006/relationships/slideLayout" Target="../slideLayouts/slideLayout286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1.png"/><Relationship Id="rId1" Type="http://schemas.openxmlformats.org/officeDocument/2006/relationships/slideLayout" Target="../slideLayouts/slideLayout279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2.png"/><Relationship Id="rId1" Type="http://schemas.openxmlformats.org/officeDocument/2006/relationships/slideLayout" Target="../slideLayouts/slideLayout286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4.png"/><Relationship Id="rId2" Type="http://schemas.openxmlformats.org/officeDocument/2006/relationships/image" Target="../media/image143.png"/><Relationship Id="rId1" Type="http://schemas.openxmlformats.org/officeDocument/2006/relationships/slideLayout" Target="../slideLayouts/slideLayout287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4.png"/><Relationship Id="rId2" Type="http://schemas.openxmlformats.org/officeDocument/2006/relationships/image" Target="../media/image143.png"/><Relationship Id="rId1" Type="http://schemas.openxmlformats.org/officeDocument/2006/relationships/slideLayout" Target="../slideLayouts/slideLayout287.xml"/><Relationship Id="rId4" Type="http://schemas.openxmlformats.org/officeDocument/2006/relationships/image" Target="../media/image145.png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6.jpeg"/><Relationship Id="rId1" Type="http://schemas.openxmlformats.org/officeDocument/2006/relationships/slideLayout" Target="../slideLayouts/slideLayout28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71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6.xml"/><Relationship Id="rId6" Type="http://schemas.openxmlformats.org/officeDocument/2006/relationships/image" Target="../media/image6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7.tiff"/><Relationship Id="rId1" Type="http://schemas.openxmlformats.org/officeDocument/2006/relationships/slideLayout" Target="../slideLayouts/slideLayout288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9.jpeg"/><Relationship Id="rId7" Type="http://schemas.openxmlformats.org/officeDocument/2006/relationships/image" Target="../media/image153.png"/><Relationship Id="rId2" Type="http://schemas.openxmlformats.org/officeDocument/2006/relationships/image" Target="../media/image148.jpeg"/><Relationship Id="rId1" Type="http://schemas.openxmlformats.org/officeDocument/2006/relationships/slideLayout" Target="../slideLayouts/slideLayout288.xml"/><Relationship Id="rId6" Type="http://schemas.openxmlformats.org/officeDocument/2006/relationships/image" Target="../media/image152.png"/><Relationship Id="rId5" Type="http://schemas.openxmlformats.org/officeDocument/2006/relationships/image" Target="../media/image151.png"/><Relationship Id="rId4" Type="http://schemas.openxmlformats.org/officeDocument/2006/relationships/image" Target="../media/image150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4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88.xml"/><Relationship Id="rId5" Type="http://schemas.openxmlformats.org/officeDocument/2006/relationships/image" Target="../media/image156.jpeg"/><Relationship Id="rId4" Type="http://schemas.openxmlformats.org/officeDocument/2006/relationships/image" Target="../media/image155.png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7.jpeg"/><Relationship Id="rId1" Type="http://schemas.openxmlformats.org/officeDocument/2006/relationships/slideLayout" Target="../slideLayouts/slideLayout288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8.png"/><Relationship Id="rId1" Type="http://schemas.openxmlformats.org/officeDocument/2006/relationships/slideLayout" Target="../slideLayouts/slideLayout288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7" Type="http://schemas.openxmlformats.org/officeDocument/2006/relationships/image" Target="../media/image160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2.xml"/><Relationship Id="rId6" Type="http://schemas.openxmlformats.org/officeDocument/2006/relationships/image" Target="../media/image159.jpeg"/><Relationship Id="rId5" Type="http://schemas.openxmlformats.org/officeDocument/2006/relationships/image" Target="../media/image68.jpeg"/><Relationship Id="rId4" Type="http://schemas.openxmlformats.org/officeDocument/2006/relationships/image" Target="../media/image1.emf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1.png"/><Relationship Id="rId1" Type="http://schemas.openxmlformats.org/officeDocument/2006/relationships/slideLayout" Target="../slideLayouts/slideLayout304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2.jpeg"/><Relationship Id="rId1" Type="http://schemas.openxmlformats.org/officeDocument/2006/relationships/slideLayout" Target="../slideLayouts/slideLayout304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3.png"/><Relationship Id="rId1" Type="http://schemas.openxmlformats.org/officeDocument/2006/relationships/slideLayout" Target="../slideLayouts/slideLayout304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4.png"/><Relationship Id="rId1" Type="http://schemas.openxmlformats.org/officeDocument/2006/relationships/slideLayout" Target="../slideLayouts/slideLayout30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5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5.png"/><Relationship Id="rId1" Type="http://schemas.openxmlformats.org/officeDocument/2006/relationships/slideLayout" Target="../slideLayouts/slideLayout317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6.emf"/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7.png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8.png"/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9.png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326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1.emf"/><Relationship Id="rId2" Type="http://schemas.openxmlformats.org/officeDocument/2006/relationships/image" Target="../media/image170.png"/><Relationship Id="rId1" Type="http://schemas.openxmlformats.org/officeDocument/2006/relationships/slideLayout" Target="../slideLayouts/slideLayout287.xml"/><Relationship Id="rId5" Type="http://schemas.openxmlformats.org/officeDocument/2006/relationships/image" Target="../media/image173.emf"/><Relationship Id="rId4" Type="http://schemas.openxmlformats.org/officeDocument/2006/relationships/image" Target="../media/image172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png"/><Relationship Id="rId13" Type="http://schemas.openxmlformats.org/officeDocument/2006/relationships/image" Target="../media/image76.jpeg"/><Relationship Id="rId3" Type="http://schemas.openxmlformats.org/officeDocument/2006/relationships/notesSlide" Target="../notesSlides/notesSlide3.xml"/><Relationship Id="rId7" Type="http://schemas.microsoft.com/office/2007/relationships/hdphoto" Target="../media/hdphoto1.wdp"/><Relationship Id="rId12" Type="http://schemas.openxmlformats.org/officeDocument/2006/relationships/image" Target="../media/image68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7.xml"/><Relationship Id="rId6" Type="http://schemas.openxmlformats.org/officeDocument/2006/relationships/image" Target="../media/image73.png"/><Relationship Id="rId11" Type="http://schemas.openxmlformats.org/officeDocument/2006/relationships/chart" Target="../charts/chart2.xml"/><Relationship Id="rId5" Type="http://schemas.openxmlformats.org/officeDocument/2006/relationships/image" Target="../media/image1.emf"/><Relationship Id="rId10" Type="http://schemas.openxmlformats.org/officeDocument/2006/relationships/image" Target="../media/image75.png"/><Relationship Id="rId4" Type="http://schemas.openxmlformats.org/officeDocument/2006/relationships/oleObject" Target="../embeddings/oleObject41.bin"/><Relationship Id="rId9" Type="http://schemas.microsoft.com/office/2007/relationships/hdphoto" Target="../media/hdphoto2.wdp"/><Relationship Id="rId14" Type="http://schemas.openxmlformats.org/officeDocument/2006/relationships/chart" Target="../charts/char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125.xml"/><Relationship Id="rId5" Type="http://schemas.openxmlformats.org/officeDocument/2006/relationships/image" Target="../media/image79.png"/><Relationship Id="rId4" Type="http://schemas.openxmlformats.org/officeDocument/2006/relationships/image" Target="../media/image7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 descr="Et bilde som inneholder himmel, fjell, utendørs, natur&#10;&#10;Automatisk generert beskrivelse">
            <a:extLst>
              <a:ext uri="{FF2B5EF4-FFF2-40B4-BE49-F238E27FC236}">
                <a16:creationId xmlns:a16="http://schemas.microsoft.com/office/drawing/2014/main" id="{762C2751-EDBD-4B26-AC0B-2C68EB1F84E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40" b="8756"/>
          <a:stretch/>
        </p:blipFill>
        <p:spPr>
          <a:xfrm>
            <a:off x="-2" y="9144"/>
            <a:ext cx="12195807" cy="6858000"/>
          </a:xfrm>
          <a:prstGeom prst="rect">
            <a:avLst/>
          </a:prstGeom>
        </p:spPr>
      </p:pic>
      <p:sp>
        <p:nvSpPr>
          <p:cNvPr id="5" name="Rektangel 4">
            <a:extLst>
              <a:ext uri="{FF2B5EF4-FFF2-40B4-BE49-F238E27FC236}">
                <a16:creationId xmlns:a16="http://schemas.microsoft.com/office/drawing/2014/main" id="{065FDF66-6751-4034-BD64-8D4D0E7FE9B0}"/>
              </a:ext>
            </a:extLst>
          </p:cNvPr>
          <p:cNvSpPr/>
          <p:nvPr/>
        </p:nvSpPr>
        <p:spPr>
          <a:xfrm>
            <a:off x="-2" y="843833"/>
            <a:ext cx="1219199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b-NO" sz="4000" b="1" dirty="0">
                <a:solidFill>
                  <a:schemeClr val="bg1"/>
                </a:solidFill>
                <a:latin typeface="Helvetica Neue Light"/>
                <a:ea typeface="Calibri" panose="020F0502020204030204" pitchFamily="34" charset="0"/>
                <a:cs typeface="Arial" panose="020B0604020202020204" pitchFamily="34" charset="0"/>
              </a:rPr>
              <a:t>NÆRINGSEIENDOM 2022</a:t>
            </a:r>
            <a:endParaRPr lang="nb-NO" sz="4000" b="1" dirty="0">
              <a:solidFill>
                <a:schemeClr val="bg1"/>
              </a:solidFill>
              <a:latin typeface="Helvetica Neue Light"/>
              <a:cs typeface="Arial" panose="020B0604020202020204" pitchFamily="34" charset="0"/>
            </a:endParaRPr>
          </a:p>
        </p:txBody>
      </p:sp>
      <p:pic>
        <p:nvPicPr>
          <p:cNvPr id="9" name="Bilde 8" descr="Et bilde som inneholder tekst&#10;&#10;Automatisk generert beskrivelse">
            <a:extLst>
              <a:ext uri="{FF2B5EF4-FFF2-40B4-BE49-F238E27FC236}">
                <a16:creationId xmlns:a16="http://schemas.microsoft.com/office/drawing/2014/main" id="{F4F7977D-3CB4-4CB5-B087-C10A0649C13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7525" y="5914095"/>
            <a:ext cx="1514475" cy="915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1461739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16">
            <a:extLst>
              <a:ext uri="{FF2B5EF4-FFF2-40B4-BE49-F238E27FC236}">
                <a16:creationId xmlns:a16="http://schemas.microsoft.com/office/drawing/2014/main" id="{0933FF27-CF42-4457-8C6F-21D8875F612D}"/>
              </a:ext>
            </a:extLst>
          </p:cNvPr>
          <p:cNvCxnSpPr>
            <a:cxnSpLocks/>
          </p:cNvCxnSpPr>
          <p:nvPr/>
        </p:nvCxnSpPr>
        <p:spPr>
          <a:xfrm>
            <a:off x="0" y="6176963"/>
            <a:ext cx="12191999" cy="0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miter lim="800000"/>
          </a:ln>
          <a:effectLst/>
        </p:spPr>
      </p:cxnSp>
      <p:pic>
        <p:nvPicPr>
          <p:cNvPr id="7" name="Bilde 6">
            <a:extLst>
              <a:ext uri="{FF2B5EF4-FFF2-40B4-BE49-F238E27FC236}">
                <a16:creationId xmlns:a16="http://schemas.microsoft.com/office/drawing/2014/main" id="{AC1EE452-AD3A-4184-A06B-A7A58F3F82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43820" y="6267608"/>
            <a:ext cx="1045193" cy="519371"/>
          </a:xfrm>
          <a:prstGeom prst="rect">
            <a:avLst/>
          </a:prstGeom>
        </p:spPr>
      </p:pic>
      <p:sp>
        <p:nvSpPr>
          <p:cNvPr id="10" name="TekstSylinder 9">
            <a:extLst>
              <a:ext uri="{FF2B5EF4-FFF2-40B4-BE49-F238E27FC236}">
                <a16:creationId xmlns:a16="http://schemas.microsoft.com/office/drawing/2014/main" id="{95352A1E-1227-4A8F-B8F5-6C6D95B5F596}"/>
              </a:ext>
            </a:extLst>
          </p:cNvPr>
          <p:cNvSpPr txBox="1"/>
          <p:nvPr/>
        </p:nvSpPr>
        <p:spPr>
          <a:xfrm>
            <a:off x="1803662" y="5602998"/>
            <a:ext cx="8584676" cy="104430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>
                <a:ln>
                  <a:noFill/>
                </a:ln>
                <a:solidFill>
                  <a:srgbClr val="00305B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2023</a:t>
            </a: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84D720D1-69E0-4BEF-B4DB-6B64A0C02C3F}"/>
              </a:ext>
            </a:extLst>
          </p:cNvPr>
          <p:cNvSpPr txBox="1"/>
          <p:nvPr/>
        </p:nvSpPr>
        <p:spPr>
          <a:xfrm>
            <a:off x="531548" y="4842589"/>
            <a:ext cx="194545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00305B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Kronstad </a:t>
            </a:r>
            <a:r>
              <a:rPr kumimoji="0" lang="nb-NO" sz="1600" b="0" i="0" u="none" strike="noStrike" kern="1200" cap="none" spc="0" normalizeH="0" baseline="0" noProof="0" err="1">
                <a:ln>
                  <a:noFill/>
                </a:ln>
                <a:solidFill>
                  <a:srgbClr val="00305B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X</a:t>
            </a:r>
            <a:endParaRPr kumimoji="0" lang="nb-NO" sz="1600" b="0" i="0" u="none" strike="noStrike" kern="1200" cap="none" spc="0" normalizeH="0" baseline="0" noProof="0">
              <a:ln>
                <a:noFill/>
              </a:ln>
              <a:solidFill>
                <a:srgbClr val="00305B"/>
              </a:solidFill>
              <a:effectLst/>
              <a:uLnTx/>
              <a:uFillTx/>
              <a:latin typeface="Helvetica Neue Light" panose="020004030000000200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00305B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12.000 m²</a:t>
            </a:r>
          </a:p>
        </p:txBody>
      </p:sp>
      <p:sp>
        <p:nvSpPr>
          <p:cNvPr id="15" name="TekstSylinder 14">
            <a:extLst>
              <a:ext uri="{FF2B5EF4-FFF2-40B4-BE49-F238E27FC236}">
                <a16:creationId xmlns:a16="http://schemas.microsoft.com/office/drawing/2014/main" id="{B0CA9EBC-3B46-4011-866E-5AD089A5DFD3}"/>
              </a:ext>
            </a:extLst>
          </p:cNvPr>
          <p:cNvSpPr txBox="1"/>
          <p:nvPr/>
        </p:nvSpPr>
        <p:spPr>
          <a:xfrm>
            <a:off x="6553853" y="4844854"/>
            <a:ext cx="2145714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00305B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Fylkesbygge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00305B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27.000 m²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kstSylinder 15">
            <a:extLst>
              <a:ext uri="{FF2B5EF4-FFF2-40B4-BE49-F238E27FC236}">
                <a16:creationId xmlns:a16="http://schemas.microsoft.com/office/drawing/2014/main" id="{2D1D493A-897B-479D-9355-4A91EF9E3C10}"/>
              </a:ext>
            </a:extLst>
          </p:cNvPr>
          <p:cNvSpPr txBox="1"/>
          <p:nvPr/>
        </p:nvSpPr>
        <p:spPr>
          <a:xfrm>
            <a:off x="9758663" y="4839046"/>
            <a:ext cx="1858297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err="1">
                <a:ln>
                  <a:noFill/>
                </a:ln>
                <a:solidFill>
                  <a:srgbClr val="00305B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Nygaarden</a:t>
            </a:r>
            <a:endParaRPr kumimoji="0" lang="nb-NO" sz="1600" b="0" i="0" u="none" strike="noStrike" kern="1200" cap="none" spc="0" normalizeH="0" baseline="0" noProof="0">
              <a:ln>
                <a:noFill/>
              </a:ln>
              <a:solidFill>
                <a:srgbClr val="00305B"/>
              </a:solidFill>
              <a:effectLst/>
              <a:uLnTx/>
              <a:uFillTx/>
              <a:latin typeface="Helvetica Neue Light" panose="020004030000000200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00305B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12.000 m²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id="{5687A6B3-D7B3-44B4-93B1-ED8B499E2D8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844" t="17805" r="20334" b="2"/>
          <a:stretch/>
        </p:blipFill>
        <p:spPr bwMode="auto">
          <a:xfrm>
            <a:off x="0" y="1249093"/>
            <a:ext cx="3008514" cy="3499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Bilde 19">
            <a:extLst>
              <a:ext uri="{FF2B5EF4-FFF2-40B4-BE49-F238E27FC236}">
                <a16:creationId xmlns:a16="http://schemas.microsoft.com/office/drawing/2014/main" id="{692384F5-8025-49DE-9FB9-3BB4562A19F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27" t="17878" r="21685" b="-2"/>
          <a:stretch/>
        </p:blipFill>
        <p:spPr>
          <a:xfrm>
            <a:off x="3061241" y="1249094"/>
            <a:ext cx="3008534" cy="3499308"/>
          </a:xfrm>
          <a:prstGeom prst="rect">
            <a:avLst/>
          </a:prstGeom>
        </p:spPr>
      </p:pic>
      <p:pic>
        <p:nvPicPr>
          <p:cNvPr id="21" name="Bilde 20">
            <a:extLst>
              <a:ext uri="{FF2B5EF4-FFF2-40B4-BE49-F238E27FC236}">
                <a16:creationId xmlns:a16="http://schemas.microsoft.com/office/drawing/2014/main" id="{8D2121E6-D4E6-4C0C-8344-32693F2E4C3C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239" t="6447" r="25870" b="11430"/>
          <a:stretch/>
        </p:blipFill>
        <p:spPr>
          <a:xfrm>
            <a:off x="6122502" y="1249094"/>
            <a:ext cx="3008376" cy="3499307"/>
          </a:xfrm>
          <a:prstGeom prst="rect">
            <a:avLst/>
          </a:prstGeom>
          <a:ln w="28575">
            <a:noFill/>
          </a:ln>
        </p:spPr>
      </p:pic>
      <p:pic>
        <p:nvPicPr>
          <p:cNvPr id="22" name="Bilde 21">
            <a:extLst>
              <a:ext uri="{FF2B5EF4-FFF2-40B4-BE49-F238E27FC236}">
                <a16:creationId xmlns:a16="http://schemas.microsoft.com/office/drawing/2014/main" id="{4B77187C-2A11-4625-A83A-C80CBDC98F2D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14" r="7600" b="17879"/>
          <a:stretch/>
        </p:blipFill>
        <p:spPr>
          <a:xfrm>
            <a:off x="9183605" y="1249093"/>
            <a:ext cx="3008376" cy="3499307"/>
          </a:xfrm>
          <a:prstGeom prst="rect">
            <a:avLst/>
          </a:prstGeom>
        </p:spPr>
      </p:pic>
      <p:sp>
        <p:nvSpPr>
          <p:cNvPr id="23" name="TekstSylinder 22">
            <a:extLst>
              <a:ext uri="{FF2B5EF4-FFF2-40B4-BE49-F238E27FC236}">
                <a16:creationId xmlns:a16="http://schemas.microsoft.com/office/drawing/2014/main" id="{92360CE7-C03D-49FA-80FB-8F3E4F18FD2B}"/>
              </a:ext>
            </a:extLst>
          </p:cNvPr>
          <p:cNvSpPr txBox="1"/>
          <p:nvPr/>
        </p:nvSpPr>
        <p:spPr>
          <a:xfrm>
            <a:off x="3592799" y="4839046"/>
            <a:ext cx="194545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err="1">
                <a:ln>
                  <a:noFill/>
                </a:ln>
                <a:solidFill>
                  <a:srgbClr val="00305B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Krohnen</a:t>
            </a:r>
            <a:endParaRPr kumimoji="0" lang="nb-NO" sz="1600" b="0" i="0" u="none" strike="noStrike" kern="1200" cap="none" spc="0" normalizeH="0" baseline="0" noProof="0">
              <a:ln>
                <a:noFill/>
              </a:ln>
              <a:solidFill>
                <a:srgbClr val="00305B"/>
              </a:solidFill>
              <a:effectLst/>
              <a:uLnTx/>
              <a:uFillTx/>
              <a:latin typeface="Helvetica Neue Light" panose="020004030000000200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00305B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6.200 m²</a:t>
            </a: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0DAAE482-5E21-42C3-8AC9-B58E6B7875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5006" y="352743"/>
            <a:ext cx="7061639" cy="674336"/>
          </a:xfrm>
        </p:spPr>
        <p:txBody>
          <a:bodyPr>
            <a:normAutofit/>
          </a:bodyPr>
          <a:lstStyle/>
          <a:p>
            <a:r>
              <a:rPr lang="en-US" sz="2800" err="1">
                <a:solidFill>
                  <a:srgbClr val="00305B"/>
                </a:solidFill>
                <a:latin typeface="Helvetica Neue Light"/>
                <a:ea typeface="Helvetica Neue Light" charset="0"/>
                <a:cs typeface="Helvetica Neue Light" charset="0"/>
              </a:rPr>
              <a:t>Arealtilførsel</a:t>
            </a:r>
            <a:endParaRPr lang="en-US" sz="2800">
              <a:solidFill>
                <a:srgbClr val="00305B"/>
              </a:solidFill>
              <a:latin typeface="Helvetica Neue Light"/>
              <a:ea typeface="Helvetica Neue Light" charset="0"/>
              <a:cs typeface="Helvetica Neue Light" charset="0"/>
            </a:endParaRPr>
          </a:p>
        </p:txBody>
      </p:sp>
      <p:cxnSp>
        <p:nvCxnSpPr>
          <p:cNvPr id="25" name="Straight Connector 16">
            <a:extLst>
              <a:ext uri="{FF2B5EF4-FFF2-40B4-BE49-F238E27FC236}">
                <a16:creationId xmlns:a16="http://schemas.microsoft.com/office/drawing/2014/main" id="{9C7AF8AD-347C-4196-9667-8E3737063845}"/>
              </a:ext>
            </a:extLst>
          </p:cNvPr>
          <p:cNvCxnSpPr>
            <a:cxnSpLocks/>
          </p:cNvCxnSpPr>
          <p:nvPr/>
        </p:nvCxnSpPr>
        <p:spPr>
          <a:xfrm>
            <a:off x="1" y="1077390"/>
            <a:ext cx="12191999" cy="0"/>
          </a:xfrm>
          <a:prstGeom prst="line">
            <a:avLst/>
          </a:prstGeom>
          <a:noFill/>
          <a:ln w="6350" cap="flat" cmpd="sng" algn="ctr">
            <a:solidFill>
              <a:srgbClr val="002060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78266209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5006" y="352743"/>
            <a:ext cx="7061639" cy="674336"/>
          </a:xfrm>
        </p:spPr>
        <p:txBody>
          <a:bodyPr>
            <a:normAutofit/>
          </a:bodyPr>
          <a:lstStyle/>
          <a:p>
            <a:r>
              <a:rPr lang="en-US" sz="2800" err="1">
                <a:solidFill>
                  <a:srgbClr val="00305B"/>
                </a:solidFill>
                <a:latin typeface="Helvetica Neue Light"/>
                <a:ea typeface="Helvetica Neue Light" charset="0"/>
                <a:cs typeface="Helvetica Neue Light" charset="0"/>
              </a:rPr>
              <a:t>Arealendring</a:t>
            </a:r>
            <a:r>
              <a:rPr lang="en-US" sz="2800">
                <a:solidFill>
                  <a:srgbClr val="00305B"/>
                </a:solidFill>
                <a:latin typeface="Helvetica Neue Light"/>
                <a:ea typeface="Helvetica Neue Light" charset="0"/>
                <a:cs typeface="Helvetica Neue Light" charset="0"/>
              </a:rPr>
              <a:t> 2016 - 2023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1213D3A3-E334-44DA-BE0E-800016A5D44F}"/>
              </a:ext>
            </a:extLst>
          </p:cNvPr>
          <p:cNvSpPr txBox="1"/>
          <p:nvPr/>
        </p:nvSpPr>
        <p:spPr>
          <a:xfrm>
            <a:off x="8433786" y="2948483"/>
            <a:ext cx="375821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00305B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Avtakende tilførsel av nybyg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600">
                <a:solidFill>
                  <a:srgbClr val="00305B"/>
                </a:solidFill>
                <a:latin typeface="Helvetica Neue Light"/>
              </a:rPr>
              <a:t>Oppgradering av en del bygg fører ikke til press med bedre lokale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00305B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Få kjente prosjekter etter 2023</a:t>
            </a:r>
          </a:p>
        </p:txBody>
      </p:sp>
      <p:cxnSp>
        <p:nvCxnSpPr>
          <p:cNvPr id="5" name="Straight Connector 16">
            <a:extLst>
              <a:ext uri="{FF2B5EF4-FFF2-40B4-BE49-F238E27FC236}">
                <a16:creationId xmlns:a16="http://schemas.microsoft.com/office/drawing/2014/main" id="{5A322F84-6702-49CA-A993-321C29603B4B}"/>
              </a:ext>
            </a:extLst>
          </p:cNvPr>
          <p:cNvCxnSpPr>
            <a:cxnSpLocks/>
          </p:cNvCxnSpPr>
          <p:nvPr/>
        </p:nvCxnSpPr>
        <p:spPr>
          <a:xfrm>
            <a:off x="1" y="1077390"/>
            <a:ext cx="12191999" cy="0"/>
          </a:xfrm>
          <a:prstGeom prst="line">
            <a:avLst/>
          </a:prstGeom>
          <a:noFill/>
          <a:ln w="6350" cap="flat" cmpd="sng" algn="ctr">
            <a:solidFill>
              <a:srgbClr val="002060"/>
            </a:solidFill>
            <a:prstDash val="solid"/>
            <a:miter lim="800000"/>
          </a:ln>
          <a:effectLst/>
        </p:spPr>
      </p:cxnSp>
      <p:cxnSp>
        <p:nvCxnSpPr>
          <p:cNvPr id="6" name="Straight Connector 16">
            <a:extLst>
              <a:ext uri="{FF2B5EF4-FFF2-40B4-BE49-F238E27FC236}">
                <a16:creationId xmlns:a16="http://schemas.microsoft.com/office/drawing/2014/main" id="{0933FF27-CF42-4457-8C6F-21D8875F612D}"/>
              </a:ext>
            </a:extLst>
          </p:cNvPr>
          <p:cNvCxnSpPr>
            <a:cxnSpLocks/>
          </p:cNvCxnSpPr>
          <p:nvPr/>
        </p:nvCxnSpPr>
        <p:spPr>
          <a:xfrm>
            <a:off x="0" y="6176963"/>
            <a:ext cx="12191999" cy="0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miter lim="800000"/>
          </a:ln>
          <a:effectLst/>
        </p:spPr>
      </p:cxnSp>
      <p:pic>
        <p:nvPicPr>
          <p:cNvPr id="7" name="Bilde 6">
            <a:extLst>
              <a:ext uri="{FF2B5EF4-FFF2-40B4-BE49-F238E27FC236}">
                <a16:creationId xmlns:a16="http://schemas.microsoft.com/office/drawing/2014/main" id="{AC1EE452-AD3A-4184-A06B-A7A58F3F82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43820" y="6267608"/>
            <a:ext cx="1045193" cy="519371"/>
          </a:xfrm>
          <a:prstGeom prst="rect">
            <a:avLst/>
          </a:prstGeom>
        </p:spPr>
      </p:pic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752B0061-01F8-47A4-8EE5-A198EFEEB8D2}"/>
              </a:ext>
            </a:extLst>
          </p:cNvPr>
          <p:cNvGraphicFramePr/>
          <p:nvPr/>
        </p:nvGraphicFramePr>
        <p:xfrm>
          <a:off x="435006" y="1296146"/>
          <a:ext cx="7075504" cy="48719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Ellipse 7">
            <a:extLst>
              <a:ext uri="{FF2B5EF4-FFF2-40B4-BE49-F238E27FC236}">
                <a16:creationId xmlns:a16="http://schemas.microsoft.com/office/drawing/2014/main" id="{8C8EEC3E-1FCD-4937-98D7-366C326CBD92}"/>
              </a:ext>
            </a:extLst>
          </p:cNvPr>
          <p:cNvSpPr/>
          <p:nvPr/>
        </p:nvSpPr>
        <p:spPr>
          <a:xfrm>
            <a:off x="5661025" y="1375762"/>
            <a:ext cx="2139884" cy="3035431"/>
          </a:xfrm>
          <a:prstGeom prst="ellipse">
            <a:avLst/>
          </a:prstGeom>
          <a:solidFill>
            <a:schemeClr val="accent1">
              <a:alpha val="12000"/>
            </a:schemeClr>
          </a:solidFill>
          <a:ln>
            <a:solidFill>
              <a:schemeClr val="accent1">
                <a:shade val="50000"/>
                <a:alpha val="18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464060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4AD69E1-2676-470A-A5D8-867E843F1B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4AD69E1-2676-470A-A5D8-867E843F1B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Straight Connector 16">
            <a:extLst>
              <a:ext uri="{FF2B5EF4-FFF2-40B4-BE49-F238E27FC236}">
                <a16:creationId xmlns:a16="http://schemas.microsoft.com/office/drawing/2014/main" id="{0034B79B-C2E9-482C-A43D-DB5EEFC52E7E}"/>
              </a:ext>
            </a:extLst>
          </p:cNvPr>
          <p:cNvCxnSpPr>
            <a:cxnSpLocks/>
          </p:cNvCxnSpPr>
          <p:nvPr/>
        </p:nvCxnSpPr>
        <p:spPr>
          <a:xfrm>
            <a:off x="1" y="1039290"/>
            <a:ext cx="12191999" cy="0"/>
          </a:xfrm>
          <a:prstGeom prst="line">
            <a:avLst/>
          </a:prstGeom>
          <a:noFill/>
          <a:ln w="6350" cap="flat" cmpd="sng" algn="ctr">
            <a:solidFill>
              <a:srgbClr val="002060"/>
            </a:solidFill>
            <a:prstDash val="solid"/>
            <a:miter lim="800000"/>
          </a:ln>
          <a:effectLst/>
        </p:spPr>
      </p:cxnSp>
      <p:cxnSp>
        <p:nvCxnSpPr>
          <p:cNvPr id="6" name="Straight Connector 16">
            <a:extLst>
              <a:ext uri="{FF2B5EF4-FFF2-40B4-BE49-F238E27FC236}">
                <a16:creationId xmlns:a16="http://schemas.microsoft.com/office/drawing/2014/main" id="{37ED2C45-8D75-4D86-8CF8-650E0FA32D4E}"/>
              </a:ext>
            </a:extLst>
          </p:cNvPr>
          <p:cNvCxnSpPr>
            <a:cxnSpLocks/>
          </p:cNvCxnSpPr>
          <p:nvPr/>
        </p:nvCxnSpPr>
        <p:spPr>
          <a:xfrm>
            <a:off x="0" y="6176963"/>
            <a:ext cx="12191999" cy="0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miter lim="800000"/>
          </a:ln>
          <a:effectLst/>
        </p:spPr>
      </p:cxnSp>
      <p:pic>
        <p:nvPicPr>
          <p:cNvPr id="93" name="Bilde 6">
            <a:extLst>
              <a:ext uri="{FF2B5EF4-FFF2-40B4-BE49-F238E27FC236}">
                <a16:creationId xmlns:a16="http://schemas.microsoft.com/office/drawing/2014/main" id="{8FFA2BFA-8AF9-42B6-BDAF-841814A0BBD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043820" y="6267608"/>
            <a:ext cx="1045193" cy="519371"/>
          </a:xfrm>
          <a:prstGeom prst="rect">
            <a:avLst/>
          </a:prstGeom>
        </p:spPr>
      </p:pic>
      <p:sp>
        <p:nvSpPr>
          <p:cNvPr id="31" name="Title 1">
            <a:extLst>
              <a:ext uri="{FF2B5EF4-FFF2-40B4-BE49-F238E27FC236}">
                <a16:creationId xmlns:a16="http://schemas.microsoft.com/office/drawing/2014/main" id="{C692D4E1-AD4D-4373-8B4D-465CF75A4D1A}"/>
              </a:ext>
            </a:extLst>
          </p:cNvPr>
          <p:cNvSpPr txBox="1">
            <a:spLocks/>
          </p:cNvSpPr>
          <p:nvPr/>
        </p:nvSpPr>
        <p:spPr>
          <a:xfrm>
            <a:off x="893158" y="310217"/>
            <a:ext cx="7886700" cy="6743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err="1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Leiepriser</a:t>
            </a:r>
            <a:r>
              <a:rPr lang="en-US" sz="2800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 – Mai 2022</a:t>
            </a:r>
            <a:endParaRPr lang="en-US" sz="2800">
              <a:solidFill>
                <a:srgbClr val="00305B"/>
              </a:solidFill>
              <a:latin typeface="+mn-lt"/>
              <a:ea typeface="Helvetica Neue Light" charset="0"/>
              <a:cs typeface="Helvetica Neue Light" charset="0"/>
            </a:endParaRP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2D25C9C5-CB87-49AD-B43D-D1432D265E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4530980"/>
              </p:ext>
            </p:extLst>
          </p:nvPr>
        </p:nvGraphicFramePr>
        <p:xfrm>
          <a:off x="448658" y="1179477"/>
          <a:ext cx="11197242" cy="45239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Star: 7 Points 3">
            <a:extLst>
              <a:ext uri="{FF2B5EF4-FFF2-40B4-BE49-F238E27FC236}">
                <a16:creationId xmlns:a16="http://schemas.microsoft.com/office/drawing/2014/main" id="{2DE7877F-E6D0-49B4-8EF6-C7D1D363C7D4}"/>
              </a:ext>
            </a:extLst>
          </p:cNvPr>
          <p:cNvSpPr/>
          <p:nvPr/>
        </p:nvSpPr>
        <p:spPr>
          <a:xfrm>
            <a:off x="1493342" y="1154568"/>
            <a:ext cx="203200" cy="197684"/>
          </a:xfrm>
          <a:prstGeom prst="star7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2" name="TekstSylinder 3">
            <a:extLst>
              <a:ext uri="{FF2B5EF4-FFF2-40B4-BE49-F238E27FC236}">
                <a16:creationId xmlns:a16="http://schemas.microsoft.com/office/drawing/2014/main" id="{8E861712-1D82-44AF-B0CA-601F5B24E29D}"/>
              </a:ext>
            </a:extLst>
          </p:cNvPr>
          <p:cNvSpPr txBox="1"/>
          <p:nvPr/>
        </p:nvSpPr>
        <p:spPr>
          <a:xfrm>
            <a:off x="448658" y="5551565"/>
            <a:ext cx="104468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Toppleie </a:t>
            </a:r>
          </a:p>
        </p:txBody>
      </p:sp>
      <p:sp>
        <p:nvSpPr>
          <p:cNvPr id="13" name="Star: 7 Points 12">
            <a:extLst>
              <a:ext uri="{FF2B5EF4-FFF2-40B4-BE49-F238E27FC236}">
                <a16:creationId xmlns:a16="http://schemas.microsoft.com/office/drawing/2014/main" id="{C98E64B3-3986-4E9D-AF82-B1C740E5D08A}"/>
              </a:ext>
            </a:extLst>
          </p:cNvPr>
          <p:cNvSpPr/>
          <p:nvPr/>
        </p:nvSpPr>
        <p:spPr>
          <a:xfrm>
            <a:off x="1066800" y="5566977"/>
            <a:ext cx="203200" cy="197684"/>
          </a:xfrm>
          <a:prstGeom prst="star7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1" name="Star: 7 Points 2">
            <a:extLst>
              <a:ext uri="{FF2B5EF4-FFF2-40B4-BE49-F238E27FC236}">
                <a16:creationId xmlns:a16="http://schemas.microsoft.com/office/drawing/2014/main" id="{8A0A9B99-4738-2035-94A1-C817D78A1E01}"/>
              </a:ext>
            </a:extLst>
          </p:cNvPr>
          <p:cNvSpPr/>
          <p:nvPr/>
        </p:nvSpPr>
        <p:spPr>
          <a:xfrm>
            <a:off x="4938290" y="2507214"/>
            <a:ext cx="212300" cy="197652"/>
          </a:xfrm>
          <a:prstGeom prst="star7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0850311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01290" y="364954"/>
            <a:ext cx="7886700" cy="674336"/>
          </a:xfrm>
        </p:spPr>
        <p:txBody>
          <a:bodyPr>
            <a:normAutofit/>
          </a:bodyPr>
          <a:lstStyle/>
          <a:p>
            <a:r>
              <a:rPr lang="en-US" sz="2800" err="1">
                <a:solidFill>
                  <a:srgbClr val="00305B"/>
                </a:solidFill>
                <a:ea typeface="Helvetica Neue Light" charset="0"/>
                <a:cs typeface="Helvetica Neue Light" charset="0"/>
              </a:rPr>
              <a:t>Kontorledighet</a:t>
            </a:r>
            <a:r>
              <a:rPr lang="en-US" sz="2800">
                <a:solidFill>
                  <a:srgbClr val="00305B"/>
                </a:solidFill>
                <a:ea typeface="Helvetica Neue Light" charset="0"/>
                <a:cs typeface="Helvetica Neue Light" charset="0"/>
              </a:rPr>
              <a:t> Bergen</a:t>
            </a:r>
          </a:p>
        </p:txBody>
      </p:sp>
      <p:graphicFrame>
        <p:nvGraphicFramePr>
          <p:cNvPr id="11" name="Plassholder for innhold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62939444"/>
              </p:ext>
            </p:extLst>
          </p:nvPr>
        </p:nvGraphicFramePr>
        <p:xfrm>
          <a:off x="1685376" y="1253330"/>
          <a:ext cx="7886700" cy="43513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5" name="Straight Connector 16">
            <a:extLst>
              <a:ext uri="{FF2B5EF4-FFF2-40B4-BE49-F238E27FC236}">
                <a16:creationId xmlns:a16="http://schemas.microsoft.com/office/drawing/2014/main" id="{12440980-9168-48AE-972A-ECFE322AE34E}"/>
              </a:ext>
            </a:extLst>
          </p:cNvPr>
          <p:cNvCxnSpPr>
            <a:cxnSpLocks/>
          </p:cNvCxnSpPr>
          <p:nvPr/>
        </p:nvCxnSpPr>
        <p:spPr>
          <a:xfrm>
            <a:off x="1" y="1039290"/>
            <a:ext cx="12191999" cy="0"/>
          </a:xfrm>
          <a:prstGeom prst="line">
            <a:avLst/>
          </a:prstGeom>
          <a:noFill/>
          <a:ln w="6350" cap="flat" cmpd="sng" algn="ctr">
            <a:solidFill>
              <a:srgbClr val="002060"/>
            </a:solidFill>
            <a:prstDash val="solid"/>
            <a:miter lim="800000"/>
          </a:ln>
          <a:effectLst/>
        </p:spPr>
      </p:cxnSp>
      <p:cxnSp>
        <p:nvCxnSpPr>
          <p:cNvPr id="6" name="Straight Connector 16">
            <a:extLst>
              <a:ext uri="{FF2B5EF4-FFF2-40B4-BE49-F238E27FC236}">
                <a16:creationId xmlns:a16="http://schemas.microsoft.com/office/drawing/2014/main" id="{E5D71E16-C036-4A00-A1AC-9F61C541CA94}"/>
              </a:ext>
            </a:extLst>
          </p:cNvPr>
          <p:cNvCxnSpPr>
            <a:cxnSpLocks/>
          </p:cNvCxnSpPr>
          <p:nvPr/>
        </p:nvCxnSpPr>
        <p:spPr>
          <a:xfrm>
            <a:off x="0" y="6176963"/>
            <a:ext cx="12191999" cy="0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miter lim="800000"/>
          </a:ln>
          <a:effectLst/>
        </p:spPr>
      </p:cxnSp>
      <p:pic>
        <p:nvPicPr>
          <p:cNvPr id="7" name="Bilde 6">
            <a:extLst>
              <a:ext uri="{FF2B5EF4-FFF2-40B4-BE49-F238E27FC236}">
                <a16:creationId xmlns:a16="http://schemas.microsoft.com/office/drawing/2014/main" id="{C64CEF58-386D-4063-92EE-E616973EA1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43820" y="6267608"/>
            <a:ext cx="1045193" cy="519371"/>
          </a:xfrm>
          <a:prstGeom prst="rect">
            <a:avLst/>
          </a:prstGeom>
        </p:spPr>
      </p:pic>
      <p:sp>
        <p:nvSpPr>
          <p:cNvPr id="3" name="TekstSylinder 2">
            <a:extLst>
              <a:ext uri="{FF2B5EF4-FFF2-40B4-BE49-F238E27FC236}">
                <a16:creationId xmlns:a16="http://schemas.microsoft.com/office/drawing/2014/main" id="{F7BC85B0-4E50-E95D-DAF3-FA470EFC7139}"/>
              </a:ext>
            </a:extLst>
          </p:cNvPr>
          <p:cNvSpPr txBox="1"/>
          <p:nvPr/>
        </p:nvSpPr>
        <p:spPr>
          <a:xfrm>
            <a:off x="1685376" y="5841794"/>
            <a:ext cx="90062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/>
              <a:t>Økt ledighet fører til press på leieprisene i alle områder bortsett fra «</a:t>
            </a:r>
            <a:r>
              <a:rPr lang="nb-NO" dirty="0" err="1"/>
              <a:t>high</a:t>
            </a:r>
            <a:r>
              <a:rPr lang="nb-NO" dirty="0"/>
              <a:t>-end» objekter.</a:t>
            </a:r>
          </a:p>
        </p:txBody>
      </p:sp>
    </p:spTree>
    <p:extLst>
      <p:ext uri="{BB962C8B-B14F-4D97-AF65-F5344CB8AC3E}">
        <p14:creationId xmlns:p14="http://schemas.microsoft.com/office/powerpoint/2010/main" val="104817999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4492" y="340465"/>
            <a:ext cx="7886700" cy="674336"/>
          </a:xfrm>
        </p:spPr>
        <p:txBody>
          <a:bodyPr>
            <a:normAutofit/>
          </a:bodyPr>
          <a:lstStyle/>
          <a:p>
            <a:r>
              <a:rPr lang="nb-NO" altLang="nb-NO" sz="2800">
                <a:solidFill>
                  <a:srgbClr val="00305B"/>
                </a:solidFill>
              </a:rPr>
              <a:t>Leiemarkedet - ”FINN – indeksen”</a:t>
            </a:r>
            <a:endParaRPr lang="en-US" sz="2800">
              <a:solidFill>
                <a:srgbClr val="00305B"/>
              </a:solidFill>
              <a:latin typeface="+mn-lt"/>
              <a:ea typeface="Helvetica Neue Light" charset="0"/>
              <a:cs typeface="Helvetica Neue Light" charset="0"/>
            </a:endParaRPr>
          </a:p>
        </p:txBody>
      </p:sp>
      <p:sp>
        <p:nvSpPr>
          <p:cNvPr id="3" name="AutoShape 2" descr="Bilderesultat for e handel">
            <a:hlinkClick r:id="rId2"/>
          </p:cNvPr>
          <p:cNvSpPr>
            <a:spLocks noChangeAspect="1" noChangeArrowheads="1"/>
          </p:cNvSpPr>
          <p:nvPr/>
        </p:nvSpPr>
        <p:spPr bwMode="auto">
          <a:xfrm>
            <a:off x="3829051" y="2062171"/>
            <a:ext cx="4533900" cy="2733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AutoShape 4" descr="Bilderesultat for e handel">
            <a:hlinkClick r:id="rId2"/>
          </p:cNvPr>
          <p:cNvSpPr>
            <a:spLocks noChangeAspect="1" noChangeArrowheads="1"/>
          </p:cNvSpPr>
          <p:nvPr/>
        </p:nvSpPr>
        <p:spPr bwMode="auto">
          <a:xfrm>
            <a:off x="3997535" y="2206187"/>
            <a:ext cx="4533900" cy="2733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1" name="Diagram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03095088"/>
              </p:ext>
            </p:extLst>
          </p:nvPr>
        </p:nvGraphicFramePr>
        <p:xfrm>
          <a:off x="522289" y="1173163"/>
          <a:ext cx="11302282" cy="5495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3" imgW="10620496" imgH="5076757" progId="Excel.Sheet.8">
                  <p:embed/>
                </p:oleObj>
              </mc:Choice>
              <mc:Fallback>
                <p:oleObj name="Worksheet" r:id="rId3" imgW="10620496" imgH="5076757" progId="Excel.Sheet.8">
                  <p:embed/>
                  <p:pic>
                    <p:nvPicPr>
                      <p:cNvPr id="11" name="Diagram 7"/>
                      <p:cNvPicPr>
                        <a:picLocks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22289" y="1173163"/>
                        <a:ext cx="11302282" cy="5495925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8" descr="FINN logo">
            <a:hlinkClick r:id="rId5"/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603291" y="2013193"/>
            <a:ext cx="2114551" cy="714375"/>
          </a:xfrm>
          <a:prstGeom prst="rect">
            <a:avLst/>
          </a:prstGeom>
          <a:noFill/>
        </p:spPr>
      </p:pic>
      <p:cxnSp>
        <p:nvCxnSpPr>
          <p:cNvPr id="8" name="Straight Connector 16">
            <a:extLst>
              <a:ext uri="{FF2B5EF4-FFF2-40B4-BE49-F238E27FC236}">
                <a16:creationId xmlns:a16="http://schemas.microsoft.com/office/drawing/2014/main" id="{1470A98C-B44E-4F32-ADD7-B3DB47A43B38}"/>
              </a:ext>
            </a:extLst>
          </p:cNvPr>
          <p:cNvCxnSpPr>
            <a:cxnSpLocks/>
          </p:cNvCxnSpPr>
          <p:nvPr/>
        </p:nvCxnSpPr>
        <p:spPr>
          <a:xfrm>
            <a:off x="1" y="1039290"/>
            <a:ext cx="12191999" cy="0"/>
          </a:xfrm>
          <a:prstGeom prst="line">
            <a:avLst/>
          </a:prstGeom>
          <a:noFill/>
          <a:ln w="6350" cap="flat" cmpd="sng" algn="ctr">
            <a:solidFill>
              <a:srgbClr val="002060"/>
            </a:solidFill>
            <a:prstDash val="solid"/>
            <a:miter lim="800000"/>
          </a:ln>
          <a:effectLst/>
        </p:spPr>
      </p:cxnSp>
      <p:cxnSp>
        <p:nvCxnSpPr>
          <p:cNvPr id="9" name="Straight Connector 16">
            <a:extLst>
              <a:ext uri="{FF2B5EF4-FFF2-40B4-BE49-F238E27FC236}">
                <a16:creationId xmlns:a16="http://schemas.microsoft.com/office/drawing/2014/main" id="{62CC3700-E8E3-4FAF-BE8C-F8E491777E5C}"/>
              </a:ext>
            </a:extLst>
          </p:cNvPr>
          <p:cNvCxnSpPr>
            <a:cxnSpLocks/>
          </p:cNvCxnSpPr>
          <p:nvPr/>
        </p:nvCxnSpPr>
        <p:spPr>
          <a:xfrm>
            <a:off x="42856" y="6119813"/>
            <a:ext cx="12191999" cy="0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miter lim="800000"/>
          </a:ln>
          <a:effectLst/>
        </p:spPr>
      </p:cxnSp>
      <p:pic>
        <p:nvPicPr>
          <p:cNvPr id="10" name="Bilde 9">
            <a:extLst>
              <a:ext uri="{FF2B5EF4-FFF2-40B4-BE49-F238E27FC236}">
                <a16:creationId xmlns:a16="http://schemas.microsoft.com/office/drawing/2014/main" id="{83B2B174-1E39-431C-A35D-83252377693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043820" y="6267608"/>
            <a:ext cx="1045193" cy="519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050603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16">
            <a:extLst>
              <a:ext uri="{FF2B5EF4-FFF2-40B4-BE49-F238E27FC236}">
                <a16:creationId xmlns:a16="http://schemas.microsoft.com/office/drawing/2014/main" id="{CD5AF9D3-603D-4A95-B9CF-80505660CDD5}"/>
              </a:ext>
            </a:extLst>
          </p:cNvPr>
          <p:cNvCxnSpPr>
            <a:cxnSpLocks/>
          </p:cNvCxnSpPr>
          <p:nvPr/>
        </p:nvCxnSpPr>
        <p:spPr>
          <a:xfrm>
            <a:off x="1" y="1039290"/>
            <a:ext cx="12191999" cy="0"/>
          </a:xfrm>
          <a:prstGeom prst="line">
            <a:avLst/>
          </a:prstGeom>
          <a:noFill/>
          <a:ln w="6350" cap="flat" cmpd="sng" algn="ctr">
            <a:solidFill>
              <a:srgbClr val="00305B"/>
            </a:solidFill>
            <a:prstDash val="solid"/>
            <a:miter lim="800000"/>
          </a:ln>
          <a:effectLst/>
        </p:spPr>
      </p:cxnSp>
      <p:cxnSp>
        <p:nvCxnSpPr>
          <p:cNvPr id="5" name="Straight Connector 16">
            <a:extLst>
              <a:ext uri="{FF2B5EF4-FFF2-40B4-BE49-F238E27FC236}">
                <a16:creationId xmlns:a16="http://schemas.microsoft.com/office/drawing/2014/main" id="{97EAC974-6DDA-4214-9FC2-9E7FAE7773F3}"/>
              </a:ext>
            </a:extLst>
          </p:cNvPr>
          <p:cNvCxnSpPr>
            <a:cxnSpLocks/>
          </p:cNvCxnSpPr>
          <p:nvPr/>
        </p:nvCxnSpPr>
        <p:spPr>
          <a:xfrm>
            <a:off x="0" y="6176963"/>
            <a:ext cx="12191999" cy="0"/>
          </a:xfrm>
          <a:prstGeom prst="line">
            <a:avLst/>
          </a:prstGeom>
          <a:noFill/>
          <a:ln w="19050" cap="flat" cmpd="sng" algn="ctr">
            <a:solidFill>
              <a:srgbClr val="00305B"/>
            </a:solidFill>
            <a:prstDash val="solid"/>
            <a:miter lim="800000"/>
          </a:ln>
          <a:effectLst/>
        </p:spPr>
      </p:cxnSp>
      <p:pic>
        <p:nvPicPr>
          <p:cNvPr id="6" name="Bilde 5">
            <a:extLst>
              <a:ext uri="{FF2B5EF4-FFF2-40B4-BE49-F238E27FC236}">
                <a16:creationId xmlns:a16="http://schemas.microsoft.com/office/drawing/2014/main" id="{D2F19C8C-E5E8-43DE-8879-F51361D129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43820" y="6267608"/>
            <a:ext cx="1045193" cy="519371"/>
          </a:xfrm>
          <a:prstGeom prst="rect">
            <a:avLst/>
          </a:prstGeom>
        </p:spPr>
      </p:pic>
      <p:sp>
        <p:nvSpPr>
          <p:cNvPr id="7" name="Tittel 3">
            <a:extLst>
              <a:ext uri="{FF2B5EF4-FFF2-40B4-BE49-F238E27FC236}">
                <a16:creationId xmlns:a16="http://schemas.microsoft.com/office/drawing/2014/main" id="{72A1FD12-E0CC-4D77-8A10-9DAC066B732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80934" y="429351"/>
            <a:ext cx="4533164" cy="4801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2800" dirty="0">
                <a:solidFill>
                  <a:srgbClr val="00305B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Leiemarkedet - oppsummert</a:t>
            </a:r>
          </a:p>
        </p:txBody>
      </p:sp>
      <p:sp>
        <p:nvSpPr>
          <p:cNvPr id="11" name="Text Box 7">
            <a:extLst>
              <a:ext uri="{FF2B5EF4-FFF2-40B4-BE49-F238E27FC236}">
                <a16:creationId xmlns:a16="http://schemas.microsoft.com/office/drawing/2014/main" id="{68B2A47E-FB1A-4894-9556-28B3FEE2F2C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982389" y="1939435"/>
            <a:ext cx="6725029" cy="30777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nb-NO" altLang="nb-NO" sz="1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Helvetica Neue Light" panose="02000403000000020004"/>
              <a:ea typeface="Helvetica Neue" charset="0"/>
              <a:cs typeface="Helvetica Neue" charset="0"/>
            </a:endParaRPr>
          </a:p>
          <a:p>
            <a:pPr marL="285737" marR="0" lvl="0" indent="-285737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alt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 Light" panose="02000403000000020004"/>
                <a:ea typeface="Helvetica Neue" charset="0"/>
                <a:cs typeface="Helvetica Neue" charset="0"/>
              </a:rPr>
              <a:t>Stabil etterspørsel etter kontorlokaler </a:t>
            </a:r>
          </a:p>
          <a:p>
            <a:pPr marL="285737" marR="0" lvl="0" indent="-285737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altLang="nb-NO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Helvetica Neue Light" panose="02000403000000020004"/>
              <a:ea typeface="Helvetica Neue" charset="0"/>
              <a:cs typeface="Helvetica Neue" charset="0"/>
            </a:endParaRPr>
          </a:p>
          <a:p>
            <a:pPr marL="285737" marR="0" lvl="0" indent="-285737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alt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 Light" panose="02000403000000020004"/>
                <a:ea typeface="Helvetica Neue" charset="0"/>
                <a:cs typeface="Helvetica Neue" charset="0"/>
              </a:rPr>
              <a:t>Ingen vesentlig </a:t>
            </a:r>
            <a:r>
              <a:rPr kumimoji="0" lang="nb-NO" altLang="nb-NO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 Light" panose="02000403000000020004"/>
                <a:ea typeface="Helvetica Neue" charset="0"/>
                <a:cs typeface="Helvetica Neue" charset="0"/>
              </a:rPr>
              <a:t>corona</a:t>
            </a:r>
            <a:r>
              <a:rPr kumimoji="0" lang="nb-NO" alt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 Light" panose="02000403000000020004"/>
                <a:ea typeface="Helvetica Neue" charset="0"/>
                <a:cs typeface="Helvetica Neue" charset="0"/>
              </a:rPr>
              <a:t>-effekt på etterspørselssiden p.t.</a:t>
            </a:r>
          </a:p>
          <a:p>
            <a:pPr marL="74295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altLang="nb-NO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Helvetica Neue Light" panose="02000403000000020004"/>
              <a:ea typeface="Helvetica Neue" charset="0"/>
              <a:cs typeface="Helvetica Neue" charset="0"/>
            </a:endParaRPr>
          </a:p>
          <a:p>
            <a:pPr marL="285737" marR="0" lvl="0" indent="-285737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alt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 Light" panose="02000403000000020004"/>
                <a:ea typeface="Helvetica Neue" charset="0"/>
                <a:cs typeface="Helvetica Neue" charset="0"/>
              </a:rPr>
              <a:t>Lite konvertering som påvirker ledigheten</a:t>
            </a:r>
            <a:endParaRPr lang="nb-NO" sz="1600" dirty="0">
              <a:solidFill>
                <a:srgbClr val="002060"/>
              </a:solidFill>
              <a:latin typeface="Helvetica Neue Light" panose="02000403000000020004"/>
            </a:endParaRPr>
          </a:p>
          <a:p>
            <a:pPr marL="285737" marR="0" lvl="0" indent="-285737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nb-NO" sz="1600" dirty="0">
              <a:solidFill>
                <a:srgbClr val="002060"/>
              </a:solidFill>
              <a:latin typeface="Helvetica Neue Light" panose="02000403000000020004"/>
            </a:endParaRPr>
          </a:p>
          <a:p>
            <a:pPr marL="285737" indent="-285737">
              <a:buFont typeface="Arial" panose="020B0604020202020204" pitchFamily="34" charset="0"/>
              <a:buChar char="•"/>
              <a:defRPr/>
            </a:pPr>
            <a:r>
              <a:rPr kumimoji="0" lang="nb-NO" alt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 Light" panose="02000403000000020004"/>
                <a:ea typeface="Helvetica Neue" charset="0"/>
                <a:cs typeface="Helvetica Neue" charset="0"/>
              </a:rPr>
              <a:t>Tilbudssiden øker grunnet flere nybygg -&gt; noe økt ledighet</a:t>
            </a:r>
          </a:p>
          <a:p>
            <a:pPr marL="285737" indent="-285737">
              <a:buFont typeface="Arial" panose="020B0604020202020204" pitchFamily="34" charset="0"/>
              <a:buChar char="•"/>
              <a:defRPr/>
            </a:pPr>
            <a:endParaRPr kumimoji="0" lang="nb-NO" altLang="nb-NO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Helvetica Neue Light" panose="02000403000000020004"/>
              <a:ea typeface="Helvetica Neue" charset="0"/>
              <a:cs typeface="Helvetica Neue" charset="0"/>
            </a:endParaRPr>
          </a:p>
          <a:p>
            <a:pPr marL="285737" indent="-285737">
              <a:buFont typeface="Arial" panose="020B0604020202020204" pitchFamily="34" charset="0"/>
              <a:buChar char="•"/>
              <a:defRPr/>
            </a:pPr>
            <a:r>
              <a:rPr kumimoji="0" lang="nb-NO" alt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 Light" panose="02000403000000020004"/>
                <a:ea typeface="Helvetica Neue" charset="0"/>
                <a:cs typeface="Helvetica Neue" charset="0"/>
              </a:rPr>
              <a:t>Fleksibilitet vil bli en faktor som vil prege leieforhandlingene fremover</a:t>
            </a:r>
          </a:p>
          <a:p>
            <a:pPr marL="285737" indent="-285737">
              <a:buFont typeface="Arial" panose="020B0604020202020204" pitchFamily="34" charset="0"/>
              <a:buChar char="•"/>
              <a:defRPr/>
            </a:pPr>
            <a:endParaRPr kumimoji="0" lang="nb-NO" altLang="nb-NO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Helvetica Neue Light" panose="02000403000000020004"/>
              <a:ea typeface="Helvetica Neue" charset="0"/>
              <a:cs typeface="Helvetica Neue" charset="0"/>
            </a:endParaRPr>
          </a:p>
          <a:p>
            <a:pPr marL="285737" indent="-285737">
              <a:buFont typeface="Arial" panose="020B0604020202020204" pitchFamily="34" charset="0"/>
              <a:buChar char="•"/>
              <a:defRPr/>
            </a:pPr>
            <a:r>
              <a:rPr kumimoji="0" lang="nb-NO" alt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 Light" panose="02000403000000020004"/>
                <a:ea typeface="Helvetica Neue" charset="0"/>
                <a:cs typeface="Helvetica Neue" charset="0"/>
              </a:rPr>
              <a:t>Større gap mellom leiepris i nye bygg og øvrige kategorier</a:t>
            </a:r>
            <a:endParaRPr lang="nb-NO" sz="1600" dirty="0">
              <a:solidFill>
                <a:srgbClr val="002060"/>
              </a:solidFill>
              <a:latin typeface="Helvetica Neue Light" panose="02000403000000020004"/>
            </a:endParaRPr>
          </a:p>
        </p:txBody>
      </p:sp>
    </p:spTree>
    <p:extLst>
      <p:ext uri="{BB962C8B-B14F-4D97-AF65-F5344CB8AC3E}">
        <p14:creationId xmlns:p14="http://schemas.microsoft.com/office/powerpoint/2010/main" val="33686618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3051000" y="3105834"/>
            <a:ext cx="6089997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nb-NO" altLang="nb-NO" sz="3600" b="1" cap="all">
                <a:solidFill>
                  <a:srgbClr val="00305B"/>
                </a:solidFill>
                <a:latin typeface="Helvetica Neue Light"/>
                <a:cs typeface="Calibri Light" panose="020F0302020204030204" pitchFamily="34" charset="0"/>
              </a:rPr>
              <a:t>Transaksjonsmarkedet</a:t>
            </a:r>
            <a:endParaRPr kumimoji="0" lang="nb-NO" altLang="nb-NO" sz="3600" b="1" i="0" u="none" strike="noStrike" kern="1200" cap="all" spc="0" normalizeH="0" noProof="0">
              <a:ln>
                <a:noFill/>
              </a:ln>
              <a:solidFill>
                <a:srgbClr val="00305B"/>
              </a:solidFill>
              <a:effectLst/>
              <a:uLnTx/>
              <a:uFillTx/>
              <a:latin typeface="Helvetica Neue Light"/>
              <a:cs typeface="Calibri Light" panose="020F0302020204030204" pitchFamily="34" charset="0"/>
            </a:endParaRPr>
          </a:p>
        </p:txBody>
      </p:sp>
      <p:cxnSp>
        <p:nvCxnSpPr>
          <p:cNvPr id="4" name="Straight Connector 16">
            <a:extLst>
              <a:ext uri="{FF2B5EF4-FFF2-40B4-BE49-F238E27FC236}">
                <a16:creationId xmlns:a16="http://schemas.microsoft.com/office/drawing/2014/main" id="{CD5AF9D3-603D-4A95-B9CF-80505660CDD5}"/>
              </a:ext>
            </a:extLst>
          </p:cNvPr>
          <p:cNvCxnSpPr>
            <a:cxnSpLocks/>
          </p:cNvCxnSpPr>
          <p:nvPr/>
        </p:nvCxnSpPr>
        <p:spPr>
          <a:xfrm>
            <a:off x="1" y="1039290"/>
            <a:ext cx="12191999" cy="0"/>
          </a:xfrm>
          <a:prstGeom prst="line">
            <a:avLst/>
          </a:prstGeom>
          <a:noFill/>
          <a:ln w="6350" cap="flat" cmpd="sng" algn="ctr">
            <a:solidFill>
              <a:srgbClr val="00305B"/>
            </a:solidFill>
            <a:prstDash val="solid"/>
            <a:miter lim="800000"/>
          </a:ln>
          <a:effectLst/>
        </p:spPr>
      </p:cxnSp>
      <p:cxnSp>
        <p:nvCxnSpPr>
          <p:cNvPr id="5" name="Straight Connector 16">
            <a:extLst>
              <a:ext uri="{FF2B5EF4-FFF2-40B4-BE49-F238E27FC236}">
                <a16:creationId xmlns:a16="http://schemas.microsoft.com/office/drawing/2014/main" id="{97EAC974-6DDA-4214-9FC2-9E7FAE7773F3}"/>
              </a:ext>
            </a:extLst>
          </p:cNvPr>
          <p:cNvCxnSpPr>
            <a:cxnSpLocks/>
          </p:cNvCxnSpPr>
          <p:nvPr/>
        </p:nvCxnSpPr>
        <p:spPr>
          <a:xfrm>
            <a:off x="0" y="6176963"/>
            <a:ext cx="12191999" cy="0"/>
          </a:xfrm>
          <a:prstGeom prst="line">
            <a:avLst/>
          </a:prstGeom>
          <a:noFill/>
          <a:ln w="19050" cap="flat" cmpd="sng" algn="ctr">
            <a:solidFill>
              <a:srgbClr val="00305B"/>
            </a:solidFill>
            <a:prstDash val="solid"/>
            <a:miter lim="800000"/>
          </a:ln>
          <a:effectLst/>
        </p:spPr>
      </p:cxnSp>
      <p:pic>
        <p:nvPicPr>
          <p:cNvPr id="6" name="Bilde 5">
            <a:extLst>
              <a:ext uri="{FF2B5EF4-FFF2-40B4-BE49-F238E27FC236}">
                <a16:creationId xmlns:a16="http://schemas.microsoft.com/office/drawing/2014/main" id="{D2F19C8C-E5E8-43DE-8879-F51361D129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43820" y="6267608"/>
            <a:ext cx="1045193" cy="519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13343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4AD69E1-2676-470A-A5D8-867E843F1B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4AD69E1-2676-470A-A5D8-867E843F1B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Straight Connector 16">
            <a:extLst>
              <a:ext uri="{FF2B5EF4-FFF2-40B4-BE49-F238E27FC236}">
                <a16:creationId xmlns:a16="http://schemas.microsoft.com/office/drawing/2014/main" id="{0034B79B-C2E9-482C-A43D-DB5EEFC52E7E}"/>
              </a:ext>
            </a:extLst>
          </p:cNvPr>
          <p:cNvCxnSpPr>
            <a:cxnSpLocks/>
          </p:cNvCxnSpPr>
          <p:nvPr/>
        </p:nvCxnSpPr>
        <p:spPr>
          <a:xfrm>
            <a:off x="1" y="1039290"/>
            <a:ext cx="12191999" cy="0"/>
          </a:xfrm>
          <a:prstGeom prst="line">
            <a:avLst/>
          </a:prstGeom>
          <a:noFill/>
          <a:ln w="6350" cap="flat" cmpd="sng" algn="ctr">
            <a:solidFill>
              <a:srgbClr val="002060"/>
            </a:solidFill>
            <a:prstDash val="solid"/>
            <a:miter lim="800000"/>
          </a:ln>
          <a:effectLst/>
        </p:spPr>
      </p:cxnSp>
      <p:cxnSp>
        <p:nvCxnSpPr>
          <p:cNvPr id="6" name="Straight Connector 16">
            <a:extLst>
              <a:ext uri="{FF2B5EF4-FFF2-40B4-BE49-F238E27FC236}">
                <a16:creationId xmlns:a16="http://schemas.microsoft.com/office/drawing/2014/main" id="{37ED2C45-8D75-4D86-8CF8-650E0FA32D4E}"/>
              </a:ext>
            </a:extLst>
          </p:cNvPr>
          <p:cNvCxnSpPr>
            <a:cxnSpLocks/>
          </p:cNvCxnSpPr>
          <p:nvPr/>
        </p:nvCxnSpPr>
        <p:spPr>
          <a:xfrm>
            <a:off x="0" y="6176963"/>
            <a:ext cx="12191999" cy="0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miter lim="800000"/>
          </a:ln>
          <a:effectLst/>
        </p:spPr>
      </p:cxnSp>
      <p:pic>
        <p:nvPicPr>
          <p:cNvPr id="93" name="Bilde 6">
            <a:extLst>
              <a:ext uri="{FF2B5EF4-FFF2-40B4-BE49-F238E27FC236}">
                <a16:creationId xmlns:a16="http://schemas.microsoft.com/office/drawing/2014/main" id="{8FFA2BFA-8AF9-42B6-BDAF-841814A0BBD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043820" y="6267608"/>
            <a:ext cx="1045193" cy="519371"/>
          </a:xfrm>
          <a:prstGeom prst="rect">
            <a:avLst/>
          </a:prstGeom>
        </p:spPr>
      </p:pic>
      <p:sp>
        <p:nvSpPr>
          <p:cNvPr id="31" name="Title 1">
            <a:extLst>
              <a:ext uri="{FF2B5EF4-FFF2-40B4-BE49-F238E27FC236}">
                <a16:creationId xmlns:a16="http://schemas.microsoft.com/office/drawing/2014/main" id="{C692D4E1-AD4D-4373-8B4D-465CF75A4D1A}"/>
              </a:ext>
            </a:extLst>
          </p:cNvPr>
          <p:cNvSpPr txBox="1">
            <a:spLocks/>
          </p:cNvSpPr>
          <p:nvPr/>
        </p:nvSpPr>
        <p:spPr>
          <a:xfrm>
            <a:off x="893158" y="310217"/>
            <a:ext cx="7886700" cy="6743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err="1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Først</a:t>
            </a:r>
            <a:r>
              <a:rPr lang="en-US" sz="2800" dirty="0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 </a:t>
            </a:r>
            <a:r>
              <a:rPr lang="en-US" sz="2800" dirty="0" err="1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litt</a:t>
            </a:r>
            <a:r>
              <a:rPr lang="en-US" sz="2800" dirty="0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 </a:t>
            </a:r>
            <a:r>
              <a:rPr lang="en-US" sz="2800" dirty="0" err="1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historie</a:t>
            </a:r>
            <a:r>
              <a:rPr lang="en-US" sz="2800" dirty="0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 (2001 – 2021)</a:t>
            </a:r>
            <a:endParaRPr lang="en-US" sz="2800" dirty="0">
              <a:solidFill>
                <a:srgbClr val="00305B"/>
              </a:solidFill>
              <a:latin typeface="+mn-lt"/>
              <a:ea typeface="Helvetica Neue Light" charset="0"/>
              <a:cs typeface="Helvetica Neue Light" charset="0"/>
            </a:endParaRPr>
          </a:p>
        </p:txBody>
      </p:sp>
      <p:pic>
        <p:nvPicPr>
          <p:cNvPr id="7" name="Grafikk 6" descr="Stolpediagram med oppadgående trend kontur">
            <a:extLst>
              <a:ext uri="{FF2B5EF4-FFF2-40B4-BE49-F238E27FC236}">
                <a16:creationId xmlns:a16="http://schemas.microsoft.com/office/drawing/2014/main" id="{DF74E65A-83DA-B0E3-758B-E01AB0C7272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405270" y="1609725"/>
            <a:ext cx="3638550" cy="3638550"/>
          </a:xfrm>
          <a:prstGeom prst="rect">
            <a:avLst/>
          </a:prstGeom>
        </p:spPr>
      </p:pic>
      <p:pic>
        <p:nvPicPr>
          <p:cNvPr id="8" name="Grafikk 7" descr="By kontur">
            <a:extLst>
              <a:ext uri="{FF2B5EF4-FFF2-40B4-BE49-F238E27FC236}">
                <a16:creationId xmlns:a16="http://schemas.microsoft.com/office/drawing/2014/main" id="{ABCA882D-70EF-80D3-9F7F-242A30C2749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81098" y="2006078"/>
            <a:ext cx="2990852" cy="2990852"/>
          </a:xfrm>
          <a:prstGeom prst="rect">
            <a:avLst/>
          </a:prstGeom>
        </p:spPr>
      </p:pic>
      <p:sp>
        <p:nvSpPr>
          <p:cNvPr id="10" name="TekstSylinder 9">
            <a:extLst>
              <a:ext uri="{FF2B5EF4-FFF2-40B4-BE49-F238E27FC236}">
                <a16:creationId xmlns:a16="http://schemas.microsoft.com/office/drawing/2014/main" id="{D2D6D0C2-8D3B-0786-C01D-236DB76CB640}"/>
              </a:ext>
            </a:extLst>
          </p:cNvPr>
          <p:cNvSpPr txBox="1"/>
          <p:nvPr/>
        </p:nvSpPr>
        <p:spPr>
          <a:xfrm>
            <a:off x="4171950" y="2869462"/>
            <a:ext cx="344805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b="1" dirty="0">
                <a:latin typeface="Helvetica Neue Light" panose="02000403000000020004"/>
              </a:rPr>
              <a:t>NÆRINGSEIENDOM</a:t>
            </a:r>
          </a:p>
          <a:p>
            <a:pPr algn="ctr"/>
            <a:endParaRPr lang="nb-NO" b="1" dirty="0">
              <a:latin typeface="Helvetica Neue Light" panose="02000403000000020004"/>
            </a:endParaRPr>
          </a:p>
          <a:p>
            <a:pPr algn="ctr"/>
            <a:r>
              <a:rPr lang="nb-NO" b="1" dirty="0">
                <a:latin typeface="Helvetica Neue Light" panose="02000403000000020004"/>
              </a:rPr>
              <a:t>VS</a:t>
            </a:r>
          </a:p>
          <a:p>
            <a:pPr algn="ctr"/>
            <a:endParaRPr lang="nb-NO" b="1" dirty="0">
              <a:latin typeface="Helvetica Neue Light" panose="02000403000000020004"/>
            </a:endParaRPr>
          </a:p>
          <a:p>
            <a:pPr algn="ctr"/>
            <a:r>
              <a:rPr lang="nb-NO" b="1" dirty="0">
                <a:latin typeface="Helvetica Neue Light" panose="02000403000000020004"/>
              </a:rPr>
              <a:t>AKSJER</a:t>
            </a:r>
          </a:p>
        </p:txBody>
      </p:sp>
    </p:spTree>
    <p:extLst>
      <p:ext uri="{BB962C8B-B14F-4D97-AF65-F5344CB8AC3E}">
        <p14:creationId xmlns:p14="http://schemas.microsoft.com/office/powerpoint/2010/main" val="143108019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6AC9F0-E8C2-4B52-A257-1CFB18F39E21}" type="slidenum">
              <a:rPr lang="nb-NO" altLang="nb-NO">
                <a:solidFill>
                  <a:srgbClr val="000000"/>
                </a:solidFill>
                <a:latin typeface="Calibri"/>
              </a:rPr>
              <a:pPr/>
              <a:t>18</a:t>
            </a:fld>
            <a:endParaRPr lang="nb-NO" altLang="nb-NO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52231" name="Line 7"/>
          <p:cNvSpPr>
            <a:spLocks noChangeShapeType="1"/>
          </p:cNvSpPr>
          <p:nvPr/>
        </p:nvSpPr>
        <p:spPr bwMode="auto">
          <a:xfrm>
            <a:off x="2286000" y="1600200"/>
            <a:ext cx="67056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nb-NO" sz="2400" b="1">
              <a:solidFill>
                <a:srgbClr val="FF0000"/>
              </a:solidFill>
              <a:latin typeface="Calibri"/>
            </a:endParaRPr>
          </a:p>
        </p:txBody>
      </p:sp>
      <p:sp>
        <p:nvSpPr>
          <p:cNvPr id="52234" name="Rectangle 10"/>
          <p:cNvSpPr>
            <a:spLocks noGrp="1" noChangeArrowheads="1"/>
          </p:cNvSpPr>
          <p:nvPr>
            <p:ph type="title"/>
          </p:nvPr>
        </p:nvSpPr>
        <p:spPr>
          <a:xfrm>
            <a:off x="2209800" y="385763"/>
            <a:ext cx="6553200" cy="1143000"/>
          </a:xfrm>
          <a:noFill/>
          <a:ln/>
        </p:spPr>
        <p:txBody>
          <a:bodyPr/>
          <a:lstStyle/>
          <a:p>
            <a:r>
              <a:rPr lang="nb-NO" altLang="nb-NO" sz="3600" dirty="0"/>
              <a:t>Leiepriser pr. kvm kontor</a:t>
            </a:r>
            <a:br>
              <a:rPr lang="nb-NO" altLang="nb-NO" sz="3600" dirty="0"/>
            </a:br>
            <a:r>
              <a:rPr lang="nb-NO" altLang="nb-NO" sz="2800" dirty="0"/>
              <a:t>Bergen – Oktober 2001</a:t>
            </a:r>
          </a:p>
        </p:txBody>
      </p:sp>
      <p:sp>
        <p:nvSpPr>
          <p:cNvPr id="52235" name="Rectangle 11"/>
          <p:cNvSpPr>
            <a:spLocks noChangeArrowheads="1"/>
          </p:cNvSpPr>
          <p:nvPr/>
        </p:nvSpPr>
        <p:spPr bwMode="auto">
          <a:xfrm>
            <a:off x="3505200" y="1528763"/>
            <a:ext cx="4648200" cy="990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fontAlgn="base">
              <a:spcAft>
                <a:spcPct val="0"/>
              </a:spcAft>
            </a:pPr>
            <a:r>
              <a:rPr lang="nb-NO" altLang="nb-NO" sz="1800" u="sng">
                <a:solidFill>
                  <a:srgbClr val="000000"/>
                </a:solidFill>
                <a:latin typeface="Arial" charset="0"/>
              </a:rPr>
              <a:t>BASIS 900.000 KVM. KONTORAREALER</a:t>
            </a:r>
          </a:p>
          <a:p>
            <a:pPr algn="ctr" fontAlgn="base">
              <a:spcAft>
                <a:spcPct val="0"/>
              </a:spcAft>
            </a:pPr>
            <a:r>
              <a:rPr lang="nb-NO" altLang="nb-NO" sz="1800">
                <a:solidFill>
                  <a:srgbClr val="000000"/>
                </a:solidFill>
                <a:latin typeface="Arial" charset="0"/>
              </a:rPr>
              <a:t>Ekskl. fellesutgifter</a:t>
            </a:r>
          </a:p>
        </p:txBody>
      </p:sp>
      <p:graphicFrame>
        <p:nvGraphicFramePr>
          <p:cNvPr id="2" name="Object 12"/>
          <p:cNvGraphicFramePr>
            <a:graphicFrameLocks noChangeAspect="1"/>
          </p:cNvGraphicFramePr>
          <p:nvPr/>
        </p:nvGraphicFramePr>
        <p:xfrm>
          <a:off x="1422400" y="2493963"/>
          <a:ext cx="9137650" cy="431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2237" name="Line 13"/>
          <p:cNvSpPr>
            <a:spLocks noChangeShapeType="1"/>
          </p:cNvSpPr>
          <p:nvPr/>
        </p:nvSpPr>
        <p:spPr bwMode="auto">
          <a:xfrm>
            <a:off x="2133600" y="1604963"/>
            <a:ext cx="67056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nb-NO" sz="2400" b="1">
              <a:solidFill>
                <a:srgbClr val="FF0000"/>
              </a:solidFill>
              <a:latin typeface="Calibri"/>
            </a:endParaRPr>
          </a:p>
        </p:txBody>
      </p:sp>
      <p:pic>
        <p:nvPicPr>
          <p:cNvPr id="52238" name="Picture 1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0" y="4763"/>
            <a:ext cx="1112838" cy="1676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16794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Plassholder for innhold 5"/>
          <p:cNvGraphicFramePr>
            <a:graphicFrameLocks noGrp="1"/>
          </p:cNvGraphicFramePr>
          <p:nvPr>
            <p:ph idx="1"/>
          </p:nvPr>
        </p:nvGraphicFramePr>
        <p:xfrm>
          <a:off x="1193533" y="1600201"/>
          <a:ext cx="10106525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772033" y="356573"/>
            <a:ext cx="7886700" cy="674336"/>
          </a:xfrm>
        </p:spPr>
        <p:txBody>
          <a:bodyPr>
            <a:normAutofit/>
          </a:bodyPr>
          <a:lstStyle/>
          <a:p>
            <a:pPr algn="l"/>
            <a:r>
              <a:rPr lang="en-US" sz="2800" dirty="0" err="1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Calibri" panose="020F0502020204030204" pitchFamily="34" charset="0"/>
              </a:rPr>
              <a:t>Yieldnivåer</a:t>
            </a:r>
            <a:endParaRPr lang="en-US" sz="2800" dirty="0">
              <a:solidFill>
                <a:srgbClr val="00305B"/>
              </a:solidFill>
              <a:latin typeface="Helvetica Neue Light" panose="02000403000000020004"/>
              <a:ea typeface="Helvetica Neue Light" charset="0"/>
              <a:cs typeface="Calibri" panose="020F0502020204030204" pitchFamily="34" charset="0"/>
            </a:endParaRPr>
          </a:p>
        </p:txBody>
      </p:sp>
      <p:cxnSp>
        <p:nvCxnSpPr>
          <p:cNvPr id="10" name="Straight Connector 16">
            <a:extLst>
              <a:ext uri="{FF2B5EF4-FFF2-40B4-BE49-F238E27FC236}">
                <a16:creationId xmlns:a16="http://schemas.microsoft.com/office/drawing/2014/main" id="{DCDCCE6D-5F06-418C-87DE-2FFC9F9004EC}"/>
              </a:ext>
            </a:extLst>
          </p:cNvPr>
          <p:cNvCxnSpPr>
            <a:cxnSpLocks/>
          </p:cNvCxnSpPr>
          <p:nvPr/>
        </p:nvCxnSpPr>
        <p:spPr>
          <a:xfrm>
            <a:off x="1" y="1039290"/>
            <a:ext cx="12191999" cy="0"/>
          </a:xfrm>
          <a:prstGeom prst="line">
            <a:avLst/>
          </a:prstGeom>
          <a:noFill/>
          <a:ln w="6350" cap="flat" cmpd="sng" algn="ctr">
            <a:solidFill>
              <a:srgbClr val="002060"/>
            </a:solidFill>
            <a:prstDash val="solid"/>
            <a:miter lim="800000"/>
          </a:ln>
          <a:effectLst/>
        </p:spPr>
      </p:cxnSp>
      <p:cxnSp>
        <p:nvCxnSpPr>
          <p:cNvPr id="11" name="Straight Connector 16">
            <a:extLst>
              <a:ext uri="{FF2B5EF4-FFF2-40B4-BE49-F238E27FC236}">
                <a16:creationId xmlns:a16="http://schemas.microsoft.com/office/drawing/2014/main" id="{30B0423E-1DD3-4C3D-801F-950C7B13AE35}"/>
              </a:ext>
            </a:extLst>
          </p:cNvPr>
          <p:cNvCxnSpPr>
            <a:cxnSpLocks/>
          </p:cNvCxnSpPr>
          <p:nvPr/>
        </p:nvCxnSpPr>
        <p:spPr>
          <a:xfrm>
            <a:off x="0" y="6176963"/>
            <a:ext cx="12191999" cy="0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miter lim="800000"/>
          </a:ln>
          <a:effectLst/>
        </p:spPr>
      </p:cxnSp>
      <p:pic>
        <p:nvPicPr>
          <p:cNvPr id="12" name="Bilde 11">
            <a:extLst>
              <a:ext uri="{FF2B5EF4-FFF2-40B4-BE49-F238E27FC236}">
                <a16:creationId xmlns:a16="http://schemas.microsoft.com/office/drawing/2014/main" id="{BA0D5E3A-BAEE-4A6E-82E4-9D2C43461C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43820" y="6267608"/>
            <a:ext cx="1045193" cy="519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79049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1682496" y="2397948"/>
            <a:ext cx="7909415" cy="20621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marL="514326" marR="0" lvl="0" indent="-514326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altLang="nb-NO" sz="3200" b="1" i="0" u="none" strike="noStrike" kern="1200" cap="all" spc="0" normalizeH="0" baseline="0" noProof="0">
                <a:ln>
                  <a:noFill/>
                </a:ln>
                <a:solidFill>
                  <a:srgbClr val="00305B"/>
                </a:solidFill>
                <a:effectLst/>
                <a:uLnTx/>
                <a:uFillTx/>
                <a:latin typeface="Helvetica Neue Light"/>
                <a:cs typeface="Calibri Light" panose="020F0302020204030204" pitchFamily="34" charset="0"/>
              </a:rPr>
              <a:t>Leiemarkedet</a:t>
            </a:r>
          </a:p>
          <a:p>
            <a:pPr marL="514326" marR="0" lvl="0" indent="-514326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altLang="nb-NO" sz="3200" b="1" i="0" u="none" strike="noStrike" kern="1200" cap="all" spc="0" normalizeH="0" baseline="0" noProof="0">
                <a:ln>
                  <a:noFill/>
                </a:ln>
                <a:solidFill>
                  <a:srgbClr val="00305B"/>
                </a:solidFill>
                <a:effectLst/>
                <a:uLnTx/>
                <a:uFillTx/>
                <a:latin typeface="Helvetica Neue Light"/>
                <a:cs typeface="Calibri Light" panose="020F0302020204030204" pitchFamily="34" charset="0"/>
              </a:rPr>
              <a:t>Transaksjonsmarkedet</a:t>
            </a:r>
          </a:p>
          <a:p>
            <a:pPr marL="514326" indent="-514326" eaLnBrk="1" hangingPunct="1">
              <a:spcBef>
                <a:spcPct val="50000"/>
              </a:spcBef>
              <a:buFont typeface="Arial" panose="020B0604020202020204" pitchFamily="34" charset="0"/>
              <a:buChar char="•"/>
              <a:defRPr/>
            </a:pPr>
            <a:r>
              <a:rPr lang="nb-NO" altLang="nb-NO" sz="3200" b="1" cap="all">
                <a:solidFill>
                  <a:srgbClr val="00305B"/>
                </a:solidFill>
                <a:latin typeface="Helvetica Neue Light"/>
                <a:cs typeface="Calibri Light" panose="020F0302020204030204" pitchFamily="34" charset="0"/>
              </a:rPr>
              <a:t>OMLANDSKOMMUNENE - Hva skjer?</a:t>
            </a:r>
          </a:p>
        </p:txBody>
      </p:sp>
      <p:cxnSp>
        <p:nvCxnSpPr>
          <p:cNvPr id="4" name="Straight Connector 16">
            <a:extLst>
              <a:ext uri="{FF2B5EF4-FFF2-40B4-BE49-F238E27FC236}">
                <a16:creationId xmlns:a16="http://schemas.microsoft.com/office/drawing/2014/main" id="{CD5AF9D3-603D-4A95-B9CF-80505660CDD5}"/>
              </a:ext>
            </a:extLst>
          </p:cNvPr>
          <p:cNvCxnSpPr>
            <a:cxnSpLocks/>
          </p:cNvCxnSpPr>
          <p:nvPr/>
        </p:nvCxnSpPr>
        <p:spPr>
          <a:xfrm>
            <a:off x="1" y="1039290"/>
            <a:ext cx="12191999" cy="0"/>
          </a:xfrm>
          <a:prstGeom prst="line">
            <a:avLst/>
          </a:prstGeom>
          <a:noFill/>
          <a:ln w="6350" cap="flat" cmpd="sng" algn="ctr">
            <a:solidFill>
              <a:srgbClr val="00305B"/>
            </a:solidFill>
            <a:prstDash val="solid"/>
            <a:miter lim="800000"/>
          </a:ln>
          <a:effectLst/>
        </p:spPr>
      </p:cxnSp>
      <p:cxnSp>
        <p:nvCxnSpPr>
          <p:cNvPr id="5" name="Straight Connector 16">
            <a:extLst>
              <a:ext uri="{FF2B5EF4-FFF2-40B4-BE49-F238E27FC236}">
                <a16:creationId xmlns:a16="http://schemas.microsoft.com/office/drawing/2014/main" id="{97EAC974-6DDA-4214-9FC2-9E7FAE7773F3}"/>
              </a:ext>
            </a:extLst>
          </p:cNvPr>
          <p:cNvCxnSpPr>
            <a:cxnSpLocks/>
          </p:cNvCxnSpPr>
          <p:nvPr/>
        </p:nvCxnSpPr>
        <p:spPr>
          <a:xfrm>
            <a:off x="0" y="6176963"/>
            <a:ext cx="12191999" cy="0"/>
          </a:xfrm>
          <a:prstGeom prst="line">
            <a:avLst/>
          </a:prstGeom>
          <a:noFill/>
          <a:ln w="19050" cap="flat" cmpd="sng" algn="ctr">
            <a:solidFill>
              <a:srgbClr val="00305B"/>
            </a:solidFill>
            <a:prstDash val="solid"/>
            <a:miter lim="800000"/>
          </a:ln>
          <a:effectLst/>
        </p:spPr>
      </p:cxnSp>
      <p:pic>
        <p:nvPicPr>
          <p:cNvPr id="6" name="Bilde 5">
            <a:extLst>
              <a:ext uri="{FF2B5EF4-FFF2-40B4-BE49-F238E27FC236}">
                <a16:creationId xmlns:a16="http://schemas.microsoft.com/office/drawing/2014/main" id="{D2F19C8C-E5E8-43DE-8879-F51361D129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43820" y="6267608"/>
            <a:ext cx="1045193" cy="519371"/>
          </a:xfrm>
          <a:prstGeom prst="rect">
            <a:avLst/>
          </a:prstGeom>
        </p:spPr>
      </p:pic>
      <p:sp>
        <p:nvSpPr>
          <p:cNvPr id="7" name="Tittel 3">
            <a:extLst>
              <a:ext uri="{FF2B5EF4-FFF2-40B4-BE49-F238E27FC236}">
                <a16:creationId xmlns:a16="http://schemas.microsoft.com/office/drawing/2014/main" id="{72A1FD12-E0CC-4D77-8A10-9DAC066B732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" y="373951"/>
            <a:ext cx="12191998" cy="5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3600" b="1" cap="all">
                <a:solidFill>
                  <a:srgbClr val="00305B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AGENDA</a:t>
            </a:r>
          </a:p>
        </p:txBody>
      </p:sp>
      <p:sp>
        <p:nvSpPr>
          <p:cNvPr id="10" name="Text Box 9">
            <a:extLst>
              <a:ext uri="{FF2B5EF4-FFF2-40B4-BE49-F238E27FC236}">
                <a16:creationId xmlns:a16="http://schemas.microsoft.com/office/drawing/2014/main" id="{576DB04B-8921-4E78-B07E-2A282377B87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2986" y="6373404"/>
            <a:ext cx="305752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nb-NO" altLang="nb-NO" sz="1400" b="1" i="0" u="none" strike="noStrike" kern="1200" cap="none" spc="0" normalizeH="0" baseline="0" noProof="0">
                <a:ln>
                  <a:noFill/>
                </a:ln>
                <a:solidFill>
                  <a:srgbClr val="00305B"/>
                </a:solidFill>
                <a:effectLst/>
                <a:uLnTx/>
                <a:uFillTx/>
                <a:latin typeface="Helvetica Neue Light"/>
                <a:ea typeface="+mn-ea"/>
                <a:cs typeface="Calibri Light" panose="020F0302020204030204" pitchFamily="34" charset="0"/>
              </a:rPr>
              <a:t>Scandic Ørnen 5. mai 2022</a:t>
            </a:r>
          </a:p>
        </p:txBody>
      </p:sp>
    </p:spTree>
    <p:extLst>
      <p:ext uri="{BB962C8B-B14F-4D97-AF65-F5344CB8AC3E}">
        <p14:creationId xmlns:p14="http://schemas.microsoft.com/office/powerpoint/2010/main" val="2236505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4AD69E1-2676-470A-A5D8-867E843F1B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4AD69E1-2676-470A-A5D8-867E843F1B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Straight Connector 16">
            <a:extLst>
              <a:ext uri="{FF2B5EF4-FFF2-40B4-BE49-F238E27FC236}">
                <a16:creationId xmlns:a16="http://schemas.microsoft.com/office/drawing/2014/main" id="{0034B79B-C2E9-482C-A43D-DB5EEFC52E7E}"/>
              </a:ext>
            </a:extLst>
          </p:cNvPr>
          <p:cNvCxnSpPr>
            <a:cxnSpLocks/>
          </p:cNvCxnSpPr>
          <p:nvPr/>
        </p:nvCxnSpPr>
        <p:spPr>
          <a:xfrm>
            <a:off x="1" y="1039290"/>
            <a:ext cx="12191999" cy="0"/>
          </a:xfrm>
          <a:prstGeom prst="line">
            <a:avLst/>
          </a:prstGeom>
          <a:noFill/>
          <a:ln w="6350" cap="flat" cmpd="sng" algn="ctr">
            <a:solidFill>
              <a:srgbClr val="002060"/>
            </a:solidFill>
            <a:prstDash val="solid"/>
            <a:miter lim="800000"/>
          </a:ln>
          <a:effectLst/>
        </p:spPr>
      </p:cxnSp>
      <p:cxnSp>
        <p:nvCxnSpPr>
          <p:cNvPr id="6" name="Straight Connector 16">
            <a:extLst>
              <a:ext uri="{FF2B5EF4-FFF2-40B4-BE49-F238E27FC236}">
                <a16:creationId xmlns:a16="http://schemas.microsoft.com/office/drawing/2014/main" id="{37ED2C45-8D75-4D86-8CF8-650E0FA32D4E}"/>
              </a:ext>
            </a:extLst>
          </p:cNvPr>
          <p:cNvCxnSpPr>
            <a:cxnSpLocks/>
          </p:cNvCxnSpPr>
          <p:nvPr/>
        </p:nvCxnSpPr>
        <p:spPr>
          <a:xfrm>
            <a:off x="0" y="6176963"/>
            <a:ext cx="12191999" cy="0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miter lim="800000"/>
          </a:ln>
          <a:effectLst/>
        </p:spPr>
      </p:cxnSp>
      <p:pic>
        <p:nvPicPr>
          <p:cNvPr id="93" name="Bilde 6">
            <a:extLst>
              <a:ext uri="{FF2B5EF4-FFF2-40B4-BE49-F238E27FC236}">
                <a16:creationId xmlns:a16="http://schemas.microsoft.com/office/drawing/2014/main" id="{8FFA2BFA-8AF9-42B6-BDAF-841814A0BBD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043820" y="6267608"/>
            <a:ext cx="1045193" cy="519371"/>
          </a:xfrm>
          <a:prstGeom prst="rect">
            <a:avLst/>
          </a:prstGeom>
        </p:spPr>
      </p:pic>
      <p:pic>
        <p:nvPicPr>
          <p:cNvPr id="3" name="Bilde 2">
            <a:extLst>
              <a:ext uri="{FF2B5EF4-FFF2-40B4-BE49-F238E27FC236}">
                <a16:creationId xmlns:a16="http://schemas.microsoft.com/office/drawing/2014/main" id="{9C10D081-3887-B4A8-BE43-329C52A7C08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0849" y="1953037"/>
            <a:ext cx="5755184" cy="3265309"/>
          </a:xfrm>
          <a:prstGeom prst="rect">
            <a:avLst/>
          </a:prstGeom>
        </p:spPr>
      </p:pic>
      <p:sp>
        <p:nvSpPr>
          <p:cNvPr id="4" name="TekstSylinder 3">
            <a:extLst>
              <a:ext uri="{FF2B5EF4-FFF2-40B4-BE49-F238E27FC236}">
                <a16:creationId xmlns:a16="http://schemas.microsoft.com/office/drawing/2014/main" id="{0E0EC8EC-A68C-C0E5-8979-6AF2406E3A11}"/>
              </a:ext>
            </a:extLst>
          </p:cNvPr>
          <p:cNvSpPr txBox="1"/>
          <p:nvPr/>
        </p:nvSpPr>
        <p:spPr>
          <a:xfrm>
            <a:off x="320849" y="1553227"/>
            <a:ext cx="56039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Fiktivt kontorbygg på Torgalmenningen uten butikker</a:t>
            </a: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E77D256D-E178-12BC-FC62-436776AB06D7}"/>
              </a:ext>
            </a:extLst>
          </p:cNvPr>
          <p:cNvSpPr txBox="1"/>
          <p:nvPr/>
        </p:nvSpPr>
        <p:spPr>
          <a:xfrm>
            <a:off x="6425852" y="1778696"/>
            <a:ext cx="461796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2001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Antall kvm 3 000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Leie kr 1 550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Avkastning 7,8 %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Verdi MNOK 55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2368D344-2ACE-280D-DD59-D37E15D895F4}"/>
              </a:ext>
            </a:extLst>
          </p:cNvPr>
          <p:cNvSpPr txBox="1"/>
          <p:nvPr/>
        </p:nvSpPr>
        <p:spPr>
          <a:xfrm>
            <a:off x="6425852" y="3481663"/>
            <a:ext cx="461796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2021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Antall kvm 3 000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Leie kr 2 500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Avkastning 3,75 %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Verdi MNOK 184</a:t>
            </a: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48DF41C5-C755-F7DB-B515-508722C7106A}"/>
              </a:ext>
            </a:extLst>
          </p:cNvPr>
          <p:cNvSpPr txBox="1"/>
          <p:nvPr/>
        </p:nvSpPr>
        <p:spPr>
          <a:xfrm>
            <a:off x="6601216" y="5110619"/>
            <a:ext cx="30187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Økning 235 % på 20 år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4BC68059-199F-587B-61BD-9D3D35F9DC64}"/>
              </a:ext>
            </a:extLst>
          </p:cNvPr>
          <p:cNvSpPr txBox="1">
            <a:spLocks/>
          </p:cNvSpPr>
          <p:nvPr/>
        </p:nvSpPr>
        <p:spPr>
          <a:xfrm>
            <a:off x="893158" y="310217"/>
            <a:ext cx="9140190" cy="6743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err="1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Utvikling</a:t>
            </a:r>
            <a:r>
              <a:rPr lang="en-US" sz="2800" dirty="0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 </a:t>
            </a:r>
            <a:r>
              <a:rPr lang="en-US" sz="2800" dirty="0" err="1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verdi</a:t>
            </a:r>
            <a:r>
              <a:rPr lang="en-US" sz="2800" dirty="0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 </a:t>
            </a:r>
            <a:r>
              <a:rPr lang="en-US" sz="2800" dirty="0" err="1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næringseiendom</a:t>
            </a:r>
            <a:endParaRPr lang="en-US" sz="2800" dirty="0">
              <a:solidFill>
                <a:srgbClr val="00305B"/>
              </a:solidFill>
              <a:latin typeface="+mn-lt"/>
              <a:ea typeface="Helvetica Neue Light" charset="0"/>
              <a:cs typeface="Helvetica Neue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401122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4AD69E1-2676-470A-A5D8-867E843F1B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4AD69E1-2676-470A-A5D8-867E843F1B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Straight Connector 16">
            <a:extLst>
              <a:ext uri="{FF2B5EF4-FFF2-40B4-BE49-F238E27FC236}">
                <a16:creationId xmlns:a16="http://schemas.microsoft.com/office/drawing/2014/main" id="{0034B79B-C2E9-482C-A43D-DB5EEFC52E7E}"/>
              </a:ext>
            </a:extLst>
          </p:cNvPr>
          <p:cNvCxnSpPr>
            <a:cxnSpLocks/>
          </p:cNvCxnSpPr>
          <p:nvPr/>
        </p:nvCxnSpPr>
        <p:spPr>
          <a:xfrm>
            <a:off x="1" y="1039290"/>
            <a:ext cx="12191999" cy="0"/>
          </a:xfrm>
          <a:prstGeom prst="line">
            <a:avLst/>
          </a:prstGeom>
          <a:noFill/>
          <a:ln w="6350" cap="flat" cmpd="sng" algn="ctr">
            <a:solidFill>
              <a:srgbClr val="002060"/>
            </a:solidFill>
            <a:prstDash val="solid"/>
            <a:miter lim="800000"/>
          </a:ln>
          <a:effectLst/>
        </p:spPr>
      </p:cxnSp>
      <p:cxnSp>
        <p:nvCxnSpPr>
          <p:cNvPr id="6" name="Straight Connector 16">
            <a:extLst>
              <a:ext uri="{FF2B5EF4-FFF2-40B4-BE49-F238E27FC236}">
                <a16:creationId xmlns:a16="http://schemas.microsoft.com/office/drawing/2014/main" id="{37ED2C45-8D75-4D86-8CF8-650E0FA32D4E}"/>
              </a:ext>
            </a:extLst>
          </p:cNvPr>
          <p:cNvCxnSpPr>
            <a:cxnSpLocks/>
          </p:cNvCxnSpPr>
          <p:nvPr/>
        </p:nvCxnSpPr>
        <p:spPr>
          <a:xfrm>
            <a:off x="0" y="6176963"/>
            <a:ext cx="12191999" cy="0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miter lim="800000"/>
          </a:ln>
          <a:effectLst/>
        </p:spPr>
      </p:cxnSp>
      <p:pic>
        <p:nvPicPr>
          <p:cNvPr id="93" name="Bilde 6">
            <a:extLst>
              <a:ext uri="{FF2B5EF4-FFF2-40B4-BE49-F238E27FC236}">
                <a16:creationId xmlns:a16="http://schemas.microsoft.com/office/drawing/2014/main" id="{8FFA2BFA-8AF9-42B6-BDAF-841814A0BBD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043820" y="6267608"/>
            <a:ext cx="1045193" cy="519371"/>
          </a:xfrm>
          <a:prstGeom prst="rect">
            <a:avLst/>
          </a:prstGeom>
        </p:spPr>
      </p:pic>
      <p:sp>
        <p:nvSpPr>
          <p:cNvPr id="31" name="Title 1">
            <a:extLst>
              <a:ext uri="{FF2B5EF4-FFF2-40B4-BE49-F238E27FC236}">
                <a16:creationId xmlns:a16="http://schemas.microsoft.com/office/drawing/2014/main" id="{C692D4E1-AD4D-4373-8B4D-465CF75A4D1A}"/>
              </a:ext>
            </a:extLst>
          </p:cNvPr>
          <p:cNvSpPr txBox="1">
            <a:spLocks/>
          </p:cNvSpPr>
          <p:nvPr/>
        </p:nvSpPr>
        <p:spPr>
          <a:xfrm>
            <a:off x="893158" y="310217"/>
            <a:ext cx="7886700" cy="6743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Oslo </a:t>
            </a:r>
            <a:r>
              <a:rPr lang="en-US" sz="2800" dirty="0" err="1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Børs</a:t>
            </a:r>
            <a:endParaRPr lang="en-US" sz="2800" dirty="0">
              <a:solidFill>
                <a:srgbClr val="00305B"/>
              </a:solidFill>
              <a:latin typeface="+mn-lt"/>
              <a:ea typeface="Helvetica Neue Light" charset="0"/>
              <a:cs typeface="Helvetica Neue Light" charset="0"/>
            </a:endParaRPr>
          </a:p>
        </p:txBody>
      </p:sp>
      <p:pic>
        <p:nvPicPr>
          <p:cNvPr id="35844" name="Picture 4">
            <a:extLst>
              <a:ext uri="{FF2B5EF4-FFF2-40B4-BE49-F238E27FC236}">
                <a16:creationId xmlns:a16="http://schemas.microsoft.com/office/drawing/2014/main" id="{AC052A55-9438-E794-F03A-F09A4F4322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3123" y="1217122"/>
            <a:ext cx="8542751" cy="4869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Snakkeboble: oval 1">
            <a:extLst>
              <a:ext uri="{FF2B5EF4-FFF2-40B4-BE49-F238E27FC236}">
                <a16:creationId xmlns:a16="http://schemas.microsoft.com/office/drawing/2014/main" id="{66A08D96-6033-EBAB-CBA7-E55E58C89DF5}"/>
              </a:ext>
            </a:extLst>
          </p:cNvPr>
          <p:cNvSpPr/>
          <p:nvPr/>
        </p:nvSpPr>
        <p:spPr>
          <a:xfrm>
            <a:off x="9599113" y="681037"/>
            <a:ext cx="1862202" cy="1303502"/>
          </a:xfrm>
          <a:prstGeom prst="wedgeEllipse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31.12.2021 ca. 1 200</a:t>
            </a:r>
          </a:p>
        </p:txBody>
      </p:sp>
    </p:spTree>
    <p:extLst>
      <p:ext uri="{BB962C8B-B14F-4D97-AF65-F5344CB8AC3E}">
        <p14:creationId xmlns:p14="http://schemas.microsoft.com/office/powerpoint/2010/main" val="342098944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4AD69E1-2676-470A-A5D8-867E843F1B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4AD69E1-2676-470A-A5D8-867E843F1B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Straight Connector 16">
            <a:extLst>
              <a:ext uri="{FF2B5EF4-FFF2-40B4-BE49-F238E27FC236}">
                <a16:creationId xmlns:a16="http://schemas.microsoft.com/office/drawing/2014/main" id="{0034B79B-C2E9-482C-A43D-DB5EEFC52E7E}"/>
              </a:ext>
            </a:extLst>
          </p:cNvPr>
          <p:cNvCxnSpPr>
            <a:cxnSpLocks/>
          </p:cNvCxnSpPr>
          <p:nvPr/>
        </p:nvCxnSpPr>
        <p:spPr>
          <a:xfrm>
            <a:off x="1" y="1039290"/>
            <a:ext cx="12191999" cy="0"/>
          </a:xfrm>
          <a:prstGeom prst="line">
            <a:avLst/>
          </a:prstGeom>
          <a:noFill/>
          <a:ln w="6350" cap="flat" cmpd="sng" algn="ctr">
            <a:solidFill>
              <a:srgbClr val="002060"/>
            </a:solidFill>
            <a:prstDash val="solid"/>
            <a:miter lim="800000"/>
          </a:ln>
          <a:effectLst/>
        </p:spPr>
      </p:cxnSp>
      <p:cxnSp>
        <p:nvCxnSpPr>
          <p:cNvPr id="6" name="Straight Connector 16">
            <a:extLst>
              <a:ext uri="{FF2B5EF4-FFF2-40B4-BE49-F238E27FC236}">
                <a16:creationId xmlns:a16="http://schemas.microsoft.com/office/drawing/2014/main" id="{37ED2C45-8D75-4D86-8CF8-650E0FA32D4E}"/>
              </a:ext>
            </a:extLst>
          </p:cNvPr>
          <p:cNvCxnSpPr>
            <a:cxnSpLocks/>
          </p:cNvCxnSpPr>
          <p:nvPr/>
        </p:nvCxnSpPr>
        <p:spPr>
          <a:xfrm>
            <a:off x="0" y="6176963"/>
            <a:ext cx="12191999" cy="0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miter lim="800000"/>
          </a:ln>
          <a:effectLst/>
        </p:spPr>
      </p:cxnSp>
      <p:pic>
        <p:nvPicPr>
          <p:cNvPr id="93" name="Bilde 6">
            <a:extLst>
              <a:ext uri="{FF2B5EF4-FFF2-40B4-BE49-F238E27FC236}">
                <a16:creationId xmlns:a16="http://schemas.microsoft.com/office/drawing/2014/main" id="{8FFA2BFA-8AF9-42B6-BDAF-841814A0BBD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043820" y="6267608"/>
            <a:ext cx="1045193" cy="519371"/>
          </a:xfrm>
          <a:prstGeom prst="rect">
            <a:avLst/>
          </a:prstGeom>
        </p:spPr>
      </p:pic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F6B1B7F7-67B3-26BB-B747-8D913651A194}"/>
              </a:ext>
            </a:extLst>
          </p:cNvPr>
          <p:cNvGraphicFramePr>
            <a:graphicFrameLocks/>
          </p:cNvGraphicFramePr>
          <p:nvPr/>
        </p:nvGraphicFramePr>
        <p:xfrm>
          <a:off x="1689652" y="1212575"/>
          <a:ext cx="8666922" cy="47608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ekstSylinder 9">
            <a:extLst>
              <a:ext uri="{FF2B5EF4-FFF2-40B4-BE49-F238E27FC236}">
                <a16:creationId xmlns:a16="http://schemas.microsoft.com/office/drawing/2014/main" id="{BC47A2BE-DE82-E2B5-0303-9D7B35391D39}"/>
              </a:ext>
            </a:extLst>
          </p:cNvPr>
          <p:cNvSpPr txBox="1"/>
          <p:nvPr/>
        </p:nvSpPr>
        <p:spPr>
          <a:xfrm>
            <a:off x="545121" y="1129935"/>
            <a:ext cx="7970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000" dirty="0"/>
              <a:t>Tall i MNOK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7180DEC-8903-ADEB-53B3-B8563782B62D}"/>
              </a:ext>
            </a:extLst>
          </p:cNvPr>
          <p:cNvSpPr txBox="1">
            <a:spLocks/>
          </p:cNvSpPr>
          <p:nvPr/>
        </p:nvSpPr>
        <p:spPr>
          <a:xfrm>
            <a:off x="893158" y="310217"/>
            <a:ext cx="9140190" cy="6743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err="1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Aksjer</a:t>
            </a:r>
            <a:r>
              <a:rPr lang="en-US" sz="2800" dirty="0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 versus </a:t>
            </a:r>
            <a:r>
              <a:rPr lang="en-US" sz="2800" dirty="0" err="1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næringseiendom</a:t>
            </a:r>
            <a:endParaRPr lang="en-US" sz="2800" dirty="0">
              <a:solidFill>
                <a:srgbClr val="00305B"/>
              </a:solidFill>
              <a:latin typeface="+mn-lt"/>
              <a:ea typeface="Helvetica Neue Light" charset="0"/>
              <a:cs typeface="Helvetica Neue Light" charset="0"/>
            </a:endParaRP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0FC2A648-8A9D-D4DC-E81E-580E05A7D458}"/>
              </a:ext>
            </a:extLst>
          </p:cNvPr>
          <p:cNvSpPr txBox="1"/>
          <p:nvPr/>
        </p:nvSpPr>
        <p:spPr>
          <a:xfrm>
            <a:off x="2115377" y="4422422"/>
            <a:ext cx="34496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000" dirty="0"/>
              <a:t> 55</a:t>
            </a:r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418FD43E-6A76-4595-AC24-D9B76EF52302}"/>
              </a:ext>
            </a:extLst>
          </p:cNvPr>
          <p:cNvSpPr txBox="1"/>
          <p:nvPr/>
        </p:nvSpPr>
        <p:spPr>
          <a:xfrm>
            <a:off x="10227680" y="1734639"/>
            <a:ext cx="38183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000" dirty="0"/>
              <a:t>255</a:t>
            </a: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E8C8374F-850E-A9C3-7B7A-98E3EDB5B231}"/>
              </a:ext>
            </a:extLst>
          </p:cNvPr>
          <p:cNvSpPr txBox="1"/>
          <p:nvPr/>
        </p:nvSpPr>
        <p:spPr>
          <a:xfrm>
            <a:off x="10292127" y="2707982"/>
            <a:ext cx="41069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000" dirty="0"/>
              <a:t> 184</a:t>
            </a:r>
          </a:p>
        </p:txBody>
      </p:sp>
      <p:sp>
        <p:nvSpPr>
          <p:cNvPr id="2" name="Høyre klammeparentes 1">
            <a:extLst>
              <a:ext uri="{FF2B5EF4-FFF2-40B4-BE49-F238E27FC236}">
                <a16:creationId xmlns:a16="http://schemas.microsoft.com/office/drawing/2014/main" id="{E4555CB1-D8FB-BAB9-E5C4-52D8D8D25C71}"/>
              </a:ext>
            </a:extLst>
          </p:cNvPr>
          <p:cNvSpPr/>
          <p:nvPr/>
        </p:nvSpPr>
        <p:spPr>
          <a:xfrm>
            <a:off x="10601984" y="1857749"/>
            <a:ext cx="155448" cy="9144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5" name="TekstSylinder 14">
            <a:extLst>
              <a:ext uri="{FF2B5EF4-FFF2-40B4-BE49-F238E27FC236}">
                <a16:creationId xmlns:a16="http://schemas.microsoft.com/office/drawing/2014/main" id="{5BA3D9F1-D1D7-0E5B-1236-302A5EED4699}"/>
              </a:ext>
            </a:extLst>
          </p:cNvPr>
          <p:cNvSpPr txBox="1"/>
          <p:nvPr/>
        </p:nvSpPr>
        <p:spPr>
          <a:xfrm>
            <a:off x="10757432" y="2191838"/>
            <a:ext cx="34496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000" dirty="0"/>
              <a:t> 71</a:t>
            </a:r>
          </a:p>
        </p:txBody>
      </p:sp>
    </p:spTree>
    <p:extLst>
      <p:ext uri="{BB962C8B-B14F-4D97-AF65-F5344CB8AC3E}">
        <p14:creationId xmlns:p14="http://schemas.microsoft.com/office/powerpoint/2010/main" val="110722749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4AD69E1-2676-470A-A5D8-867E843F1B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4AD69E1-2676-470A-A5D8-867E843F1B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F5E50A4B-F6F8-4C78-BC30-47B9972AF826}"/>
              </a:ext>
            </a:extLst>
          </p:cNvPr>
          <p:cNvCxnSpPr>
            <a:cxnSpLocks/>
          </p:cNvCxnSpPr>
          <p:nvPr/>
        </p:nvCxnSpPr>
        <p:spPr>
          <a:xfrm>
            <a:off x="10244131" y="1608518"/>
            <a:ext cx="0" cy="2096384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16">
            <a:extLst>
              <a:ext uri="{FF2B5EF4-FFF2-40B4-BE49-F238E27FC236}">
                <a16:creationId xmlns:a16="http://schemas.microsoft.com/office/drawing/2014/main" id="{0034B79B-C2E9-482C-A43D-DB5EEFC52E7E}"/>
              </a:ext>
            </a:extLst>
          </p:cNvPr>
          <p:cNvCxnSpPr>
            <a:cxnSpLocks/>
          </p:cNvCxnSpPr>
          <p:nvPr/>
        </p:nvCxnSpPr>
        <p:spPr>
          <a:xfrm>
            <a:off x="1" y="1039290"/>
            <a:ext cx="12191999" cy="0"/>
          </a:xfrm>
          <a:prstGeom prst="line">
            <a:avLst/>
          </a:prstGeom>
          <a:noFill/>
          <a:ln w="6350" cap="flat" cmpd="sng" algn="ctr">
            <a:solidFill>
              <a:srgbClr val="002060"/>
            </a:solidFill>
            <a:prstDash val="solid"/>
            <a:miter lim="800000"/>
          </a:ln>
          <a:effectLst/>
        </p:spPr>
      </p:cxnSp>
      <p:cxnSp>
        <p:nvCxnSpPr>
          <p:cNvPr id="6" name="Straight Connector 16">
            <a:extLst>
              <a:ext uri="{FF2B5EF4-FFF2-40B4-BE49-F238E27FC236}">
                <a16:creationId xmlns:a16="http://schemas.microsoft.com/office/drawing/2014/main" id="{37ED2C45-8D75-4D86-8CF8-650E0FA32D4E}"/>
              </a:ext>
            </a:extLst>
          </p:cNvPr>
          <p:cNvCxnSpPr>
            <a:cxnSpLocks/>
          </p:cNvCxnSpPr>
          <p:nvPr/>
        </p:nvCxnSpPr>
        <p:spPr>
          <a:xfrm>
            <a:off x="0" y="6176963"/>
            <a:ext cx="12191999" cy="0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miter lim="800000"/>
          </a:ln>
          <a:effectLst/>
        </p:spPr>
      </p:cxnSp>
      <p:pic>
        <p:nvPicPr>
          <p:cNvPr id="93" name="Bilde 6">
            <a:extLst>
              <a:ext uri="{FF2B5EF4-FFF2-40B4-BE49-F238E27FC236}">
                <a16:creationId xmlns:a16="http://schemas.microsoft.com/office/drawing/2014/main" id="{8FFA2BFA-8AF9-42B6-BDAF-841814A0BBD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043820" y="6267608"/>
            <a:ext cx="1045193" cy="519371"/>
          </a:xfrm>
          <a:prstGeom prst="rect">
            <a:avLst/>
          </a:prstGeom>
        </p:spPr>
      </p:pic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2F2BF20D-BADB-4DFB-AC97-AA6585D0EE1F}"/>
              </a:ext>
            </a:extLst>
          </p:cNvPr>
          <p:cNvGraphicFramePr>
            <a:graphicFrameLocks noGrp="1"/>
          </p:cNvGraphicFramePr>
          <p:nvPr>
            <p:ph sz="half" idx="2"/>
          </p:nvPr>
        </p:nvGraphicFramePr>
        <p:xfrm>
          <a:off x="427959" y="1196959"/>
          <a:ext cx="11336080" cy="45718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1" name="Title 1">
            <a:extLst>
              <a:ext uri="{FF2B5EF4-FFF2-40B4-BE49-F238E27FC236}">
                <a16:creationId xmlns:a16="http://schemas.microsoft.com/office/drawing/2014/main" id="{C692D4E1-AD4D-4373-8B4D-465CF75A4D1A}"/>
              </a:ext>
            </a:extLst>
          </p:cNvPr>
          <p:cNvSpPr txBox="1">
            <a:spLocks/>
          </p:cNvSpPr>
          <p:nvPr/>
        </p:nvSpPr>
        <p:spPr>
          <a:xfrm>
            <a:off x="893158" y="310217"/>
            <a:ext cx="7886700" cy="6743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srgbClr val="00305B"/>
                </a:solidFill>
                <a:effectLst/>
                <a:uLnTx/>
                <a:uFillTx/>
                <a:latin typeface="Helvetica Neue Light" panose="02000403000000020004"/>
                <a:ea typeface="Helvetica Neue Light" charset="0"/>
                <a:cs typeface="Helvetica Neue Light" charset="0"/>
              </a:rPr>
              <a:t>Så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305B"/>
                </a:solidFill>
                <a:effectLst/>
                <a:uLnTx/>
                <a:uFillTx/>
                <a:latin typeface="Helvetica Neue Light" panose="02000403000000020004"/>
                <a:ea typeface="Helvetica Neue Light" charset="0"/>
                <a:cs typeface="Helvetica Neue Light" charset="0"/>
              </a:rPr>
              <a:t> 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srgbClr val="00305B"/>
                </a:solidFill>
                <a:effectLst/>
                <a:uLnTx/>
                <a:uFillTx/>
                <a:latin typeface="Helvetica Neue Light" panose="02000403000000020004"/>
                <a:ea typeface="Helvetica Neue Light" charset="0"/>
                <a:cs typeface="Helvetica Neue Light" charset="0"/>
              </a:rPr>
              <a:t>nåtid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305B"/>
                </a:solidFill>
                <a:effectLst/>
                <a:uLnTx/>
                <a:uFillTx/>
                <a:latin typeface="Helvetica Neue Light" panose="02000403000000020004"/>
                <a:ea typeface="Helvetica Neue Light" charset="0"/>
                <a:cs typeface="Helvetica Neue Light" charset="0"/>
              </a:rPr>
              <a:t> - 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srgbClr val="00305B"/>
                </a:solidFill>
                <a:effectLst/>
                <a:uLnTx/>
                <a:uFillTx/>
                <a:latin typeface="Helvetica Neue Light" panose="02000403000000020004"/>
                <a:ea typeface="Helvetica Neue Light" charset="0"/>
                <a:cs typeface="Helvetica Neue Light" charset="0"/>
              </a:rPr>
              <a:t>Rekordhøyt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305B"/>
                </a:solidFill>
                <a:effectLst/>
                <a:uLnTx/>
                <a:uFillTx/>
                <a:latin typeface="Helvetica Neue Light" panose="02000403000000020004"/>
                <a:ea typeface="Helvetica Neue Light" charset="0"/>
                <a:cs typeface="Helvetica Neue Light" charset="0"/>
              </a:rPr>
              <a:t> 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srgbClr val="00305B"/>
                </a:solidFill>
                <a:effectLst/>
                <a:uLnTx/>
                <a:uFillTx/>
                <a:latin typeface="Helvetica Neue Light" panose="02000403000000020004"/>
                <a:ea typeface="Helvetica Neue Light" charset="0"/>
                <a:cs typeface="Helvetica Neue Light" charset="0"/>
              </a:rPr>
              <a:t>transaksjonsvolum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305B"/>
                </a:solidFill>
                <a:effectLst/>
                <a:uLnTx/>
                <a:uFillTx/>
                <a:latin typeface="Helvetica Neue Light" panose="02000403000000020004"/>
                <a:ea typeface="Helvetica Neue Light" charset="0"/>
                <a:cs typeface="Helvetica Neue Light" charset="0"/>
              </a:rPr>
              <a:t> 2021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00305B"/>
              </a:solidFill>
              <a:effectLst/>
              <a:uLnTx/>
              <a:uFillTx/>
              <a:latin typeface="Calibri" panose="020F0502020204030204"/>
              <a:ea typeface="Helvetica Neue Light" charset="0"/>
              <a:cs typeface="Helvetica Neue Light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1AFED99-6C32-4F66-A27C-FC0A1ECB0960}"/>
              </a:ext>
            </a:extLst>
          </p:cNvPr>
          <p:cNvSpPr txBox="1"/>
          <p:nvPr/>
        </p:nvSpPr>
        <p:spPr>
          <a:xfrm>
            <a:off x="11237495" y="4908884"/>
            <a:ext cx="14320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6ABA9D2-BDDB-4469-B4AF-0289671A7BD7}"/>
              </a:ext>
            </a:extLst>
          </p:cNvPr>
          <p:cNvSpPr txBox="1"/>
          <p:nvPr/>
        </p:nvSpPr>
        <p:spPr>
          <a:xfrm>
            <a:off x="284551" y="1089238"/>
            <a:ext cx="79092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NOK MRD</a:t>
            </a:r>
          </a:p>
        </p:txBody>
      </p:sp>
    </p:spTree>
    <p:extLst>
      <p:ext uri="{BB962C8B-B14F-4D97-AF65-F5344CB8AC3E}">
        <p14:creationId xmlns:p14="http://schemas.microsoft.com/office/powerpoint/2010/main" val="123758470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8" name="Text Box 8"/>
          <p:cNvSpPr txBox="1">
            <a:spLocks noChangeArrowheads="1"/>
          </p:cNvSpPr>
          <p:nvPr/>
        </p:nvSpPr>
        <p:spPr bwMode="auto">
          <a:xfrm>
            <a:off x="2135188" y="4724400"/>
            <a:ext cx="7345362" cy="6309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altLang="nb-NO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altLang="nb-NO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graphicFrame>
        <p:nvGraphicFramePr>
          <p:cNvPr id="9" name="Diagram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55347944"/>
              </p:ext>
            </p:extLst>
          </p:nvPr>
        </p:nvGraphicFramePr>
        <p:xfrm>
          <a:off x="1509738" y="1231127"/>
          <a:ext cx="8226643" cy="45365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8" name="Straight Connector 16">
            <a:extLst>
              <a:ext uri="{FF2B5EF4-FFF2-40B4-BE49-F238E27FC236}">
                <a16:creationId xmlns:a16="http://schemas.microsoft.com/office/drawing/2014/main" id="{2FC85B3E-ED7B-4BFD-B170-FB680B7DBD8C}"/>
              </a:ext>
            </a:extLst>
          </p:cNvPr>
          <p:cNvCxnSpPr>
            <a:cxnSpLocks/>
          </p:cNvCxnSpPr>
          <p:nvPr/>
        </p:nvCxnSpPr>
        <p:spPr>
          <a:xfrm>
            <a:off x="1" y="1039290"/>
            <a:ext cx="12191999" cy="0"/>
          </a:xfrm>
          <a:prstGeom prst="line">
            <a:avLst/>
          </a:prstGeom>
          <a:noFill/>
          <a:ln w="6350" cap="flat" cmpd="sng" algn="ctr">
            <a:solidFill>
              <a:srgbClr val="002060"/>
            </a:solidFill>
            <a:prstDash val="solid"/>
            <a:miter lim="800000"/>
          </a:ln>
          <a:effectLst/>
        </p:spPr>
      </p:cxnSp>
      <p:cxnSp>
        <p:nvCxnSpPr>
          <p:cNvPr id="13" name="Straight Connector 16">
            <a:extLst>
              <a:ext uri="{FF2B5EF4-FFF2-40B4-BE49-F238E27FC236}">
                <a16:creationId xmlns:a16="http://schemas.microsoft.com/office/drawing/2014/main" id="{62E00543-D575-49E3-A0ED-9EC11A77EBB7}"/>
              </a:ext>
            </a:extLst>
          </p:cNvPr>
          <p:cNvCxnSpPr>
            <a:cxnSpLocks/>
          </p:cNvCxnSpPr>
          <p:nvPr/>
        </p:nvCxnSpPr>
        <p:spPr>
          <a:xfrm>
            <a:off x="0" y="6176963"/>
            <a:ext cx="12191999" cy="0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miter lim="800000"/>
          </a:ln>
          <a:effectLst/>
        </p:spPr>
      </p:cxnSp>
      <p:pic>
        <p:nvPicPr>
          <p:cNvPr id="14" name="Bilde 13">
            <a:extLst>
              <a:ext uri="{FF2B5EF4-FFF2-40B4-BE49-F238E27FC236}">
                <a16:creationId xmlns:a16="http://schemas.microsoft.com/office/drawing/2014/main" id="{C7B3E8F9-2A71-4533-B436-3001AEDC539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043820" y="6267608"/>
            <a:ext cx="1045193" cy="519371"/>
          </a:xfrm>
          <a:prstGeom prst="rect">
            <a:avLst/>
          </a:prstGeom>
        </p:spPr>
      </p:pic>
      <p:sp>
        <p:nvSpPr>
          <p:cNvPr id="10" name="Rectangle 2">
            <a:extLst>
              <a:ext uri="{FF2B5EF4-FFF2-40B4-BE49-F238E27FC236}">
                <a16:creationId xmlns:a16="http://schemas.microsoft.com/office/drawing/2014/main" id="{2262E2B8-9C06-4B9A-8BAC-82B8959D3B7C}"/>
              </a:ext>
            </a:extLst>
          </p:cNvPr>
          <p:cNvSpPr txBox="1">
            <a:spLocks noChangeArrowheads="1"/>
          </p:cNvSpPr>
          <p:nvPr/>
        </p:nvSpPr>
        <p:spPr>
          <a:xfrm>
            <a:off x="1981199" y="293839"/>
            <a:ext cx="8229600" cy="6334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altLang="nb-NO" sz="2800">
                <a:solidFill>
                  <a:srgbClr val="00305B"/>
                </a:solidFill>
                <a:latin typeface="Helvetica Neue Light" panose="02000403000000020004"/>
                <a:cs typeface="Calibri" panose="020F0502020204030204" pitchFamily="34" charset="0"/>
              </a:rPr>
              <a:t>Bankenes marginer</a:t>
            </a:r>
          </a:p>
        </p:txBody>
      </p:sp>
    </p:spTree>
    <p:extLst>
      <p:ext uri="{BB962C8B-B14F-4D97-AF65-F5344CB8AC3E}">
        <p14:creationId xmlns:p14="http://schemas.microsoft.com/office/powerpoint/2010/main" val="4066663810"/>
      </p:ext>
    </p:extLst>
  </p:cSld>
  <p:clrMapOvr>
    <a:masterClrMapping/>
  </p:clrMapOvr>
  <p:transition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4AD69E1-2676-470A-A5D8-867E843F1B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4AD69E1-2676-470A-A5D8-867E843F1B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Straight Connector 16">
            <a:extLst>
              <a:ext uri="{FF2B5EF4-FFF2-40B4-BE49-F238E27FC236}">
                <a16:creationId xmlns:a16="http://schemas.microsoft.com/office/drawing/2014/main" id="{0034B79B-C2E9-482C-A43D-DB5EEFC52E7E}"/>
              </a:ext>
            </a:extLst>
          </p:cNvPr>
          <p:cNvCxnSpPr>
            <a:cxnSpLocks/>
          </p:cNvCxnSpPr>
          <p:nvPr/>
        </p:nvCxnSpPr>
        <p:spPr>
          <a:xfrm>
            <a:off x="1" y="1039290"/>
            <a:ext cx="12191999" cy="0"/>
          </a:xfrm>
          <a:prstGeom prst="line">
            <a:avLst/>
          </a:prstGeom>
          <a:noFill/>
          <a:ln w="6350" cap="flat" cmpd="sng" algn="ctr">
            <a:solidFill>
              <a:srgbClr val="002060"/>
            </a:solidFill>
            <a:prstDash val="solid"/>
            <a:miter lim="800000"/>
          </a:ln>
          <a:effectLst/>
        </p:spPr>
      </p:cxnSp>
      <p:cxnSp>
        <p:nvCxnSpPr>
          <p:cNvPr id="6" name="Straight Connector 16">
            <a:extLst>
              <a:ext uri="{FF2B5EF4-FFF2-40B4-BE49-F238E27FC236}">
                <a16:creationId xmlns:a16="http://schemas.microsoft.com/office/drawing/2014/main" id="{37ED2C45-8D75-4D86-8CF8-650E0FA32D4E}"/>
              </a:ext>
            </a:extLst>
          </p:cNvPr>
          <p:cNvCxnSpPr>
            <a:cxnSpLocks/>
          </p:cNvCxnSpPr>
          <p:nvPr/>
        </p:nvCxnSpPr>
        <p:spPr>
          <a:xfrm>
            <a:off x="0" y="6176963"/>
            <a:ext cx="12191999" cy="0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miter lim="800000"/>
          </a:ln>
          <a:effectLst/>
        </p:spPr>
      </p:cxnSp>
      <p:pic>
        <p:nvPicPr>
          <p:cNvPr id="93" name="Bilde 6">
            <a:extLst>
              <a:ext uri="{FF2B5EF4-FFF2-40B4-BE49-F238E27FC236}">
                <a16:creationId xmlns:a16="http://schemas.microsoft.com/office/drawing/2014/main" id="{8FFA2BFA-8AF9-42B6-BDAF-841814A0BBD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043820" y="6267608"/>
            <a:ext cx="1045193" cy="519371"/>
          </a:xfrm>
          <a:prstGeom prst="rect">
            <a:avLst/>
          </a:prstGeom>
        </p:spPr>
      </p:pic>
      <p:sp>
        <p:nvSpPr>
          <p:cNvPr id="31" name="Title 1">
            <a:extLst>
              <a:ext uri="{FF2B5EF4-FFF2-40B4-BE49-F238E27FC236}">
                <a16:creationId xmlns:a16="http://schemas.microsoft.com/office/drawing/2014/main" id="{C692D4E1-AD4D-4373-8B4D-465CF75A4D1A}"/>
              </a:ext>
            </a:extLst>
          </p:cNvPr>
          <p:cNvSpPr txBox="1">
            <a:spLocks/>
          </p:cNvSpPr>
          <p:nvPr/>
        </p:nvSpPr>
        <p:spPr>
          <a:xfrm>
            <a:off x="893158" y="310217"/>
            <a:ext cx="7886700" cy="6743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err="1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Rentebildet</a:t>
            </a:r>
            <a:r>
              <a:rPr lang="en-US" sz="2800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 – </a:t>
            </a:r>
            <a:r>
              <a:rPr lang="en-US" sz="2800" err="1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Styringsrente</a:t>
            </a:r>
            <a:endParaRPr lang="en-US" sz="2800">
              <a:solidFill>
                <a:srgbClr val="00305B"/>
              </a:solidFill>
              <a:latin typeface="+mn-lt"/>
              <a:ea typeface="Helvetica Neue Light" charset="0"/>
              <a:cs typeface="Helvetica Neue Light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30753E9-0BC9-4D3D-AA10-1C54159585F4}"/>
              </a:ext>
            </a:extLst>
          </p:cNvPr>
          <p:cNvSpPr txBox="1"/>
          <p:nvPr/>
        </p:nvSpPr>
        <p:spPr>
          <a:xfrm>
            <a:off x="377022" y="1251768"/>
            <a:ext cx="54358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600" b="1">
                <a:latin typeface="Helvetica Neue Light" panose="02000403000000020004"/>
              </a:rPr>
              <a:t>PROGNOSE STYRINGSRENTE</a:t>
            </a:r>
            <a:r>
              <a:rPr lang="nb-NO" sz="1600" b="1" baseline="30000">
                <a:latin typeface="Helvetica Neue Light" panose="02000403000000020004"/>
              </a:rPr>
              <a:t>1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E2B196E4-091B-4EF6-8663-9884B48B682E}"/>
              </a:ext>
            </a:extLst>
          </p:cNvPr>
          <p:cNvSpPr txBox="1">
            <a:spLocks/>
          </p:cNvSpPr>
          <p:nvPr/>
        </p:nvSpPr>
        <p:spPr>
          <a:xfrm>
            <a:off x="200472" y="6580758"/>
            <a:ext cx="7776864" cy="2326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b-NO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>
                <a:latin typeface="Helvetica Neue Light" panose="02000403000000020004"/>
              </a:rPr>
              <a:t>1. </a:t>
            </a:r>
            <a:r>
              <a:rPr lang="en-GB" err="1">
                <a:latin typeface="Helvetica Neue Light" panose="02000403000000020004"/>
              </a:rPr>
              <a:t>Kilde</a:t>
            </a:r>
            <a:r>
              <a:rPr lang="en-GB">
                <a:latin typeface="Helvetica Neue Light" panose="02000403000000020004"/>
              </a:rPr>
              <a:t>: </a:t>
            </a:r>
            <a:r>
              <a:rPr lang="en-GB" err="1">
                <a:latin typeface="Helvetica Neue Light" panose="02000403000000020004"/>
              </a:rPr>
              <a:t>Norges</a:t>
            </a:r>
            <a:r>
              <a:rPr lang="en-GB">
                <a:latin typeface="Helvetica Neue Light" panose="02000403000000020004"/>
              </a:rPr>
              <a:t> Bank </a:t>
            </a:r>
            <a:r>
              <a:rPr lang="en-GB" err="1">
                <a:latin typeface="Helvetica Neue Light" panose="02000403000000020004"/>
              </a:rPr>
              <a:t>pengepolitisk</a:t>
            </a:r>
            <a:r>
              <a:rPr lang="en-GB">
                <a:latin typeface="Helvetica Neue Light" panose="02000403000000020004"/>
              </a:rPr>
              <a:t> rappor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C4F2F4C-C25F-4B29-B826-1F6AD4C64F68}"/>
              </a:ext>
            </a:extLst>
          </p:cNvPr>
          <p:cNvSpPr txBox="1"/>
          <p:nvPr/>
        </p:nvSpPr>
        <p:spPr>
          <a:xfrm>
            <a:off x="6379138" y="2244125"/>
            <a:ext cx="5435840" cy="357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>
                <a:latin typeface="Helvetica Neue Light" panose="02000403000000020004"/>
              </a:rPr>
              <a:t>Styringsrenten har økt til 0,75 % fra rekordlave 0 %, men fortsatt lavt nivå historisk sett</a:t>
            </a:r>
          </a:p>
          <a:p>
            <a:endParaRPr lang="nb-NO" sz="1600" dirty="0">
              <a:latin typeface="Helvetica Neue Light" panose="0200040300000002000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>
                <a:latin typeface="Helvetica Neue Light" panose="02000403000000020004"/>
              </a:rPr>
              <a:t>Forventningen er en stigende rentebane som et resultat av et positivt fremtidssyn – høy økonomisk aktivite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600" dirty="0">
              <a:latin typeface="Helvetica Neue Light" panose="0200040300000002000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 err="1">
                <a:latin typeface="Helvetica Neue Light" panose="02000403000000020004"/>
              </a:rPr>
              <a:t>Pengepolitisk</a:t>
            </a:r>
            <a:r>
              <a:rPr lang="nb-NO" sz="1600" dirty="0">
                <a:latin typeface="Helvetica Neue Light" panose="02000403000000020004"/>
              </a:rPr>
              <a:t> rapport Norges Bank	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b-NO" sz="1600" dirty="0">
                <a:latin typeface="Helvetica Neue Light" panose="02000403000000020004"/>
              </a:rPr>
              <a:t>Prognose: Stigende rentebane opp til 2,5 % ved utgangen av 2024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600" dirty="0">
              <a:latin typeface="Helvetica Neue Light" panose="0200040300000002000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>
                <a:latin typeface="Helvetica Neue Light" panose="02000403000000020004"/>
              </a:rPr>
              <a:t>Investorer med 100 % EK er mindre sensitiv for økning i ren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600" dirty="0">
              <a:latin typeface="Helvetica Neue Light" panose="0200040300000002000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Helvetica Neue Light" panose="02000403000000020004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79FB8AD-4DDC-4C84-BE7F-D6DC68A28EA2}"/>
              </a:ext>
            </a:extLst>
          </p:cNvPr>
          <p:cNvSpPr txBox="1"/>
          <p:nvPr/>
        </p:nvSpPr>
        <p:spPr>
          <a:xfrm>
            <a:off x="6379138" y="1780653"/>
            <a:ext cx="54358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600" b="1" dirty="0">
                <a:latin typeface="Helvetica Neue Light" panose="02000403000000020004"/>
              </a:rPr>
              <a:t>STYRINGSRENTE OG NÆRINGSEIENDOM</a:t>
            </a:r>
            <a:endParaRPr lang="nb-NO" sz="1600" b="1" baseline="30000" dirty="0">
              <a:latin typeface="Helvetica Neue Light" panose="02000403000000020004"/>
            </a:endParaRPr>
          </a:p>
        </p:txBody>
      </p:sp>
      <p:pic>
        <p:nvPicPr>
          <p:cNvPr id="2" name="Bilde 1">
            <a:extLst>
              <a:ext uri="{FF2B5EF4-FFF2-40B4-BE49-F238E27FC236}">
                <a16:creationId xmlns:a16="http://schemas.microsoft.com/office/drawing/2014/main" id="{4F9A451A-3063-482E-8B55-185E1389BA6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19697"/>
          <a:stretch/>
        </p:blipFill>
        <p:spPr>
          <a:xfrm>
            <a:off x="377022" y="1631815"/>
            <a:ext cx="4592543" cy="4760663"/>
          </a:xfrm>
          <a:prstGeom prst="rect">
            <a:avLst/>
          </a:prstGeom>
        </p:spPr>
      </p:pic>
      <p:sp>
        <p:nvSpPr>
          <p:cNvPr id="12" name="Snakkeboble: oval 11">
            <a:extLst>
              <a:ext uri="{FF2B5EF4-FFF2-40B4-BE49-F238E27FC236}">
                <a16:creationId xmlns:a16="http://schemas.microsoft.com/office/drawing/2014/main" id="{B4C495C1-5FF7-1D57-0983-318788187D31}"/>
              </a:ext>
            </a:extLst>
          </p:cNvPr>
          <p:cNvSpPr/>
          <p:nvPr/>
        </p:nvSpPr>
        <p:spPr>
          <a:xfrm>
            <a:off x="4147581" y="948853"/>
            <a:ext cx="1948419" cy="997848"/>
          </a:xfrm>
          <a:prstGeom prst="wedgeEllipseCallout">
            <a:avLst>
              <a:gd name="adj1" fmla="val -59913"/>
              <a:gd name="adj2" fmla="val 10081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 dirty="0"/>
              <a:t>Sist styringsrenten ble satt til 2,5% var prime </a:t>
            </a:r>
            <a:r>
              <a:rPr lang="nb-NO" sz="1400" dirty="0" err="1"/>
              <a:t>yield</a:t>
            </a:r>
            <a:r>
              <a:rPr lang="nb-NO" sz="1400" dirty="0"/>
              <a:t> 6 %</a:t>
            </a:r>
          </a:p>
        </p:txBody>
      </p:sp>
    </p:spTree>
    <p:extLst>
      <p:ext uri="{BB962C8B-B14F-4D97-AF65-F5344CB8AC3E}">
        <p14:creationId xmlns:p14="http://schemas.microsoft.com/office/powerpoint/2010/main" val="49810812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4AD69E1-2676-470A-A5D8-867E843F1B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4AD69E1-2676-470A-A5D8-867E843F1B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Straight Connector 16">
            <a:extLst>
              <a:ext uri="{FF2B5EF4-FFF2-40B4-BE49-F238E27FC236}">
                <a16:creationId xmlns:a16="http://schemas.microsoft.com/office/drawing/2014/main" id="{0034B79B-C2E9-482C-A43D-DB5EEFC52E7E}"/>
              </a:ext>
            </a:extLst>
          </p:cNvPr>
          <p:cNvCxnSpPr>
            <a:cxnSpLocks/>
          </p:cNvCxnSpPr>
          <p:nvPr/>
        </p:nvCxnSpPr>
        <p:spPr>
          <a:xfrm>
            <a:off x="1" y="1039290"/>
            <a:ext cx="12191999" cy="0"/>
          </a:xfrm>
          <a:prstGeom prst="line">
            <a:avLst/>
          </a:prstGeom>
          <a:noFill/>
          <a:ln w="6350" cap="flat" cmpd="sng" algn="ctr">
            <a:solidFill>
              <a:srgbClr val="002060"/>
            </a:solidFill>
            <a:prstDash val="solid"/>
            <a:miter lim="800000"/>
          </a:ln>
          <a:effectLst/>
        </p:spPr>
      </p:cxnSp>
      <p:cxnSp>
        <p:nvCxnSpPr>
          <p:cNvPr id="6" name="Straight Connector 16">
            <a:extLst>
              <a:ext uri="{FF2B5EF4-FFF2-40B4-BE49-F238E27FC236}">
                <a16:creationId xmlns:a16="http://schemas.microsoft.com/office/drawing/2014/main" id="{37ED2C45-8D75-4D86-8CF8-650E0FA32D4E}"/>
              </a:ext>
            </a:extLst>
          </p:cNvPr>
          <p:cNvCxnSpPr>
            <a:cxnSpLocks/>
          </p:cNvCxnSpPr>
          <p:nvPr/>
        </p:nvCxnSpPr>
        <p:spPr>
          <a:xfrm>
            <a:off x="0" y="6176963"/>
            <a:ext cx="12191999" cy="0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miter lim="800000"/>
          </a:ln>
          <a:effectLst/>
        </p:spPr>
      </p:cxnSp>
      <p:pic>
        <p:nvPicPr>
          <p:cNvPr id="93" name="Bilde 6">
            <a:extLst>
              <a:ext uri="{FF2B5EF4-FFF2-40B4-BE49-F238E27FC236}">
                <a16:creationId xmlns:a16="http://schemas.microsoft.com/office/drawing/2014/main" id="{8FFA2BFA-8AF9-42B6-BDAF-841814A0BBD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043820" y="6267608"/>
            <a:ext cx="1045193" cy="519371"/>
          </a:xfrm>
          <a:prstGeom prst="rect">
            <a:avLst/>
          </a:prstGeom>
        </p:spPr>
      </p:pic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546B9895-1EA7-4CFE-ACCE-363F457D42B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53003445"/>
              </p:ext>
            </p:extLst>
          </p:nvPr>
        </p:nvGraphicFramePr>
        <p:xfrm>
          <a:off x="320210" y="1344986"/>
          <a:ext cx="11516190" cy="39817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5" name="TekstSylinder 2">
            <a:extLst>
              <a:ext uri="{FF2B5EF4-FFF2-40B4-BE49-F238E27FC236}">
                <a16:creationId xmlns:a16="http://schemas.microsoft.com/office/drawing/2014/main" id="{0243E4B9-08A7-434E-A241-53E577AF3F09}"/>
              </a:ext>
            </a:extLst>
          </p:cNvPr>
          <p:cNvSpPr txBox="1"/>
          <p:nvPr/>
        </p:nvSpPr>
        <p:spPr>
          <a:xfrm>
            <a:off x="653292" y="5384480"/>
            <a:ext cx="1076094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37" marR="0" lvl="0" indent="-285737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I 2021 økte 10-års </a:t>
            </a:r>
            <a:r>
              <a:rPr kumimoji="0" lang="nb-NO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swaprente</a:t>
            </a: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 med ~60 basispunkter til 1,9 %. Hittil i år har samme rente økt ~40 punkter til 2,3 % </a:t>
            </a:r>
          </a:p>
          <a:p>
            <a:pPr marL="285737" marR="0" lvl="0" indent="-285737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Gitt stabile marginer / kredittpåslag, innebærer økte renter dyrere finansiering som legger press på et lavt </a:t>
            </a:r>
            <a:r>
              <a:rPr kumimoji="0" lang="nb-NO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yield</a:t>
            </a: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-nivå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0437016-4863-133C-C7CE-FB8077779492}"/>
              </a:ext>
            </a:extLst>
          </p:cNvPr>
          <p:cNvSpPr txBox="1">
            <a:spLocks/>
          </p:cNvSpPr>
          <p:nvPr/>
        </p:nvSpPr>
        <p:spPr>
          <a:xfrm>
            <a:off x="743806" y="304614"/>
            <a:ext cx="7886700" cy="6743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err="1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Rentebildet</a:t>
            </a:r>
            <a:r>
              <a:rPr lang="en-US" sz="2800" dirty="0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 – Swap</a:t>
            </a:r>
            <a:endParaRPr lang="en-US" sz="2800" dirty="0">
              <a:solidFill>
                <a:srgbClr val="00305B"/>
              </a:solidFill>
              <a:latin typeface="+mn-lt"/>
              <a:ea typeface="Helvetica Neue Light" charset="0"/>
              <a:cs typeface="Helvetica Neue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902386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4AD69E1-2676-470A-A5D8-867E843F1B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4AD69E1-2676-470A-A5D8-867E843F1B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Straight Connector 16">
            <a:extLst>
              <a:ext uri="{FF2B5EF4-FFF2-40B4-BE49-F238E27FC236}">
                <a16:creationId xmlns:a16="http://schemas.microsoft.com/office/drawing/2014/main" id="{0034B79B-C2E9-482C-A43D-DB5EEFC52E7E}"/>
              </a:ext>
            </a:extLst>
          </p:cNvPr>
          <p:cNvCxnSpPr>
            <a:cxnSpLocks/>
          </p:cNvCxnSpPr>
          <p:nvPr/>
        </p:nvCxnSpPr>
        <p:spPr>
          <a:xfrm>
            <a:off x="1" y="1039290"/>
            <a:ext cx="12191999" cy="0"/>
          </a:xfrm>
          <a:prstGeom prst="line">
            <a:avLst/>
          </a:prstGeom>
          <a:noFill/>
          <a:ln w="6350" cap="flat" cmpd="sng" algn="ctr">
            <a:solidFill>
              <a:srgbClr val="002060"/>
            </a:solidFill>
            <a:prstDash val="solid"/>
            <a:miter lim="800000"/>
          </a:ln>
          <a:effectLst/>
        </p:spPr>
      </p:cxnSp>
      <p:cxnSp>
        <p:nvCxnSpPr>
          <p:cNvPr id="6" name="Straight Connector 16">
            <a:extLst>
              <a:ext uri="{FF2B5EF4-FFF2-40B4-BE49-F238E27FC236}">
                <a16:creationId xmlns:a16="http://schemas.microsoft.com/office/drawing/2014/main" id="{37ED2C45-8D75-4D86-8CF8-650E0FA32D4E}"/>
              </a:ext>
            </a:extLst>
          </p:cNvPr>
          <p:cNvCxnSpPr>
            <a:cxnSpLocks/>
          </p:cNvCxnSpPr>
          <p:nvPr/>
        </p:nvCxnSpPr>
        <p:spPr>
          <a:xfrm>
            <a:off x="0" y="6176963"/>
            <a:ext cx="12191999" cy="0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miter lim="800000"/>
          </a:ln>
          <a:effectLst/>
        </p:spPr>
      </p:cxnSp>
      <p:pic>
        <p:nvPicPr>
          <p:cNvPr id="93" name="Bilde 6">
            <a:extLst>
              <a:ext uri="{FF2B5EF4-FFF2-40B4-BE49-F238E27FC236}">
                <a16:creationId xmlns:a16="http://schemas.microsoft.com/office/drawing/2014/main" id="{8FFA2BFA-8AF9-42B6-BDAF-841814A0BBD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043820" y="6267608"/>
            <a:ext cx="1045193" cy="519371"/>
          </a:xfrm>
          <a:prstGeom prst="rect">
            <a:avLst/>
          </a:prstGeom>
        </p:spPr>
      </p:pic>
      <p:sp>
        <p:nvSpPr>
          <p:cNvPr id="31" name="Title 1">
            <a:extLst>
              <a:ext uri="{FF2B5EF4-FFF2-40B4-BE49-F238E27FC236}">
                <a16:creationId xmlns:a16="http://schemas.microsoft.com/office/drawing/2014/main" id="{C692D4E1-AD4D-4373-8B4D-465CF75A4D1A}"/>
              </a:ext>
            </a:extLst>
          </p:cNvPr>
          <p:cNvSpPr txBox="1">
            <a:spLocks/>
          </p:cNvSpPr>
          <p:nvPr/>
        </p:nvSpPr>
        <p:spPr>
          <a:xfrm>
            <a:off x="893158" y="310217"/>
            <a:ext cx="11014954" cy="6743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err="1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Hvilke</a:t>
            </a:r>
            <a:r>
              <a:rPr lang="en-US" sz="2800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 </a:t>
            </a:r>
            <a:r>
              <a:rPr lang="en-US" sz="2800" err="1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verdi</a:t>
            </a:r>
            <a:r>
              <a:rPr lang="en-US" sz="2800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 </a:t>
            </a:r>
            <a:r>
              <a:rPr lang="en-US" sz="2800" err="1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skaper</a:t>
            </a:r>
            <a:r>
              <a:rPr lang="en-US" sz="2800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 </a:t>
            </a:r>
            <a:r>
              <a:rPr lang="en-US" sz="2800" err="1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transaksjonsmarkedet</a:t>
            </a:r>
            <a:r>
              <a:rPr lang="en-US" sz="2800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? 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D6DA938-2294-487C-81AA-1345BB48C76A}"/>
              </a:ext>
            </a:extLst>
          </p:cNvPr>
          <p:cNvSpPr txBox="1"/>
          <p:nvPr/>
        </p:nvSpPr>
        <p:spPr>
          <a:xfrm>
            <a:off x="337789" y="1202200"/>
            <a:ext cx="5651813" cy="30777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>
                <a:latin typeface="Helvetica Neue Light" panose="02000403000000020004"/>
              </a:rPr>
              <a:t>På 2-3 års sikt vil nye eiere av bygg erfaringsmessig bruke 3 % av brutto eiendomsverdi på å heve standard på bygg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600">
              <a:latin typeface="Helvetica Neue Light" panose="0200040300000002000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>
                <a:latin typeface="Helvetica Neue Light" panose="02000403000000020004"/>
              </a:rPr>
              <a:t>Behov for mer miljø- og energieffektive lokaler (</a:t>
            </a:r>
            <a:r>
              <a:rPr lang="nb-NO" sz="1600" err="1">
                <a:latin typeface="Helvetica Neue Light" panose="02000403000000020004"/>
              </a:rPr>
              <a:t>Proptech</a:t>
            </a:r>
            <a:r>
              <a:rPr lang="nb-NO" sz="1600">
                <a:latin typeface="Helvetica Neue Light" panose="02000403000000020004"/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600">
              <a:latin typeface="Helvetica Neue Light" panose="02000403000000020004"/>
              <a:sym typeface="Wingdings" panose="05000000000000000000" pitchFamily="2" charset="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>
                <a:latin typeface="Helvetica Neue Light" panose="02000403000000020004"/>
                <a:sym typeface="Wingdings" panose="05000000000000000000" pitchFamily="2" charset="2"/>
              </a:rPr>
              <a:t>Basis 2021 transaksjonsvolum vil dette bety ~600 millioner kroner sysselsatt i rådgiver- og entreprenørbransj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600">
              <a:latin typeface="Helvetica Neue Light" panose="02000403000000020004"/>
              <a:sym typeface="Wingdings" panose="05000000000000000000" pitchFamily="2" charset="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>
                <a:latin typeface="Helvetica Neue Light" panose="02000403000000020004"/>
                <a:sym typeface="Wingdings" panose="05000000000000000000" pitchFamily="2" charset="2"/>
              </a:rPr>
              <a:t>Transaksjonsmarkedet stimulerer til økonomisk vekst</a:t>
            </a:r>
          </a:p>
          <a:p>
            <a:endParaRPr lang="nb-NO" sz="1600">
              <a:latin typeface="Helvetica Neue Light" panose="02000403000000020004"/>
              <a:sym typeface="Wingdings" panose="05000000000000000000" pitchFamily="2" charset="2"/>
            </a:endParaRPr>
          </a:p>
          <a:p>
            <a:r>
              <a:rPr lang="nb-NO" sz="1600">
                <a:solidFill>
                  <a:srgbClr val="FF0000"/>
                </a:solidFill>
                <a:latin typeface="Helvetica Neue Light" panose="02000403000000020004"/>
                <a:sym typeface="Wingdings" panose="05000000000000000000" pitchFamily="2" charset="2"/>
              </a:rPr>
              <a:t>   </a:t>
            </a:r>
            <a:endParaRPr lang="nb-NO" sz="1600">
              <a:solidFill>
                <a:srgbClr val="FF0000"/>
              </a:solidFill>
              <a:latin typeface="Helvetica Neue Light" panose="02000403000000020004"/>
            </a:endParaRPr>
          </a:p>
          <a:p>
            <a:endParaRPr lang="nb-NO">
              <a:solidFill>
                <a:srgbClr val="FF0000"/>
              </a:solidFill>
              <a:latin typeface="Helvetica Neue Light" panose="02000403000000020004"/>
            </a:endParaRPr>
          </a:p>
        </p:txBody>
      </p:sp>
      <p:pic>
        <p:nvPicPr>
          <p:cNvPr id="10" name="Bilde 4">
            <a:extLst>
              <a:ext uri="{FF2B5EF4-FFF2-40B4-BE49-F238E27FC236}">
                <a16:creationId xmlns:a16="http://schemas.microsoft.com/office/drawing/2014/main" id="{01734EC1-A497-4BF0-8131-2BA9F9D07DF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27909" r="2" b="2"/>
          <a:stretch/>
        </p:blipFill>
        <p:spPr>
          <a:xfrm>
            <a:off x="550583" y="3584530"/>
            <a:ext cx="5439019" cy="2483609"/>
          </a:xfrm>
          <a:prstGeom prst="rect">
            <a:avLst/>
          </a:prstGeom>
        </p:spPr>
      </p:pic>
      <p:pic>
        <p:nvPicPr>
          <p:cNvPr id="25608" name="Picture 8" descr="Zurhaar &amp;amp; Rubb AS | LinkedIn">
            <a:extLst>
              <a:ext uri="{FF2B5EF4-FFF2-40B4-BE49-F238E27FC236}">
                <a16:creationId xmlns:a16="http://schemas.microsoft.com/office/drawing/2014/main" id="{7A294B63-D1DC-402D-98DE-8FDFC29C3D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2398" y="1378899"/>
            <a:ext cx="5439019" cy="4689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229216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>
          <a:xfrm>
            <a:off x="1012054" y="308208"/>
            <a:ext cx="8229600" cy="706437"/>
          </a:xfrm>
        </p:spPr>
        <p:txBody>
          <a:bodyPr>
            <a:normAutofit/>
          </a:bodyPr>
          <a:lstStyle/>
          <a:p>
            <a:pPr algn="l" eaLnBrk="1" hangingPunct="1"/>
            <a:r>
              <a:rPr lang="nb-NO" altLang="nb-NO" sz="2800" dirty="0">
                <a:solidFill>
                  <a:srgbClr val="00305B"/>
                </a:solidFill>
                <a:latin typeface="Helvetica Neue Light" panose="02000403000000020004"/>
                <a:cs typeface="Calibri" panose="020F0502020204030204" pitchFamily="34" charset="0"/>
              </a:rPr>
              <a:t>Transaksjonsmarkedet - oppsummert</a:t>
            </a:r>
          </a:p>
        </p:txBody>
      </p:sp>
      <p:sp>
        <p:nvSpPr>
          <p:cNvPr id="7175" name="Text Box 7"/>
          <p:cNvSpPr txBox="1">
            <a:spLocks noChangeArrowheads="1"/>
          </p:cNvSpPr>
          <p:nvPr/>
        </p:nvSpPr>
        <p:spPr bwMode="auto">
          <a:xfrm>
            <a:off x="3080999" y="1924699"/>
            <a:ext cx="6783437" cy="37856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nb-NO" alt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00305B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Betydelig</a:t>
            </a:r>
            <a:r>
              <a:rPr kumimoji="0" lang="nb-NO" altLang="nb-NO" sz="1600" b="0" i="0" u="none" strike="noStrike" kern="1200" cap="none" spc="0" normalizeH="0" noProof="0" dirty="0">
                <a:ln>
                  <a:noFill/>
                </a:ln>
                <a:solidFill>
                  <a:srgbClr val="00305B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 investeringsvilje</a:t>
            </a:r>
            <a:endParaRPr kumimoji="0" lang="nb-NO" altLang="nb-NO" sz="1600" b="0" i="0" u="none" strike="noStrike" kern="1200" cap="none" spc="0" normalizeH="0" baseline="0" noProof="0" dirty="0">
              <a:ln>
                <a:noFill/>
              </a:ln>
              <a:solidFill>
                <a:srgbClr val="00305B"/>
              </a:solidFill>
              <a:effectLst/>
              <a:uLnTx/>
              <a:uFillTx/>
              <a:latin typeface="Helvetica Neue Light" panose="020004030000000200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endParaRPr lang="nb-NO" altLang="nb-NO" sz="1600" dirty="0">
              <a:solidFill>
                <a:srgbClr val="00305B"/>
              </a:solidFill>
              <a:latin typeface="Helvetica Neue Light" panose="02000403000000020004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nb-NO" altLang="nb-NO" sz="1600" dirty="0">
                <a:solidFill>
                  <a:srgbClr val="00305B"/>
                </a:solidFill>
                <a:latin typeface="Helvetica Neue Light" panose="02000403000000020004"/>
              </a:rPr>
              <a:t>Ustabil verdensøkonomi</a:t>
            </a:r>
            <a:endParaRPr kumimoji="0" lang="nb-NO" altLang="nb-NO" sz="1600" b="0" i="0" u="none" strike="noStrike" kern="1200" cap="none" spc="0" normalizeH="0" baseline="0" noProof="0" dirty="0">
              <a:ln>
                <a:noFill/>
              </a:ln>
              <a:solidFill>
                <a:srgbClr val="00305B"/>
              </a:solidFill>
              <a:effectLst/>
              <a:uLnTx/>
              <a:uFillTx/>
              <a:latin typeface="Helvetica Neue Light" panose="020004030000000200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endParaRPr kumimoji="0" lang="nb-NO" altLang="nb-NO" sz="1600" b="0" i="0" u="none" strike="noStrike" kern="1200" cap="none" spc="0" normalizeH="0" baseline="0" noProof="0" dirty="0">
              <a:ln>
                <a:noFill/>
              </a:ln>
              <a:solidFill>
                <a:srgbClr val="00305B"/>
              </a:solidFill>
              <a:effectLst/>
              <a:uLnTx/>
              <a:uFillTx/>
              <a:latin typeface="Helvetica Neue Light" panose="020004030000000200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nb-NO" alt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00305B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Arbeidsmarkedet er tilbake – mangel på arbeidskraft i noen bransje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endParaRPr kumimoji="0" lang="nb-NO" altLang="nb-NO" sz="1600" b="0" i="0" u="none" strike="noStrike" kern="1200" cap="none" spc="0" normalizeH="0" baseline="0" noProof="0" dirty="0">
              <a:ln>
                <a:noFill/>
              </a:ln>
              <a:solidFill>
                <a:srgbClr val="00305B"/>
              </a:solidFill>
              <a:effectLst/>
              <a:uLnTx/>
              <a:uFillTx/>
              <a:latin typeface="Helvetica Neue Light" panose="020004030000000200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nb-NO" alt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00305B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Banker er utlånsvillig – krav til betydelig egenkapital (30 – 40 %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endParaRPr kumimoji="0" lang="nb-NO" altLang="nb-NO" sz="1600" b="0" i="0" u="none" strike="noStrike" kern="1200" cap="none" spc="0" normalizeH="0" baseline="0" noProof="0" dirty="0">
              <a:ln>
                <a:noFill/>
              </a:ln>
              <a:solidFill>
                <a:srgbClr val="00305B"/>
              </a:solidFill>
              <a:effectLst/>
              <a:uLnTx/>
              <a:uFillTx/>
              <a:latin typeface="Helvetica Neue Light" panose="020004030000000200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nb-NO" alt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00305B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Første rentehevning fra Sentralbanken på lenge – varslet fler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endParaRPr lang="nb-NO" altLang="nb-NO" sz="1600" dirty="0">
              <a:solidFill>
                <a:srgbClr val="00305B"/>
              </a:solidFill>
              <a:latin typeface="Helvetica Neue Light" panose="02000403000000020004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nb-NO" alt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00305B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Effekt av høy KPI? (mars 2021 – mars 2022 -&gt; 4,5%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endParaRPr lang="nb-NO" altLang="nb-NO" sz="1600" dirty="0">
              <a:solidFill>
                <a:srgbClr val="00305B"/>
              </a:solidFill>
              <a:latin typeface="Helvetica Neue Light" panose="02000403000000020004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nb-NO" alt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00305B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Forventer </a:t>
            </a:r>
            <a:r>
              <a:rPr kumimoji="0" lang="nb-NO" altLang="nb-NO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305B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yield</a:t>
            </a:r>
            <a:r>
              <a:rPr kumimoji="0" lang="nb-NO" alt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00305B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-press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nb-NO" altLang="nb-NO" sz="1600" b="0" i="0" u="none" strike="noStrike" kern="1200" cap="none" spc="0" normalizeH="0" baseline="0" noProof="0" dirty="0">
              <a:ln>
                <a:noFill/>
              </a:ln>
              <a:solidFill>
                <a:srgbClr val="00305B"/>
              </a:solidFill>
              <a:effectLst/>
              <a:uLnTx/>
              <a:uFillTx/>
              <a:latin typeface="Helvetica Neue Light" panose="020004030000000200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endParaRPr kumimoji="0" lang="nb-NO" altLang="nb-NO" sz="1600" b="0" i="0" u="none" strike="noStrike" kern="1200" cap="none" spc="0" normalizeH="0" baseline="0" noProof="0" dirty="0">
              <a:ln>
                <a:noFill/>
              </a:ln>
              <a:solidFill>
                <a:srgbClr val="00305B"/>
              </a:solidFill>
              <a:effectLst/>
              <a:uLnTx/>
              <a:uFillTx/>
              <a:latin typeface="Helvetica Neue Light" panose="02000403000000020004"/>
              <a:ea typeface="+mn-ea"/>
              <a:cs typeface="+mn-cs"/>
            </a:endParaRPr>
          </a:p>
        </p:txBody>
      </p:sp>
      <p:cxnSp>
        <p:nvCxnSpPr>
          <p:cNvPr id="7" name="Straight Connector 16">
            <a:extLst>
              <a:ext uri="{FF2B5EF4-FFF2-40B4-BE49-F238E27FC236}">
                <a16:creationId xmlns:a16="http://schemas.microsoft.com/office/drawing/2014/main" id="{FE0E9CDC-FCAD-4BF1-9DA6-DB598DF33480}"/>
              </a:ext>
            </a:extLst>
          </p:cNvPr>
          <p:cNvCxnSpPr>
            <a:cxnSpLocks/>
          </p:cNvCxnSpPr>
          <p:nvPr/>
        </p:nvCxnSpPr>
        <p:spPr>
          <a:xfrm>
            <a:off x="1" y="1039290"/>
            <a:ext cx="12191999" cy="0"/>
          </a:xfrm>
          <a:prstGeom prst="line">
            <a:avLst/>
          </a:prstGeom>
          <a:noFill/>
          <a:ln w="6350" cap="flat" cmpd="sng" algn="ctr">
            <a:solidFill>
              <a:srgbClr val="002060"/>
            </a:solidFill>
            <a:prstDash val="solid"/>
            <a:miter lim="800000"/>
          </a:ln>
          <a:effectLst/>
        </p:spPr>
      </p:cxnSp>
      <p:cxnSp>
        <p:nvCxnSpPr>
          <p:cNvPr id="8" name="Straight Connector 16">
            <a:extLst>
              <a:ext uri="{FF2B5EF4-FFF2-40B4-BE49-F238E27FC236}">
                <a16:creationId xmlns:a16="http://schemas.microsoft.com/office/drawing/2014/main" id="{099105A0-04EC-49CE-A4B2-B66150885898}"/>
              </a:ext>
            </a:extLst>
          </p:cNvPr>
          <p:cNvCxnSpPr>
            <a:cxnSpLocks/>
          </p:cNvCxnSpPr>
          <p:nvPr/>
        </p:nvCxnSpPr>
        <p:spPr>
          <a:xfrm>
            <a:off x="0" y="6176963"/>
            <a:ext cx="12191999" cy="0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miter lim="800000"/>
          </a:ln>
          <a:effectLst/>
        </p:spPr>
      </p:cxnSp>
      <p:pic>
        <p:nvPicPr>
          <p:cNvPr id="12" name="Bilde 11">
            <a:extLst>
              <a:ext uri="{FF2B5EF4-FFF2-40B4-BE49-F238E27FC236}">
                <a16:creationId xmlns:a16="http://schemas.microsoft.com/office/drawing/2014/main" id="{71070B88-5560-40BB-B18E-377DF5E3BA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43820" y="6267608"/>
            <a:ext cx="1045193" cy="519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2301138"/>
      </p:ext>
    </p:extLst>
  </p:cSld>
  <p:clrMapOvr>
    <a:masterClrMapping/>
  </p:clrMapOvr>
  <p:transition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>
            <a:extLst>
              <a:ext uri="{FF2B5EF4-FFF2-40B4-BE49-F238E27FC236}">
                <a16:creationId xmlns:a16="http://schemas.microsoft.com/office/drawing/2014/main" id="{EB4F04EE-B63D-4F64-B858-5F754ED4A2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51364" y="1286913"/>
            <a:ext cx="8610940" cy="4698123"/>
          </a:xfrm>
          <a:prstGeom prst="rect">
            <a:avLst/>
          </a:prstGeom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608E8E95-D620-4187-B51C-2B476485B566}"/>
              </a:ext>
            </a:extLst>
          </p:cNvPr>
          <p:cNvSpPr txBox="1"/>
          <p:nvPr/>
        </p:nvSpPr>
        <p:spPr>
          <a:xfrm>
            <a:off x="2776819" y="2873242"/>
            <a:ext cx="110196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4,75 %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1D36B2B2-25C5-46BA-8976-874E15BFFF06}"/>
              </a:ext>
            </a:extLst>
          </p:cNvPr>
          <p:cNvSpPr txBox="1"/>
          <p:nvPr/>
        </p:nvSpPr>
        <p:spPr>
          <a:xfrm>
            <a:off x="3618377" y="3132411"/>
            <a:ext cx="110196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4,60 %</a:t>
            </a: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AC3F2500-B436-429E-B47A-9BB7E4E3FAEE}"/>
              </a:ext>
            </a:extLst>
          </p:cNvPr>
          <p:cNvSpPr txBox="1"/>
          <p:nvPr/>
        </p:nvSpPr>
        <p:spPr>
          <a:xfrm>
            <a:off x="4483812" y="3391580"/>
            <a:ext cx="110196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4,4 %</a:t>
            </a:r>
          </a:p>
        </p:txBody>
      </p:sp>
      <p:sp>
        <p:nvSpPr>
          <p:cNvPr id="15" name="TekstSylinder 14">
            <a:extLst>
              <a:ext uri="{FF2B5EF4-FFF2-40B4-BE49-F238E27FC236}">
                <a16:creationId xmlns:a16="http://schemas.microsoft.com/office/drawing/2014/main" id="{C28A4FCA-CF2F-4ECD-BEA0-6D1EA239DB89}"/>
              </a:ext>
            </a:extLst>
          </p:cNvPr>
          <p:cNvSpPr txBox="1"/>
          <p:nvPr/>
        </p:nvSpPr>
        <p:spPr>
          <a:xfrm>
            <a:off x="3633338" y="2841621"/>
            <a:ext cx="110196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2018</a:t>
            </a:r>
          </a:p>
        </p:txBody>
      </p:sp>
      <p:sp>
        <p:nvSpPr>
          <p:cNvPr id="16" name="TekstSylinder 15">
            <a:extLst>
              <a:ext uri="{FF2B5EF4-FFF2-40B4-BE49-F238E27FC236}">
                <a16:creationId xmlns:a16="http://schemas.microsoft.com/office/drawing/2014/main" id="{3925607F-140A-4E17-A3D8-BAC04D69D739}"/>
              </a:ext>
            </a:extLst>
          </p:cNvPr>
          <p:cNvSpPr txBox="1"/>
          <p:nvPr/>
        </p:nvSpPr>
        <p:spPr>
          <a:xfrm>
            <a:off x="2797825" y="2600277"/>
            <a:ext cx="110196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2017</a:t>
            </a:r>
          </a:p>
        </p:txBody>
      </p:sp>
      <p:sp>
        <p:nvSpPr>
          <p:cNvPr id="17" name="TekstSylinder 16">
            <a:extLst>
              <a:ext uri="{FF2B5EF4-FFF2-40B4-BE49-F238E27FC236}">
                <a16:creationId xmlns:a16="http://schemas.microsoft.com/office/drawing/2014/main" id="{1D493300-03BE-49F2-839A-857760239855}"/>
              </a:ext>
            </a:extLst>
          </p:cNvPr>
          <p:cNvSpPr txBox="1"/>
          <p:nvPr/>
        </p:nvSpPr>
        <p:spPr>
          <a:xfrm>
            <a:off x="4483812" y="3175032"/>
            <a:ext cx="110196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2019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B3AE6B2F-86EC-47CD-B023-2531A3F82B8A}"/>
              </a:ext>
            </a:extLst>
          </p:cNvPr>
          <p:cNvSpPr txBox="1"/>
          <p:nvPr/>
        </p:nvSpPr>
        <p:spPr>
          <a:xfrm>
            <a:off x="3070371" y="1527098"/>
            <a:ext cx="283547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4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Prime </a:t>
            </a:r>
            <a:r>
              <a:rPr kumimoji="0" lang="nb-NO" sz="4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yield</a:t>
            </a:r>
            <a:r>
              <a:rPr kumimoji="0" lang="nb-NO" sz="4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!</a:t>
            </a:r>
          </a:p>
        </p:txBody>
      </p:sp>
      <p:cxnSp>
        <p:nvCxnSpPr>
          <p:cNvPr id="18" name="Straight Connector 16">
            <a:extLst>
              <a:ext uri="{FF2B5EF4-FFF2-40B4-BE49-F238E27FC236}">
                <a16:creationId xmlns:a16="http://schemas.microsoft.com/office/drawing/2014/main" id="{99F3F0FE-BBBC-4967-8FFD-3F0529B0677F}"/>
              </a:ext>
            </a:extLst>
          </p:cNvPr>
          <p:cNvCxnSpPr>
            <a:cxnSpLocks/>
          </p:cNvCxnSpPr>
          <p:nvPr/>
        </p:nvCxnSpPr>
        <p:spPr>
          <a:xfrm>
            <a:off x="1" y="1039290"/>
            <a:ext cx="12191999" cy="0"/>
          </a:xfrm>
          <a:prstGeom prst="line">
            <a:avLst/>
          </a:prstGeom>
          <a:noFill/>
          <a:ln w="6350" cap="flat" cmpd="sng" algn="ctr">
            <a:solidFill>
              <a:srgbClr val="002060"/>
            </a:solidFill>
            <a:prstDash val="solid"/>
            <a:miter lim="800000"/>
          </a:ln>
          <a:effectLst/>
        </p:spPr>
      </p:cxnSp>
      <p:cxnSp>
        <p:nvCxnSpPr>
          <p:cNvPr id="19" name="Straight Connector 16">
            <a:extLst>
              <a:ext uri="{FF2B5EF4-FFF2-40B4-BE49-F238E27FC236}">
                <a16:creationId xmlns:a16="http://schemas.microsoft.com/office/drawing/2014/main" id="{F6EB01CB-3AF1-4F0C-A573-7C7AF46FD700}"/>
              </a:ext>
            </a:extLst>
          </p:cNvPr>
          <p:cNvCxnSpPr>
            <a:cxnSpLocks/>
          </p:cNvCxnSpPr>
          <p:nvPr/>
        </p:nvCxnSpPr>
        <p:spPr>
          <a:xfrm>
            <a:off x="0" y="6176963"/>
            <a:ext cx="12191999" cy="0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miter lim="800000"/>
          </a:ln>
          <a:effectLst/>
        </p:spPr>
      </p:cxnSp>
      <p:pic>
        <p:nvPicPr>
          <p:cNvPr id="20" name="Bilde 19">
            <a:extLst>
              <a:ext uri="{FF2B5EF4-FFF2-40B4-BE49-F238E27FC236}">
                <a16:creationId xmlns:a16="http://schemas.microsoft.com/office/drawing/2014/main" id="{D61D5F9F-C4B6-4052-9B31-D4DF9ECEE16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043820" y="6267608"/>
            <a:ext cx="1045193" cy="519371"/>
          </a:xfrm>
          <a:prstGeom prst="rect">
            <a:avLst/>
          </a:prstGeom>
        </p:spPr>
      </p:pic>
      <p:sp>
        <p:nvSpPr>
          <p:cNvPr id="21" name="TekstSylinder 20">
            <a:extLst>
              <a:ext uri="{FF2B5EF4-FFF2-40B4-BE49-F238E27FC236}">
                <a16:creationId xmlns:a16="http://schemas.microsoft.com/office/drawing/2014/main" id="{576EFFC8-08B4-48F7-BBB9-A23D42418810}"/>
              </a:ext>
            </a:extLst>
          </p:cNvPr>
          <p:cNvSpPr txBox="1"/>
          <p:nvPr/>
        </p:nvSpPr>
        <p:spPr>
          <a:xfrm>
            <a:off x="6138413" y="3898917"/>
            <a:ext cx="110196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2021</a:t>
            </a:r>
          </a:p>
        </p:txBody>
      </p:sp>
      <p:sp>
        <p:nvSpPr>
          <p:cNvPr id="22" name="TekstSylinder 21">
            <a:extLst>
              <a:ext uri="{FF2B5EF4-FFF2-40B4-BE49-F238E27FC236}">
                <a16:creationId xmlns:a16="http://schemas.microsoft.com/office/drawing/2014/main" id="{F6F2A2D0-97A1-4C95-9E6F-1A57322B1918}"/>
              </a:ext>
            </a:extLst>
          </p:cNvPr>
          <p:cNvSpPr txBox="1"/>
          <p:nvPr/>
        </p:nvSpPr>
        <p:spPr>
          <a:xfrm>
            <a:off x="5302900" y="3608127"/>
            <a:ext cx="110196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20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 Neue Light" panose="02000403000000020004"/>
              <a:ea typeface="+mn-ea"/>
              <a:cs typeface="+mn-cs"/>
            </a:endParaRPr>
          </a:p>
        </p:txBody>
      </p:sp>
      <p:sp>
        <p:nvSpPr>
          <p:cNvPr id="23" name="TekstSylinder 22">
            <a:extLst>
              <a:ext uri="{FF2B5EF4-FFF2-40B4-BE49-F238E27FC236}">
                <a16:creationId xmlns:a16="http://schemas.microsoft.com/office/drawing/2014/main" id="{D773DA3D-FD3F-48D4-98DC-242D46A89AF1}"/>
              </a:ext>
            </a:extLst>
          </p:cNvPr>
          <p:cNvSpPr txBox="1"/>
          <p:nvPr/>
        </p:nvSpPr>
        <p:spPr>
          <a:xfrm>
            <a:off x="7613301" y="3734361"/>
            <a:ext cx="110196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2022</a:t>
            </a:r>
          </a:p>
        </p:txBody>
      </p:sp>
      <p:sp>
        <p:nvSpPr>
          <p:cNvPr id="28" name="TekstSylinder 27">
            <a:extLst>
              <a:ext uri="{FF2B5EF4-FFF2-40B4-BE49-F238E27FC236}">
                <a16:creationId xmlns:a16="http://schemas.microsoft.com/office/drawing/2014/main" id="{2AE543BD-F220-4E9A-8E26-C9DE47A2ACE3}"/>
              </a:ext>
            </a:extLst>
          </p:cNvPr>
          <p:cNvSpPr txBox="1"/>
          <p:nvPr/>
        </p:nvSpPr>
        <p:spPr>
          <a:xfrm>
            <a:off x="5354865" y="3933654"/>
            <a:ext cx="110196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4,0 %</a:t>
            </a:r>
          </a:p>
        </p:txBody>
      </p:sp>
      <p:sp>
        <p:nvSpPr>
          <p:cNvPr id="29" name="TekstSylinder 28">
            <a:extLst>
              <a:ext uri="{FF2B5EF4-FFF2-40B4-BE49-F238E27FC236}">
                <a16:creationId xmlns:a16="http://schemas.microsoft.com/office/drawing/2014/main" id="{BCFE8EE3-B81B-4BD8-879F-A68D250FD529}"/>
              </a:ext>
            </a:extLst>
          </p:cNvPr>
          <p:cNvSpPr txBox="1"/>
          <p:nvPr/>
        </p:nvSpPr>
        <p:spPr>
          <a:xfrm>
            <a:off x="6138413" y="4162854"/>
            <a:ext cx="110196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3,75 %</a:t>
            </a:r>
          </a:p>
        </p:txBody>
      </p:sp>
      <p:sp>
        <p:nvSpPr>
          <p:cNvPr id="30" name="TekstSylinder 29">
            <a:extLst>
              <a:ext uri="{FF2B5EF4-FFF2-40B4-BE49-F238E27FC236}">
                <a16:creationId xmlns:a16="http://schemas.microsoft.com/office/drawing/2014/main" id="{C1DD1C81-ED62-42BB-BE2E-EDCE3B71FDFB}"/>
              </a:ext>
            </a:extLst>
          </p:cNvPr>
          <p:cNvSpPr txBox="1"/>
          <p:nvPr/>
        </p:nvSpPr>
        <p:spPr>
          <a:xfrm>
            <a:off x="7076886" y="4023450"/>
            <a:ext cx="110196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3,90 %-</a:t>
            </a:r>
          </a:p>
        </p:txBody>
      </p:sp>
      <p:sp>
        <p:nvSpPr>
          <p:cNvPr id="31" name="TekstSylinder 30">
            <a:extLst>
              <a:ext uri="{FF2B5EF4-FFF2-40B4-BE49-F238E27FC236}">
                <a16:creationId xmlns:a16="http://schemas.microsoft.com/office/drawing/2014/main" id="{5B2CC06D-851D-412B-85B4-A6A82894BCE5}"/>
              </a:ext>
            </a:extLst>
          </p:cNvPr>
          <p:cNvSpPr txBox="1"/>
          <p:nvPr/>
        </p:nvSpPr>
        <p:spPr>
          <a:xfrm>
            <a:off x="7948687" y="4031170"/>
            <a:ext cx="110196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4,0 %</a:t>
            </a:r>
          </a:p>
        </p:txBody>
      </p:sp>
      <p:pic>
        <p:nvPicPr>
          <p:cNvPr id="8" name="Graphic 7" descr="Clownfish outline">
            <a:extLst>
              <a:ext uri="{FF2B5EF4-FFF2-40B4-BE49-F238E27FC236}">
                <a16:creationId xmlns:a16="http://schemas.microsoft.com/office/drawing/2014/main" id="{327EDCB1-9A14-4684-8C21-9DFD4BE2727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151313">
            <a:off x="2606661" y="3075681"/>
            <a:ext cx="790706" cy="790706"/>
          </a:xfrm>
          <a:prstGeom prst="rect">
            <a:avLst/>
          </a:prstGeom>
        </p:spPr>
      </p:pic>
      <p:pic>
        <p:nvPicPr>
          <p:cNvPr id="25" name="Graphic 24" descr="Clownfish outline">
            <a:extLst>
              <a:ext uri="{FF2B5EF4-FFF2-40B4-BE49-F238E27FC236}">
                <a16:creationId xmlns:a16="http://schemas.microsoft.com/office/drawing/2014/main" id="{6C5B0D42-B97B-46BC-858C-BD7B84CF55F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151313">
            <a:off x="3473233" y="3453015"/>
            <a:ext cx="790706" cy="790706"/>
          </a:xfrm>
          <a:prstGeom prst="rect">
            <a:avLst/>
          </a:prstGeom>
        </p:spPr>
      </p:pic>
      <p:pic>
        <p:nvPicPr>
          <p:cNvPr id="26" name="Graphic 25" descr="Clownfish outline">
            <a:extLst>
              <a:ext uri="{FF2B5EF4-FFF2-40B4-BE49-F238E27FC236}">
                <a16:creationId xmlns:a16="http://schemas.microsoft.com/office/drawing/2014/main" id="{510734F9-322E-4C75-A438-A98EC4F85A6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151313">
            <a:off x="4296440" y="3811091"/>
            <a:ext cx="790706" cy="790706"/>
          </a:xfrm>
          <a:prstGeom prst="rect">
            <a:avLst/>
          </a:prstGeom>
        </p:spPr>
      </p:pic>
      <p:pic>
        <p:nvPicPr>
          <p:cNvPr id="27" name="Graphic 26" descr="Clownfish outline">
            <a:extLst>
              <a:ext uri="{FF2B5EF4-FFF2-40B4-BE49-F238E27FC236}">
                <a16:creationId xmlns:a16="http://schemas.microsoft.com/office/drawing/2014/main" id="{CF7A94DB-9269-4CD6-A359-9E4E1C1F3C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151313">
            <a:off x="5178897" y="4206950"/>
            <a:ext cx="790706" cy="790706"/>
          </a:xfrm>
          <a:prstGeom prst="rect">
            <a:avLst/>
          </a:prstGeom>
        </p:spPr>
      </p:pic>
      <p:pic>
        <p:nvPicPr>
          <p:cNvPr id="32" name="Graphic 31" descr="Clownfish outline">
            <a:extLst>
              <a:ext uri="{FF2B5EF4-FFF2-40B4-BE49-F238E27FC236}">
                <a16:creationId xmlns:a16="http://schemas.microsoft.com/office/drawing/2014/main" id="{3451CA6D-063E-40E2-90B3-09A108070F4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181881" y="4348998"/>
            <a:ext cx="790706" cy="790706"/>
          </a:xfrm>
          <a:prstGeom prst="rect">
            <a:avLst/>
          </a:prstGeom>
        </p:spPr>
      </p:pic>
      <p:pic>
        <p:nvPicPr>
          <p:cNvPr id="33" name="Graphic 32" descr="Clownfish outline">
            <a:extLst>
              <a:ext uri="{FF2B5EF4-FFF2-40B4-BE49-F238E27FC236}">
                <a16:creationId xmlns:a16="http://schemas.microsoft.com/office/drawing/2014/main" id="{F418A61D-CE65-4E4F-930B-CB33F57A2EA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21243068">
            <a:off x="7504826" y="4200970"/>
            <a:ext cx="790705" cy="790705"/>
          </a:xfrm>
          <a:prstGeom prst="rect">
            <a:avLst/>
          </a:prstGeom>
        </p:spPr>
      </p:pic>
      <p:sp>
        <p:nvSpPr>
          <p:cNvPr id="34" name="Title 1">
            <a:extLst>
              <a:ext uri="{FF2B5EF4-FFF2-40B4-BE49-F238E27FC236}">
                <a16:creationId xmlns:a16="http://schemas.microsoft.com/office/drawing/2014/main" id="{476F891B-B5A6-4A05-BA4F-DE4B89EFA002}"/>
              </a:ext>
            </a:extLst>
          </p:cNvPr>
          <p:cNvSpPr txBox="1">
            <a:spLocks/>
          </p:cNvSpPr>
          <p:nvPr/>
        </p:nvSpPr>
        <p:spPr>
          <a:xfrm>
            <a:off x="893158" y="310217"/>
            <a:ext cx="11014954" cy="6743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err="1">
                <a:ln>
                  <a:noFill/>
                </a:ln>
                <a:solidFill>
                  <a:srgbClr val="00305B"/>
                </a:solidFill>
                <a:effectLst/>
                <a:uLnTx/>
                <a:uFillTx/>
                <a:latin typeface="Helvetica Neue Light" panose="02000403000000020004"/>
                <a:ea typeface="Helvetica Neue Light" charset="0"/>
                <a:cs typeface="Helvetica Neue Light" charset="0"/>
              </a:rPr>
              <a:t>Hva</a:t>
            </a: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00305B"/>
                </a:solidFill>
                <a:effectLst/>
                <a:uLnTx/>
                <a:uFillTx/>
                <a:latin typeface="Helvetica Neue Light" panose="02000403000000020004"/>
                <a:ea typeface="Helvetica Neue Light" charset="0"/>
                <a:cs typeface="Helvetica Neue Light" charset="0"/>
              </a:rPr>
              <a:t> </a:t>
            </a:r>
            <a:r>
              <a:rPr kumimoji="0" lang="en-US" sz="2800" b="0" i="0" u="none" strike="noStrike" kern="1200" cap="none" spc="0" normalizeH="0" baseline="0" noProof="0" err="1">
                <a:ln>
                  <a:noFill/>
                </a:ln>
                <a:solidFill>
                  <a:srgbClr val="00305B"/>
                </a:solidFill>
                <a:effectLst/>
                <a:uLnTx/>
                <a:uFillTx/>
                <a:latin typeface="Helvetica Neue Light" panose="02000403000000020004"/>
                <a:ea typeface="Helvetica Neue Light" charset="0"/>
                <a:cs typeface="Helvetica Neue Light" charset="0"/>
              </a:rPr>
              <a:t>tror</a:t>
            </a: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00305B"/>
                </a:solidFill>
                <a:effectLst/>
                <a:uLnTx/>
                <a:uFillTx/>
                <a:latin typeface="Helvetica Neue Light" panose="02000403000000020004"/>
                <a:ea typeface="Helvetica Neue Light" charset="0"/>
                <a:cs typeface="Helvetica Neue Light" charset="0"/>
              </a:rPr>
              <a:t> vi i 2022 - 2023?</a:t>
            </a:r>
          </a:p>
        </p:txBody>
      </p:sp>
      <p:sp>
        <p:nvSpPr>
          <p:cNvPr id="35" name="TekstSylinder 34">
            <a:extLst>
              <a:ext uri="{FF2B5EF4-FFF2-40B4-BE49-F238E27FC236}">
                <a16:creationId xmlns:a16="http://schemas.microsoft.com/office/drawing/2014/main" id="{A5984C46-3A53-ED9C-052C-36E1EB40E87A}"/>
              </a:ext>
            </a:extLst>
          </p:cNvPr>
          <p:cNvSpPr txBox="1"/>
          <p:nvPr/>
        </p:nvSpPr>
        <p:spPr>
          <a:xfrm>
            <a:off x="8866370" y="3490177"/>
            <a:ext cx="110196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2023</a:t>
            </a:r>
          </a:p>
        </p:txBody>
      </p:sp>
      <p:sp>
        <p:nvSpPr>
          <p:cNvPr id="36" name="TekstSylinder 35">
            <a:extLst>
              <a:ext uri="{FF2B5EF4-FFF2-40B4-BE49-F238E27FC236}">
                <a16:creationId xmlns:a16="http://schemas.microsoft.com/office/drawing/2014/main" id="{F3BC960B-8AD3-F4B1-9C1A-AA262A5EA057}"/>
              </a:ext>
            </a:extLst>
          </p:cNvPr>
          <p:cNvSpPr txBox="1"/>
          <p:nvPr/>
        </p:nvSpPr>
        <p:spPr>
          <a:xfrm>
            <a:off x="8772585" y="3767812"/>
            <a:ext cx="110196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4,0</a:t>
            </a:r>
          </a:p>
        </p:txBody>
      </p:sp>
      <p:sp>
        <p:nvSpPr>
          <p:cNvPr id="37" name="TekstSylinder 36">
            <a:extLst>
              <a:ext uri="{FF2B5EF4-FFF2-40B4-BE49-F238E27FC236}">
                <a16:creationId xmlns:a16="http://schemas.microsoft.com/office/drawing/2014/main" id="{0FE2BAE6-0E81-35FA-D61E-AEF8334414DA}"/>
              </a:ext>
            </a:extLst>
          </p:cNvPr>
          <p:cNvSpPr txBox="1"/>
          <p:nvPr/>
        </p:nvSpPr>
        <p:spPr>
          <a:xfrm>
            <a:off x="9163295" y="3762015"/>
            <a:ext cx="110196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-4,2, %</a:t>
            </a:r>
          </a:p>
        </p:txBody>
      </p:sp>
      <p:pic>
        <p:nvPicPr>
          <p:cNvPr id="38" name="Graphic 32" descr="Clownfish outline">
            <a:extLst>
              <a:ext uri="{FF2B5EF4-FFF2-40B4-BE49-F238E27FC236}">
                <a16:creationId xmlns:a16="http://schemas.microsoft.com/office/drawing/2014/main" id="{A47D53EC-ACE5-CE5B-2801-BDAE6D477AC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21243068">
            <a:off x="8857926" y="4001525"/>
            <a:ext cx="790705" cy="790705"/>
          </a:xfrm>
          <a:prstGeom prst="rect">
            <a:avLst/>
          </a:prstGeom>
        </p:spPr>
      </p:pic>
      <p:pic>
        <p:nvPicPr>
          <p:cNvPr id="5" name="Grafikk 4" descr="Hai kontur">
            <a:extLst>
              <a:ext uri="{FF2B5EF4-FFF2-40B4-BE49-F238E27FC236}">
                <a16:creationId xmlns:a16="http://schemas.microsoft.com/office/drawing/2014/main" id="{AC93B306-3F41-7A3E-AC43-36F580B660A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114679" y="4594936"/>
            <a:ext cx="1485820" cy="1485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3139086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4210050" y="3136612"/>
            <a:ext cx="3445759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nb-NO" altLang="nb-NO" sz="3600" b="1" cap="all">
                <a:solidFill>
                  <a:srgbClr val="00305B"/>
                </a:solidFill>
                <a:latin typeface="Helvetica Neue Light"/>
                <a:cs typeface="Calibri Light" panose="020F0302020204030204" pitchFamily="34" charset="0"/>
              </a:rPr>
              <a:t>Leiemarkedet</a:t>
            </a:r>
            <a:endParaRPr kumimoji="0" lang="nb-NO" altLang="nb-NO" sz="3600" b="1" i="0" u="none" strike="noStrike" kern="1200" cap="all" spc="0" normalizeH="0" noProof="0">
              <a:ln>
                <a:noFill/>
              </a:ln>
              <a:solidFill>
                <a:srgbClr val="00305B"/>
              </a:solidFill>
              <a:effectLst/>
              <a:uLnTx/>
              <a:uFillTx/>
              <a:latin typeface="Helvetica Neue Light"/>
              <a:cs typeface="Calibri Light" panose="020F0302020204030204" pitchFamily="34" charset="0"/>
            </a:endParaRPr>
          </a:p>
        </p:txBody>
      </p:sp>
      <p:cxnSp>
        <p:nvCxnSpPr>
          <p:cNvPr id="4" name="Straight Connector 16">
            <a:extLst>
              <a:ext uri="{FF2B5EF4-FFF2-40B4-BE49-F238E27FC236}">
                <a16:creationId xmlns:a16="http://schemas.microsoft.com/office/drawing/2014/main" id="{CD5AF9D3-603D-4A95-B9CF-80505660CDD5}"/>
              </a:ext>
            </a:extLst>
          </p:cNvPr>
          <p:cNvCxnSpPr>
            <a:cxnSpLocks/>
          </p:cNvCxnSpPr>
          <p:nvPr/>
        </p:nvCxnSpPr>
        <p:spPr>
          <a:xfrm>
            <a:off x="1" y="1039290"/>
            <a:ext cx="12191999" cy="0"/>
          </a:xfrm>
          <a:prstGeom prst="line">
            <a:avLst/>
          </a:prstGeom>
          <a:noFill/>
          <a:ln w="6350" cap="flat" cmpd="sng" algn="ctr">
            <a:solidFill>
              <a:srgbClr val="00305B"/>
            </a:solidFill>
            <a:prstDash val="solid"/>
            <a:miter lim="800000"/>
          </a:ln>
          <a:effectLst/>
        </p:spPr>
      </p:cxnSp>
      <p:cxnSp>
        <p:nvCxnSpPr>
          <p:cNvPr id="5" name="Straight Connector 16">
            <a:extLst>
              <a:ext uri="{FF2B5EF4-FFF2-40B4-BE49-F238E27FC236}">
                <a16:creationId xmlns:a16="http://schemas.microsoft.com/office/drawing/2014/main" id="{97EAC974-6DDA-4214-9FC2-9E7FAE7773F3}"/>
              </a:ext>
            </a:extLst>
          </p:cNvPr>
          <p:cNvCxnSpPr>
            <a:cxnSpLocks/>
          </p:cNvCxnSpPr>
          <p:nvPr/>
        </p:nvCxnSpPr>
        <p:spPr>
          <a:xfrm>
            <a:off x="0" y="6176963"/>
            <a:ext cx="12191999" cy="0"/>
          </a:xfrm>
          <a:prstGeom prst="line">
            <a:avLst/>
          </a:prstGeom>
          <a:noFill/>
          <a:ln w="19050" cap="flat" cmpd="sng" algn="ctr">
            <a:solidFill>
              <a:srgbClr val="00305B"/>
            </a:solidFill>
            <a:prstDash val="solid"/>
            <a:miter lim="800000"/>
          </a:ln>
          <a:effectLst/>
        </p:spPr>
      </p:cxnSp>
      <p:pic>
        <p:nvPicPr>
          <p:cNvPr id="6" name="Bilde 5">
            <a:extLst>
              <a:ext uri="{FF2B5EF4-FFF2-40B4-BE49-F238E27FC236}">
                <a16:creationId xmlns:a16="http://schemas.microsoft.com/office/drawing/2014/main" id="{D2F19C8C-E5E8-43DE-8879-F51361D129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43820" y="6267608"/>
            <a:ext cx="1045193" cy="519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651147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16">
            <a:extLst>
              <a:ext uri="{FF2B5EF4-FFF2-40B4-BE49-F238E27FC236}">
                <a16:creationId xmlns:a16="http://schemas.microsoft.com/office/drawing/2014/main" id="{97EAC974-6DDA-4214-9FC2-9E7FAE7773F3}"/>
              </a:ext>
            </a:extLst>
          </p:cNvPr>
          <p:cNvCxnSpPr>
            <a:cxnSpLocks/>
          </p:cNvCxnSpPr>
          <p:nvPr/>
        </p:nvCxnSpPr>
        <p:spPr>
          <a:xfrm>
            <a:off x="0" y="6176963"/>
            <a:ext cx="12191999" cy="0"/>
          </a:xfrm>
          <a:prstGeom prst="line">
            <a:avLst/>
          </a:prstGeom>
          <a:noFill/>
          <a:ln w="19050" cap="flat" cmpd="sng" algn="ctr">
            <a:solidFill>
              <a:srgbClr val="00305B"/>
            </a:solidFill>
            <a:prstDash val="solid"/>
            <a:miter lim="800000"/>
          </a:ln>
          <a:effectLst/>
        </p:spPr>
      </p:cxnSp>
      <p:pic>
        <p:nvPicPr>
          <p:cNvPr id="6" name="Bilde 5">
            <a:extLst>
              <a:ext uri="{FF2B5EF4-FFF2-40B4-BE49-F238E27FC236}">
                <a16:creationId xmlns:a16="http://schemas.microsoft.com/office/drawing/2014/main" id="{D2F19C8C-E5E8-43DE-8879-F51361D129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43820" y="6267608"/>
            <a:ext cx="1045193" cy="519371"/>
          </a:xfrm>
          <a:prstGeom prst="rect">
            <a:avLst/>
          </a:prstGeom>
        </p:spPr>
      </p:pic>
      <p:pic>
        <p:nvPicPr>
          <p:cNvPr id="3" name="Bilde 2">
            <a:extLst>
              <a:ext uri="{FF2B5EF4-FFF2-40B4-BE49-F238E27FC236}">
                <a16:creationId xmlns:a16="http://schemas.microsoft.com/office/drawing/2014/main" id="{E36106EB-6A41-4DAC-AD72-76AFD42689D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2800" t="11349" r="34122" b="3395"/>
          <a:stretch/>
        </p:blipFill>
        <p:spPr>
          <a:xfrm>
            <a:off x="0" y="0"/>
            <a:ext cx="6446520" cy="6857670"/>
          </a:xfrm>
          <a:prstGeom prst="rect">
            <a:avLst/>
          </a:prstGeom>
        </p:spPr>
      </p:pic>
      <p:sp>
        <p:nvSpPr>
          <p:cNvPr id="7" name="Text Box 9">
            <a:extLst>
              <a:ext uri="{FF2B5EF4-FFF2-40B4-BE49-F238E27FC236}">
                <a16:creationId xmlns:a16="http://schemas.microsoft.com/office/drawing/2014/main" id="{E9D3CF37-DEB7-4158-984D-74C2673D03C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46521" y="2350228"/>
            <a:ext cx="5745479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nb-NO" altLang="nb-NO" sz="3600" b="1" i="0" u="none" strike="noStrike" kern="1200" cap="all" spc="0" normalizeH="0" noProof="0">
                <a:ln>
                  <a:noFill/>
                </a:ln>
                <a:solidFill>
                  <a:srgbClr val="00305B"/>
                </a:solidFill>
                <a:effectLst/>
                <a:uLnTx/>
                <a:uFillTx/>
                <a:latin typeface="Helvetica Neue Light"/>
                <a:cs typeface="Calibri Light" panose="020F0302020204030204" pitchFamily="34" charset="0"/>
              </a:rPr>
              <a:t>OMLANDSKOMMUNENE HVA SKJER?</a:t>
            </a:r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33EF4DC0-A091-420B-A9E3-C0C257D917D4}"/>
              </a:ext>
            </a:extLst>
          </p:cNvPr>
          <p:cNvSpPr/>
          <p:nvPr/>
        </p:nvSpPr>
        <p:spPr>
          <a:xfrm>
            <a:off x="2812846" y="2330616"/>
            <a:ext cx="1335711" cy="1166786"/>
          </a:xfrm>
          <a:prstGeom prst="ellipse">
            <a:avLst/>
          </a:prstGeom>
          <a:solidFill>
            <a:srgbClr val="4472C4">
              <a:alpha val="4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B157C895-2834-40D3-959D-EA9D4E4EC51C}"/>
              </a:ext>
            </a:extLst>
          </p:cNvPr>
          <p:cNvSpPr/>
          <p:nvPr/>
        </p:nvSpPr>
        <p:spPr>
          <a:xfrm>
            <a:off x="2144990" y="3550557"/>
            <a:ext cx="1335711" cy="1166786"/>
          </a:xfrm>
          <a:prstGeom prst="ellipse">
            <a:avLst/>
          </a:prstGeom>
          <a:solidFill>
            <a:srgbClr val="4472C4">
              <a:alpha val="4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91904AA6-6068-47EA-801F-1BF9F605CD75}"/>
              </a:ext>
            </a:extLst>
          </p:cNvPr>
          <p:cNvSpPr/>
          <p:nvPr/>
        </p:nvSpPr>
        <p:spPr>
          <a:xfrm>
            <a:off x="4442954" y="5100822"/>
            <a:ext cx="1335711" cy="1166786"/>
          </a:xfrm>
          <a:prstGeom prst="ellipse">
            <a:avLst/>
          </a:prstGeom>
          <a:solidFill>
            <a:srgbClr val="4472C4">
              <a:alpha val="4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96EBA3EF-6F4D-4ABC-9891-A003AEAFAA6D}"/>
              </a:ext>
            </a:extLst>
          </p:cNvPr>
          <p:cNvSpPr/>
          <p:nvPr/>
        </p:nvSpPr>
        <p:spPr>
          <a:xfrm>
            <a:off x="3480701" y="590392"/>
            <a:ext cx="1335711" cy="1166786"/>
          </a:xfrm>
          <a:prstGeom prst="ellipse">
            <a:avLst/>
          </a:prstGeom>
          <a:solidFill>
            <a:srgbClr val="4472C4">
              <a:alpha val="4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0D723E4A-C5B3-4F2E-885C-177B9C92DD0E}"/>
              </a:ext>
            </a:extLst>
          </p:cNvPr>
          <p:cNvSpPr txBox="1"/>
          <p:nvPr/>
        </p:nvSpPr>
        <p:spPr>
          <a:xfrm>
            <a:off x="3977640" y="1005840"/>
            <a:ext cx="3291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b="1">
                <a:solidFill>
                  <a:srgbClr val="FF0000"/>
                </a:solidFill>
              </a:rPr>
              <a:t>1</a:t>
            </a: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DF180305-40F3-46E5-85FB-4D62D0C8EA52}"/>
              </a:ext>
            </a:extLst>
          </p:cNvPr>
          <p:cNvSpPr txBox="1"/>
          <p:nvPr/>
        </p:nvSpPr>
        <p:spPr>
          <a:xfrm>
            <a:off x="3316109" y="2827821"/>
            <a:ext cx="3291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b="1">
                <a:solidFill>
                  <a:srgbClr val="FF0000"/>
                </a:solidFill>
              </a:rPr>
              <a:t>2</a:t>
            </a:r>
          </a:p>
        </p:txBody>
      </p:sp>
      <p:sp>
        <p:nvSpPr>
          <p:cNvPr id="15" name="TekstSylinder 14">
            <a:extLst>
              <a:ext uri="{FF2B5EF4-FFF2-40B4-BE49-F238E27FC236}">
                <a16:creationId xmlns:a16="http://schemas.microsoft.com/office/drawing/2014/main" id="{8ABB600E-BFF4-4BAA-A334-6217266E4EA2}"/>
              </a:ext>
            </a:extLst>
          </p:cNvPr>
          <p:cNvSpPr txBox="1"/>
          <p:nvPr/>
        </p:nvSpPr>
        <p:spPr>
          <a:xfrm>
            <a:off x="2648253" y="4042546"/>
            <a:ext cx="3291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b="1">
                <a:solidFill>
                  <a:srgbClr val="FF0000"/>
                </a:solidFill>
              </a:rPr>
              <a:t>3</a:t>
            </a:r>
          </a:p>
        </p:txBody>
      </p:sp>
      <p:sp>
        <p:nvSpPr>
          <p:cNvPr id="16" name="TekstSylinder 15">
            <a:extLst>
              <a:ext uri="{FF2B5EF4-FFF2-40B4-BE49-F238E27FC236}">
                <a16:creationId xmlns:a16="http://schemas.microsoft.com/office/drawing/2014/main" id="{A6C61991-1952-4C74-AED3-7BA954371527}"/>
              </a:ext>
            </a:extLst>
          </p:cNvPr>
          <p:cNvSpPr txBox="1"/>
          <p:nvPr/>
        </p:nvSpPr>
        <p:spPr>
          <a:xfrm>
            <a:off x="4946217" y="5505401"/>
            <a:ext cx="3291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b="1">
                <a:solidFill>
                  <a:srgbClr val="FF0000"/>
                </a:solidFill>
              </a:rPr>
              <a:t>4</a:t>
            </a:r>
          </a:p>
        </p:txBody>
      </p:sp>
      <p:sp>
        <p:nvSpPr>
          <p:cNvPr id="17" name="TekstSylinder 16">
            <a:extLst>
              <a:ext uri="{FF2B5EF4-FFF2-40B4-BE49-F238E27FC236}">
                <a16:creationId xmlns:a16="http://schemas.microsoft.com/office/drawing/2014/main" id="{F66275CC-F80F-4DCE-8492-E13D9E01D161}"/>
              </a:ext>
            </a:extLst>
          </p:cNvPr>
          <p:cNvSpPr txBox="1"/>
          <p:nvPr/>
        </p:nvSpPr>
        <p:spPr>
          <a:xfrm>
            <a:off x="8366911" y="4331148"/>
            <a:ext cx="32918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>
                <a:solidFill>
                  <a:srgbClr val="00305B"/>
                </a:solidFill>
                <a:latin typeface="Helvetica Neue Light" panose="02000403000000020004"/>
              </a:rPr>
              <a:t>1</a:t>
            </a:r>
          </a:p>
          <a:p>
            <a:r>
              <a:rPr lang="nb-NO">
                <a:solidFill>
                  <a:srgbClr val="00305B"/>
                </a:solidFill>
                <a:latin typeface="Helvetica Neue Light" panose="02000403000000020004"/>
              </a:rPr>
              <a:t>2</a:t>
            </a:r>
          </a:p>
          <a:p>
            <a:r>
              <a:rPr lang="nb-NO">
                <a:solidFill>
                  <a:srgbClr val="00305B"/>
                </a:solidFill>
                <a:latin typeface="Helvetica Neue Light" panose="02000403000000020004"/>
              </a:rPr>
              <a:t>3</a:t>
            </a:r>
          </a:p>
          <a:p>
            <a:r>
              <a:rPr lang="nb-NO">
                <a:solidFill>
                  <a:srgbClr val="00305B"/>
                </a:solidFill>
                <a:latin typeface="Helvetica Neue Light" panose="02000403000000020004"/>
              </a:rPr>
              <a:t>4</a:t>
            </a:r>
          </a:p>
        </p:txBody>
      </p:sp>
      <p:sp>
        <p:nvSpPr>
          <p:cNvPr id="18" name="TekstSylinder 17">
            <a:extLst>
              <a:ext uri="{FF2B5EF4-FFF2-40B4-BE49-F238E27FC236}">
                <a16:creationId xmlns:a16="http://schemas.microsoft.com/office/drawing/2014/main" id="{47CE6B2C-EE92-45CF-B8A8-AED2CF666F81}"/>
              </a:ext>
            </a:extLst>
          </p:cNvPr>
          <p:cNvSpPr txBox="1"/>
          <p:nvPr/>
        </p:nvSpPr>
        <p:spPr>
          <a:xfrm>
            <a:off x="8696095" y="4331147"/>
            <a:ext cx="305104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>
                <a:solidFill>
                  <a:srgbClr val="00305B"/>
                </a:solidFill>
                <a:latin typeface="Helvetica Neue Light" panose="02000403000000020004"/>
              </a:rPr>
              <a:t>Nordhordland</a:t>
            </a:r>
          </a:p>
          <a:p>
            <a:r>
              <a:rPr lang="nb-NO">
                <a:solidFill>
                  <a:srgbClr val="00305B"/>
                </a:solidFill>
                <a:latin typeface="Helvetica Neue Light" panose="02000403000000020004"/>
              </a:rPr>
              <a:t>Askøy</a:t>
            </a:r>
          </a:p>
          <a:p>
            <a:r>
              <a:rPr lang="nb-NO">
                <a:solidFill>
                  <a:srgbClr val="00305B"/>
                </a:solidFill>
                <a:latin typeface="Helvetica Neue Light" panose="02000403000000020004"/>
              </a:rPr>
              <a:t>Øygarden</a:t>
            </a:r>
          </a:p>
          <a:p>
            <a:r>
              <a:rPr lang="nb-NO">
                <a:solidFill>
                  <a:srgbClr val="00305B"/>
                </a:solidFill>
                <a:latin typeface="Helvetica Neue Light" panose="02000403000000020004"/>
              </a:rPr>
              <a:t>Bjørnafjorden</a:t>
            </a:r>
          </a:p>
        </p:txBody>
      </p:sp>
    </p:spTree>
    <p:extLst>
      <p:ext uri="{BB962C8B-B14F-4D97-AF65-F5344CB8AC3E}">
        <p14:creationId xmlns:p14="http://schemas.microsoft.com/office/powerpoint/2010/main" val="7692093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9C7B052-AC2A-49F4-A58F-B4CE844BBB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337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9C7B052-AC2A-49F4-A58F-B4CE844BBB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337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TextBox 54">
            <a:extLst>
              <a:ext uri="{FF2B5EF4-FFF2-40B4-BE49-F238E27FC236}">
                <a16:creationId xmlns:a16="http://schemas.microsoft.com/office/drawing/2014/main" id="{169EAB1D-E5E0-41DB-A2F8-E9DFAEE2FC87}"/>
              </a:ext>
            </a:extLst>
          </p:cNvPr>
          <p:cNvSpPr txBox="1"/>
          <p:nvPr/>
        </p:nvSpPr>
        <p:spPr>
          <a:xfrm>
            <a:off x="7664488" y="4104341"/>
            <a:ext cx="1777789" cy="272240"/>
          </a:xfrm>
          <a:prstGeom prst="rect">
            <a:avLst/>
          </a:prstGeom>
          <a:noFill/>
        </p:spPr>
        <p:txBody>
          <a:bodyPr wrap="square" lIns="0" tIns="36557" rIns="0" bIns="0" rtlCol="0">
            <a:spAutoFit/>
          </a:bodyPr>
          <a:lstStyle/>
          <a:p>
            <a:pPr algn="ctr" defTabSz="913943">
              <a:lnSpc>
                <a:spcPct val="85000"/>
              </a:lnSpc>
              <a:spcAft>
                <a:spcPts val="600"/>
              </a:spcAft>
              <a:buClr>
                <a:srgbClr val="27ACAA"/>
              </a:buClr>
              <a:buSzPct val="70000"/>
            </a:pPr>
            <a:r>
              <a:rPr lang="nb-NO" sz="1799">
                <a:solidFill>
                  <a:srgbClr val="000000"/>
                </a:solidFill>
                <a:latin typeface="EYInterstate Light"/>
              </a:rPr>
              <a:t> </a:t>
            </a:r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B881DACF-6ABC-4D34-A6C3-E937D5B2E65E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7163" b="19581"/>
          <a:stretch/>
        </p:blipFill>
        <p:spPr>
          <a:xfrm>
            <a:off x="0" y="1115568"/>
            <a:ext cx="12192000" cy="4800600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F5544FEF-4884-0949-C634-5FBAF107ADD2}"/>
              </a:ext>
            </a:extLst>
          </p:cNvPr>
          <p:cNvSpPr txBox="1"/>
          <p:nvPr/>
        </p:nvSpPr>
        <p:spPr>
          <a:xfrm>
            <a:off x="3048635" y="6199371"/>
            <a:ext cx="6094730" cy="3691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3943"/>
            <a:r>
              <a:rPr lang="nb-NO" sz="1799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Alver, Austrheim, Fedje, Modalen, Masfjorden og Gulen</a:t>
            </a:r>
          </a:p>
        </p:txBody>
      </p:sp>
    </p:spTree>
    <p:extLst>
      <p:ext uri="{BB962C8B-B14F-4D97-AF65-F5344CB8AC3E}">
        <p14:creationId xmlns:p14="http://schemas.microsoft.com/office/powerpoint/2010/main" val="314474025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9C7B052-AC2A-49F4-A58F-B4CE844BBB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337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9C7B052-AC2A-49F4-A58F-B4CE844BBB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337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>
            <a:extLst>
              <a:ext uri="{FF2B5EF4-FFF2-40B4-BE49-F238E27FC236}">
                <a16:creationId xmlns:a16="http://schemas.microsoft.com/office/drawing/2014/main" id="{92621CFF-E107-4F45-A992-1B22FA4209E5}"/>
              </a:ext>
            </a:extLst>
          </p:cNvPr>
          <p:cNvSpPr/>
          <p:nvPr/>
        </p:nvSpPr>
        <p:spPr>
          <a:xfrm>
            <a:off x="-2389" y="-5297"/>
            <a:ext cx="2488516" cy="3459929"/>
          </a:xfrm>
          <a:prstGeom prst="rect">
            <a:avLst/>
          </a:prstGeom>
          <a:solidFill>
            <a:schemeClr val="tx1">
              <a:alpha val="29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3486">
              <a:defRPr/>
            </a:pPr>
            <a:endParaRPr lang="nb-NO" sz="1198">
              <a:solidFill>
                <a:srgbClr val="FFFFFF"/>
              </a:solidFill>
              <a:latin typeface="EYInterstate Light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0776593-ED34-40BE-9361-876385760D56}"/>
              </a:ext>
            </a:extLst>
          </p:cNvPr>
          <p:cNvSpPr txBox="1"/>
          <p:nvPr/>
        </p:nvSpPr>
        <p:spPr>
          <a:xfrm>
            <a:off x="377761" y="1165890"/>
            <a:ext cx="1903094" cy="976682"/>
          </a:xfrm>
          <a:prstGeom prst="rect">
            <a:avLst/>
          </a:prstGeom>
          <a:noFill/>
        </p:spPr>
        <p:txBody>
          <a:bodyPr wrap="square" lIns="0" tIns="36557" rIns="0" bIns="0" rtlCol="0">
            <a:spAutoFit/>
          </a:bodyPr>
          <a:lstStyle/>
          <a:p>
            <a:pPr algn="ctr" defTabSz="913943">
              <a:lnSpc>
                <a:spcPct val="85000"/>
              </a:lnSpc>
              <a:spcAft>
                <a:spcPts val="600"/>
              </a:spcAft>
              <a:buClr>
                <a:srgbClr val="27ACAA"/>
              </a:buClr>
              <a:buSzPct val="70000"/>
            </a:pPr>
            <a:r>
              <a:rPr lang="nb-NO" sz="1799">
                <a:solidFill>
                  <a:srgbClr val="2E2E38"/>
                </a:solidFill>
                <a:latin typeface="EYInterstate Light"/>
              </a:rPr>
              <a:t>62% av total verdiskapning fra eksportnæringene</a:t>
            </a:r>
          </a:p>
          <a:p>
            <a:pPr algn="ctr" defTabSz="913943">
              <a:lnSpc>
                <a:spcPct val="85000"/>
              </a:lnSpc>
              <a:spcAft>
                <a:spcPts val="600"/>
              </a:spcAft>
              <a:buClr>
                <a:srgbClr val="27ACAA"/>
              </a:buClr>
              <a:buSzPct val="70000"/>
            </a:pPr>
            <a:r>
              <a:rPr lang="nb-NO" sz="1199">
                <a:solidFill>
                  <a:srgbClr val="2E2E38"/>
                </a:solidFill>
                <a:latin typeface="EYInterstate Light"/>
              </a:rPr>
              <a:t>(2019)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DAC7F607-2AD5-4781-ADBE-2BB02D84F470}"/>
              </a:ext>
            </a:extLst>
          </p:cNvPr>
          <p:cNvSpPr txBox="1"/>
          <p:nvPr/>
        </p:nvSpPr>
        <p:spPr>
          <a:xfrm>
            <a:off x="2736231" y="4401099"/>
            <a:ext cx="1777789" cy="1215021"/>
          </a:xfrm>
          <a:prstGeom prst="rect">
            <a:avLst/>
          </a:prstGeom>
          <a:noFill/>
        </p:spPr>
        <p:txBody>
          <a:bodyPr wrap="square" lIns="0" tIns="36557" rIns="0" bIns="0" rtlCol="0">
            <a:spAutoFit/>
          </a:bodyPr>
          <a:lstStyle/>
          <a:p>
            <a:pPr algn="ctr" defTabSz="913943">
              <a:lnSpc>
                <a:spcPct val="85000"/>
              </a:lnSpc>
              <a:spcAft>
                <a:spcPts val="600"/>
              </a:spcAft>
              <a:buClr>
                <a:srgbClr val="27ACAA"/>
              </a:buClr>
              <a:buSzPct val="70000"/>
            </a:pPr>
            <a:r>
              <a:rPr lang="nb-NO" sz="1799">
                <a:solidFill>
                  <a:srgbClr val="2E2E38"/>
                </a:solidFill>
                <a:latin typeface="EYInterstate Light"/>
              </a:rPr>
              <a:t>Industriregion hvor 29 % i privat sektor er sysselsatt i olje- eller industribedrifter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9DC8DCB-810E-4CA6-95A6-E273C5481787}"/>
              </a:ext>
            </a:extLst>
          </p:cNvPr>
          <p:cNvSpPr txBox="1"/>
          <p:nvPr/>
        </p:nvSpPr>
        <p:spPr>
          <a:xfrm>
            <a:off x="10080555" y="1165890"/>
            <a:ext cx="1763759" cy="978220"/>
          </a:xfrm>
          <a:prstGeom prst="rect">
            <a:avLst/>
          </a:prstGeom>
          <a:noFill/>
        </p:spPr>
        <p:txBody>
          <a:bodyPr wrap="square" lIns="0" tIns="36557" rIns="0" bIns="0" rtlCol="0">
            <a:spAutoFit/>
          </a:bodyPr>
          <a:lstStyle/>
          <a:p>
            <a:pPr algn="ctr" defTabSz="913943">
              <a:lnSpc>
                <a:spcPct val="85000"/>
              </a:lnSpc>
              <a:spcAft>
                <a:spcPts val="600"/>
              </a:spcAft>
              <a:buClr>
                <a:srgbClr val="27ACAA"/>
              </a:buClr>
              <a:buSzPct val="70000"/>
            </a:pPr>
            <a:r>
              <a:rPr lang="nb-NO" sz="1799">
                <a:solidFill>
                  <a:srgbClr val="000000"/>
                </a:solidFill>
                <a:latin typeface="EYInterstate Light"/>
              </a:rPr>
              <a:t>12,1 milliarder verdiskapning i privat sektor i 2019</a:t>
            </a:r>
            <a:endParaRPr lang="nb-NO" sz="1799">
              <a:solidFill>
                <a:srgbClr val="FF4136"/>
              </a:solidFill>
              <a:latin typeface="EYInterstate Light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1D232E1C-EB7D-4060-8C98-8F10737ABBE2}"/>
              </a:ext>
            </a:extLst>
          </p:cNvPr>
          <p:cNvSpPr txBox="1"/>
          <p:nvPr/>
        </p:nvSpPr>
        <p:spPr>
          <a:xfrm>
            <a:off x="5200347" y="1165890"/>
            <a:ext cx="1724286" cy="744624"/>
          </a:xfrm>
          <a:prstGeom prst="rect">
            <a:avLst/>
          </a:prstGeom>
          <a:noFill/>
        </p:spPr>
        <p:txBody>
          <a:bodyPr wrap="square" lIns="0" tIns="36557" rIns="0" bIns="0" rtlCol="0">
            <a:spAutoFit/>
          </a:bodyPr>
          <a:lstStyle/>
          <a:p>
            <a:pPr algn="ctr" defTabSz="913943">
              <a:lnSpc>
                <a:spcPct val="85000"/>
              </a:lnSpc>
              <a:spcAft>
                <a:spcPts val="600"/>
              </a:spcAft>
              <a:buClr>
                <a:srgbClr val="27ACAA"/>
              </a:buClr>
              <a:buSzPct val="70000"/>
            </a:pPr>
            <a:r>
              <a:rPr lang="nb-NO" sz="1799">
                <a:solidFill>
                  <a:srgbClr val="2E2E38"/>
                </a:solidFill>
                <a:latin typeface="EYInterstate Light"/>
              </a:rPr>
              <a:t>13 507 sysselsatt i privat sektor i Nordhordland</a:t>
            </a: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491DFD1B-0C7A-4390-B3D4-91FED1CA99B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4208" y="3454633"/>
            <a:ext cx="2373913" cy="3401582"/>
          </a:xfrm>
          <a:prstGeom prst="rect">
            <a:avLst/>
          </a:prstGeom>
        </p:spPr>
      </p:pic>
      <p:sp>
        <p:nvSpPr>
          <p:cNvPr id="55" name="TextBox 54">
            <a:extLst>
              <a:ext uri="{FF2B5EF4-FFF2-40B4-BE49-F238E27FC236}">
                <a16:creationId xmlns:a16="http://schemas.microsoft.com/office/drawing/2014/main" id="{169EAB1D-E5E0-41DB-A2F8-E9DFAEE2FC87}"/>
              </a:ext>
            </a:extLst>
          </p:cNvPr>
          <p:cNvSpPr txBox="1"/>
          <p:nvPr/>
        </p:nvSpPr>
        <p:spPr>
          <a:xfrm>
            <a:off x="7664488" y="4104341"/>
            <a:ext cx="1777789" cy="272240"/>
          </a:xfrm>
          <a:prstGeom prst="rect">
            <a:avLst/>
          </a:prstGeom>
          <a:noFill/>
        </p:spPr>
        <p:txBody>
          <a:bodyPr wrap="square" lIns="0" tIns="36557" rIns="0" bIns="0" rtlCol="0">
            <a:spAutoFit/>
          </a:bodyPr>
          <a:lstStyle/>
          <a:p>
            <a:pPr algn="ctr" defTabSz="913943">
              <a:lnSpc>
                <a:spcPct val="85000"/>
              </a:lnSpc>
              <a:spcAft>
                <a:spcPts val="600"/>
              </a:spcAft>
              <a:buClr>
                <a:srgbClr val="27ACAA"/>
              </a:buClr>
              <a:buSzPct val="70000"/>
            </a:pPr>
            <a:r>
              <a:rPr lang="nb-NO" sz="1799">
                <a:solidFill>
                  <a:srgbClr val="000000"/>
                </a:solidFill>
                <a:latin typeface="EYInterstate Light"/>
              </a:rPr>
              <a:t> </a:t>
            </a:r>
          </a:p>
        </p:txBody>
      </p:sp>
      <p:pic>
        <p:nvPicPr>
          <p:cNvPr id="49" name="Picture 48">
            <a:extLst>
              <a:ext uri="{FF2B5EF4-FFF2-40B4-BE49-F238E27FC236}">
                <a16:creationId xmlns:a16="http://schemas.microsoft.com/office/drawing/2014/main" id="{2A3D21FA-10B6-4A1D-A5CA-B2CC036D02F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52"/>
          <a:stretch/>
        </p:blipFill>
        <p:spPr>
          <a:xfrm>
            <a:off x="3601" y="3462129"/>
            <a:ext cx="2440672" cy="3401582"/>
          </a:xfrm>
          <a:prstGeom prst="rect">
            <a:avLst/>
          </a:prstGeom>
        </p:spPr>
      </p:pic>
      <p:sp>
        <p:nvSpPr>
          <p:cNvPr id="58" name="TextBox 57">
            <a:extLst>
              <a:ext uri="{FF2B5EF4-FFF2-40B4-BE49-F238E27FC236}">
                <a16:creationId xmlns:a16="http://schemas.microsoft.com/office/drawing/2014/main" id="{F8625064-7923-4D73-81FC-BAA0FAC2015B}"/>
              </a:ext>
            </a:extLst>
          </p:cNvPr>
          <p:cNvSpPr txBox="1"/>
          <p:nvPr/>
        </p:nvSpPr>
        <p:spPr>
          <a:xfrm>
            <a:off x="7608370" y="4376913"/>
            <a:ext cx="1777789" cy="1448873"/>
          </a:xfrm>
          <a:prstGeom prst="rect">
            <a:avLst/>
          </a:prstGeom>
          <a:noFill/>
        </p:spPr>
        <p:txBody>
          <a:bodyPr wrap="square" lIns="0" tIns="36557" rIns="0" bIns="0" rtlCol="0">
            <a:spAutoFit/>
          </a:bodyPr>
          <a:lstStyle/>
          <a:p>
            <a:pPr algn="ctr" defTabSz="913943">
              <a:lnSpc>
                <a:spcPct val="85000"/>
              </a:lnSpc>
              <a:spcAft>
                <a:spcPts val="600"/>
              </a:spcAft>
              <a:buClr>
                <a:srgbClr val="27ACAA"/>
              </a:buClr>
              <a:buSzPct val="70000"/>
            </a:pPr>
            <a:r>
              <a:rPr lang="nb-NO" sz="1799">
                <a:solidFill>
                  <a:srgbClr val="000000"/>
                </a:solidFill>
                <a:latin typeface="EYInterstate Light"/>
              </a:rPr>
              <a:t>Gjennomsnitts-selskapet omsetter for </a:t>
            </a:r>
            <a:br>
              <a:rPr lang="nb-NO" sz="1799">
                <a:solidFill>
                  <a:srgbClr val="000000"/>
                </a:solidFill>
                <a:latin typeface="EYInterstate Light"/>
              </a:rPr>
            </a:br>
            <a:r>
              <a:rPr lang="nb-NO" sz="1799">
                <a:solidFill>
                  <a:srgbClr val="000000"/>
                </a:solidFill>
                <a:latin typeface="EYInterstate Light"/>
              </a:rPr>
              <a:t>33 millioner kroner og har </a:t>
            </a:r>
            <a:br>
              <a:rPr lang="nb-NO" sz="1799">
                <a:solidFill>
                  <a:srgbClr val="000000"/>
                </a:solidFill>
                <a:latin typeface="EYInterstate Light"/>
              </a:rPr>
            </a:br>
            <a:r>
              <a:rPr lang="nb-NO" sz="1799">
                <a:solidFill>
                  <a:srgbClr val="000000"/>
                </a:solidFill>
                <a:latin typeface="EYInterstate Light"/>
              </a:rPr>
              <a:t>17 sysselsatte</a:t>
            </a:r>
            <a:endParaRPr lang="nb-NO" sz="1799">
              <a:solidFill>
                <a:srgbClr val="2E2E38"/>
              </a:solidFill>
              <a:latin typeface="EYInterstate Light"/>
            </a:endParaRPr>
          </a:p>
        </p:txBody>
      </p:sp>
      <p:pic>
        <p:nvPicPr>
          <p:cNvPr id="172032" name="Picture 172031">
            <a:extLst>
              <a:ext uri="{FF2B5EF4-FFF2-40B4-BE49-F238E27FC236}">
                <a16:creationId xmlns:a16="http://schemas.microsoft.com/office/drawing/2014/main" id="{49DE70C0-AB3A-4CDA-B5A6-F0470B8620E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807" r="23651"/>
          <a:stretch/>
        </p:blipFill>
        <p:spPr>
          <a:xfrm>
            <a:off x="9786069" y="3452966"/>
            <a:ext cx="2409426" cy="3389175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17DF0FC0-D280-4D37-91DF-174F20DFC4E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5513" y="6352118"/>
            <a:ext cx="304046" cy="310826"/>
          </a:xfrm>
          <a:prstGeom prst="rect">
            <a:avLst/>
          </a:prstGeom>
        </p:spPr>
      </p:pic>
      <p:pic>
        <p:nvPicPr>
          <p:cNvPr id="89092" name="Picture 4" descr="Gratis arkivbilde med altmuligmann, anonym, ansiktsløs">
            <a:extLst>
              <a:ext uri="{FF2B5EF4-FFF2-40B4-BE49-F238E27FC236}">
                <a16:creationId xmlns:a16="http://schemas.microsoft.com/office/drawing/2014/main" id="{EE79EA96-CF11-4D65-B5D4-62B82F32A4B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733"/>
          <a:stretch/>
        </p:blipFill>
        <p:spPr bwMode="auto">
          <a:xfrm>
            <a:off x="7288121" y="4959"/>
            <a:ext cx="2497947" cy="34571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9094" name="Picture 6" descr="Bildergebnis für raffineriet Mongstad">
            <a:extLst>
              <a:ext uri="{FF2B5EF4-FFF2-40B4-BE49-F238E27FC236}">
                <a16:creationId xmlns:a16="http://schemas.microsoft.com/office/drawing/2014/main" id="{50B7BF8C-41DF-4298-A1B7-30C00D8B640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973" r="4944"/>
          <a:stretch/>
        </p:blipFill>
        <p:spPr bwMode="auto">
          <a:xfrm>
            <a:off x="2444272" y="-5712"/>
            <a:ext cx="2429240" cy="3460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6698455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51EE368-D82E-4F0A-A88C-921BE0ECD7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337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51EE368-D82E-4F0A-A88C-921BE0ECD7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337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DA0682-EED5-4F92-8C85-B8D5800A00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785"/>
            <a:ext cx="158667" cy="158667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 defTabSz="913943"/>
            <a:endParaRPr lang="nb-NO" sz="2399">
              <a:solidFill>
                <a:srgbClr val="FFFFFF"/>
              </a:solidFill>
              <a:latin typeface="EYInterstate Light" panose="02000506000000020004" pitchFamily="2" charset="0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66A083-5F10-4D93-8891-F9728117AB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nb-NO">
                <a:solidFill>
                  <a:srgbClr val="2E2E38"/>
                </a:solidFill>
              </a:rPr>
              <a:t>Side </a:t>
            </a:r>
            <a:fld id="{F1BC30E3-FFE5-4B91-AA19-87A149EBB9EE}" type="slidenum">
              <a:rPr lang="nb-NO">
                <a:solidFill>
                  <a:srgbClr val="2E2E38"/>
                </a:solidFill>
              </a:rPr>
              <a:pPr/>
              <a:t>33</a:t>
            </a:fld>
            <a:endParaRPr lang="nb-NO">
              <a:solidFill>
                <a:srgbClr val="2E2E38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DA437A-E75D-4DB3-AFDC-62059F373E36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16899" y="295320"/>
            <a:ext cx="11245073" cy="590243"/>
          </a:xfrm>
        </p:spPr>
        <p:txBody>
          <a:bodyPr vert="horz"/>
          <a:lstStyle/>
          <a:p>
            <a:r>
              <a:rPr lang="nb-NO"/>
              <a:t>Målt etter verdiskapning er olje og gass størst med bygg, anlegg, eiendom som nummer 2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D4C2390-3903-4F50-BC64-5694BA371C49}"/>
              </a:ext>
            </a:extLst>
          </p:cNvPr>
          <p:cNvSpPr txBox="1"/>
          <p:nvPr/>
        </p:nvSpPr>
        <p:spPr>
          <a:xfrm>
            <a:off x="948261" y="1075360"/>
            <a:ext cx="4889626" cy="421435"/>
          </a:xfrm>
          <a:prstGeom prst="rect">
            <a:avLst/>
          </a:prstGeom>
          <a:noFill/>
        </p:spPr>
        <p:txBody>
          <a:bodyPr wrap="square" lIns="0" tIns="36557" rIns="0" bIns="0" rtlCol="0">
            <a:spAutoFit/>
          </a:bodyPr>
          <a:lstStyle/>
          <a:p>
            <a:pPr algn="ctr" defTabSz="913943">
              <a:defRPr sz="1400" b="0" i="0" u="none" strike="noStrike" kern="1200" spc="0" baseline="0">
                <a:solidFill>
                  <a:srgbClr val="2E2E38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nb-NO" sz="1399">
                <a:solidFill>
                  <a:srgbClr val="000000"/>
                </a:solidFill>
                <a:latin typeface="EYInterstate Light"/>
              </a:rPr>
              <a:t>Total verdiskapning i Nordhordland, 2019</a:t>
            </a:r>
            <a:br>
              <a:rPr lang="nb-NO" sz="1399">
                <a:solidFill>
                  <a:srgbClr val="000000"/>
                </a:solidFill>
                <a:latin typeface="EYInterstate Light"/>
              </a:rPr>
            </a:br>
            <a:r>
              <a:rPr lang="nb-NO" sz="1099">
                <a:solidFill>
                  <a:srgbClr val="000000"/>
                </a:solidFill>
                <a:latin typeface="EYInterstate Light"/>
              </a:rPr>
              <a:t>(i 1 000 NOK)</a:t>
            </a:r>
            <a:endParaRPr lang="nb-NO" sz="1399">
              <a:solidFill>
                <a:srgbClr val="000000"/>
              </a:solidFill>
              <a:latin typeface="EYInterstate Light"/>
            </a:endParaRPr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2C9EFE1D-234B-42C4-902B-C0EEDEC91EC8}"/>
              </a:ext>
            </a:extLst>
          </p:cNvPr>
          <p:cNvSpPr txBox="1">
            <a:spLocks/>
          </p:cNvSpPr>
          <p:nvPr/>
        </p:nvSpPr>
        <p:spPr>
          <a:xfrm>
            <a:off x="801845" y="5921649"/>
            <a:ext cx="10772815" cy="4214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3943">
              <a:buClr>
                <a:srgbClr val="FFE600"/>
              </a:buClr>
              <a:buNone/>
            </a:pPr>
            <a:r>
              <a:rPr lang="nb-NO" sz="999">
                <a:solidFill>
                  <a:srgbClr val="2E2E38"/>
                </a:solidFill>
              </a:rPr>
              <a:t>Total verdiskapning for regionen i 2019 er 12,1 milliarder NOK (eks. offentlig sektor). Nordhordland er en industriregion. Høyt aktivitetsnivå i industrien skaper ringvirkninger ned til bygg, anlegg og eiendom, samt tjenesteyting. </a:t>
            </a:r>
          </a:p>
          <a:p>
            <a:pPr marL="0" indent="0" defTabSz="913943">
              <a:buClr>
                <a:srgbClr val="FFE600"/>
              </a:buClr>
              <a:buNone/>
            </a:pPr>
            <a:endParaRPr lang="nb-NO" sz="999">
              <a:solidFill>
                <a:srgbClr val="2E2E38"/>
              </a:solidFill>
            </a:endParaRPr>
          </a:p>
          <a:p>
            <a:pPr marL="0" indent="0" defTabSz="913943">
              <a:buClr>
                <a:srgbClr val="FFE600"/>
              </a:buClr>
              <a:buNone/>
            </a:pPr>
            <a:endParaRPr lang="nb-NO" sz="999">
              <a:solidFill>
                <a:srgbClr val="2E2E38"/>
              </a:solidFill>
            </a:endParaRPr>
          </a:p>
          <a:p>
            <a:pPr marL="0" indent="0" defTabSz="913943">
              <a:buClr>
                <a:srgbClr val="FFE600"/>
              </a:buClr>
              <a:buNone/>
            </a:pPr>
            <a:endParaRPr lang="nb-NO" sz="999">
              <a:solidFill>
                <a:srgbClr val="2E2E38"/>
              </a:solidFill>
            </a:endParaRPr>
          </a:p>
          <a:p>
            <a:pPr marL="0" indent="0" defTabSz="913943">
              <a:buClr>
                <a:srgbClr val="FFE600"/>
              </a:buClr>
              <a:buNone/>
            </a:pPr>
            <a:endParaRPr lang="nb-NO" sz="999">
              <a:solidFill>
                <a:srgbClr val="2E2E38"/>
              </a:solidFill>
            </a:endParaRPr>
          </a:p>
        </p:txBody>
      </p:sp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C78045C9-10C5-450F-9511-CE539E0BEAA6}"/>
              </a:ext>
            </a:extLst>
          </p:cNvPr>
          <p:cNvGraphicFramePr>
            <a:graphicFrameLocks/>
          </p:cNvGraphicFramePr>
          <p:nvPr/>
        </p:nvGraphicFramePr>
        <p:xfrm>
          <a:off x="714566" y="1504586"/>
          <a:ext cx="5327083" cy="40087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0" name="TextBox 19">
            <a:extLst>
              <a:ext uri="{FF2B5EF4-FFF2-40B4-BE49-F238E27FC236}">
                <a16:creationId xmlns:a16="http://schemas.microsoft.com/office/drawing/2014/main" id="{0838A01B-0EE3-486F-8BF5-A8EFB81CADD1}"/>
              </a:ext>
            </a:extLst>
          </p:cNvPr>
          <p:cNvSpPr txBox="1"/>
          <p:nvPr/>
        </p:nvSpPr>
        <p:spPr>
          <a:xfrm>
            <a:off x="6462400" y="1075360"/>
            <a:ext cx="4889626" cy="252246"/>
          </a:xfrm>
          <a:prstGeom prst="rect">
            <a:avLst/>
          </a:prstGeom>
          <a:noFill/>
        </p:spPr>
        <p:txBody>
          <a:bodyPr wrap="square" lIns="0" tIns="36557" rIns="0" bIns="0" rtlCol="0">
            <a:spAutoFit/>
          </a:bodyPr>
          <a:lstStyle/>
          <a:p>
            <a:pPr algn="ctr" defTabSz="913943">
              <a:defRPr sz="1200" b="0" i="0" u="none" strike="noStrike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nb-NO" sz="1399">
                <a:solidFill>
                  <a:srgbClr val="000000"/>
                </a:solidFill>
                <a:latin typeface="EYInterstate Light"/>
              </a:rPr>
              <a:t>Sysselsatte, 2019</a:t>
            </a:r>
            <a:endParaRPr lang="nb-NO" sz="1199">
              <a:solidFill>
                <a:srgbClr val="000000"/>
              </a:solidFill>
              <a:latin typeface="EYInterstate Light"/>
            </a:endParaRP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EF4BC232-2C8E-4679-AB6D-7B0BD073A57F}"/>
              </a:ext>
            </a:extLst>
          </p:cNvPr>
          <p:cNvGraphicFramePr>
            <a:graphicFrameLocks/>
          </p:cNvGraphicFramePr>
          <p:nvPr/>
        </p:nvGraphicFramePr>
        <p:xfrm>
          <a:off x="6437372" y="1517402"/>
          <a:ext cx="5327083" cy="40087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27325834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EB02EC7-90A7-45C0-A7DA-A85165DF54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4761" y="5157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EB02EC7-90A7-45C0-A7DA-A85165DF5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761" y="5157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Slide Number Placeholder 3">
            <a:extLst>
              <a:ext uri="{FF2B5EF4-FFF2-40B4-BE49-F238E27FC236}">
                <a16:creationId xmlns:a16="http://schemas.microsoft.com/office/drawing/2014/main" id="{65865A2C-771D-412D-BE3B-E1CEAA5BDC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>
                <a:solidFill>
                  <a:srgbClr val="2E2E38"/>
                </a:solidFill>
              </a:rPr>
              <a:t>Side </a:t>
            </a:r>
            <a:fld id="{F1BC30E3-FFE5-4B91-AA19-87A149EBB9EE}" type="slidenum">
              <a:rPr lang="nb-NO">
                <a:solidFill>
                  <a:srgbClr val="2E2E38"/>
                </a:solidFill>
              </a:rPr>
              <a:pPr/>
              <a:t>34</a:t>
            </a:fld>
            <a:endParaRPr lang="nb-NO">
              <a:solidFill>
                <a:srgbClr val="2E2E38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8E41466-523F-4C84-AD19-422F2A30C8C0}"/>
              </a:ext>
            </a:extLst>
          </p:cNvPr>
          <p:cNvSpPr txBox="1"/>
          <p:nvPr/>
        </p:nvSpPr>
        <p:spPr>
          <a:xfrm>
            <a:off x="8061512" y="4132463"/>
            <a:ext cx="1526566" cy="820548"/>
          </a:xfrm>
          <a:prstGeom prst="rect">
            <a:avLst/>
          </a:prstGeom>
          <a:noFill/>
        </p:spPr>
        <p:txBody>
          <a:bodyPr wrap="square" lIns="0" tIns="36538" rIns="0" bIns="0" rtlCol="0">
            <a:spAutoFit/>
          </a:bodyPr>
          <a:lstStyle/>
          <a:p>
            <a:pPr algn="ctr" defTabSz="913486">
              <a:lnSpc>
                <a:spcPct val="85000"/>
              </a:lnSpc>
              <a:spcAft>
                <a:spcPts val="600"/>
              </a:spcAft>
              <a:buClr>
                <a:srgbClr val="27ACAA"/>
              </a:buClr>
              <a:buSzPct val="70000"/>
            </a:pPr>
            <a:r>
              <a:rPr lang="nb-NO" sz="999" b="1">
                <a:solidFill>
                  <a:srgbClr val="2E2E38"/>
                </a:solidFill>
                <a:latin typeface="EYInterstate Light"/>
              </a:rPr>
              <a:t>Industri</a:t>
            </a:r>
            <a:br>
              <a:rPr lang="nb-NO" sz="999">
                <a:solidFill>
                  <a:srgbClr val="2E2E38"/>
                </a:solidFill>
                <a:latin typeface="EYInterstate Light"/>
              </a:rPr>
            </a:br>
            <a:r>
              <a:rPr lang="nb-NO" sz="999">
                <a:solidFill>
                  <a:srgbClr val="2E2E38"/>
                </a:solidFill>
                <a:latin typeface="EYInterstate Light"/>
              </a:rPr>
              <a:t>290 arbeidsplasser</a:t>
            </a:r>
            <a:br>
              <a:rPr lang="nb-NO" sz="999">
                <a:solidFill>
                  <a:srgbClr val="2E2E38"/>
                </a:solidFill>
                <a:latin typeface="EYInterstate Light"/>
              </a:rPr>
            </a:br>
            <a:r>
              <a:rPr lang="nb-NO" sz="999">
                <a:solidFill>
                  <a:srgbClr val="2E2E38"/>
                </a:solidFill>
                <a:latin typeface="EYInterstate Light"/>
              </a:rPr>
              <a:t>37 %</a:t>
            </a:r>
            <a:br>
              <a:rPr lang="nb-NO" sz="999">
                <a:solidFill>
                  <a:srgbClr val="2E2E38"/>
                </a:solidFill>
                <a:latin typeface="EYInterstate Light"/>
              </a:rPr>
            </a:br>
            <a:r>
              <a:rPr lang="nb-NO" sz="999">
                <a:solidFill>
                  <a:srgbClr val="2E2E38"/>
                </a:solidFill>
                <a:latin typeface="EYInterstate Light"/>
              </a:rPr>
              <a:t>(med batterifabrikk står de for 72 %)</a:t>
            </a:r>
            <a:br>
              <a:rPr lang="nb-NO" sz="999">
                <a:solidFill>
                  <a:srgbClr val="2E2E38"/>
                </a:solidFill>
                <a:latin typeface="EYInterstate Light"/>
              </a:rPr>
            </a:br>
            <a:endParaRPr lang="nb-NO" sz="999">
              <a:solidFill>
                <a:srgbClr val="2E2E38"/>
              </a:solidFill>
              <a:latin typeface="EYInterstate Ligh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9658170-8D1F-4A65-99A7-684301061EBF}"/>
              </a:ext>
            </a:extLst>
          </p:cNvPr>
          <p:cNvSpPr txBox="1"/>
          <p:nvPr/>
        </p:nvSpPr>
        <p:spPr>
          <a:xfrm>
            <a:off x="7132029" y="1424964"/>
            <a:ext cx="1387787" cy="559330"/>
          </a:xfrm>
          <a:prstGeom prst="rect">
            <a:avLst/>
          </a:prstGeom>
          <a:noFill/>
        </p:spPr>
        <p:txBody>
          <a:bodyPr wrap="square" lIns="0" tIns="36538" rIns="0" bIns="0" rtlCol="0">
            <a:spAutoFit/>
          </a:bodyPr>
          <a:lstStyle/>
          <a:p>
            <a:pPr algn="ctr" defTabSz="913486">
              <a:lnSpc>
                <a:spcPct val="85000"/>
              </a:lnSpc>
              <a:spcAft>
                <a:spcPts val="600"/>
              </a:spcAft>
              <a:buClr>
                <a:srgbClr val="27ACAA"/>
              </a:buClr>
              <a:buSzPct val="70000"/>
            </a:pPr>
            <a:r>
              <a:rPr lang="nb-NO" sz="999" b="1">
                <a:solidFill>
                  <a:srgbClr val="2E2E38"/>
                </a:solidFill>
                <a:latin typeface="EYInterstate Light"/>
              </a:rPr>
              <a:t>Tjenesteyting</a:t>
            </a:r>
            <a:br>
              <a:rPr lang="nb-NO" sz="999">
                <a:solidFill>
                  <a:srgbClr val="2E2E38"/>
                </a:solidFill>
                <a:latin typeface="EYInterstate Light"/>
              </a:rPr>
            </a:br>
            <a:r>
              <a:rPr lang="nb-NO" sz="999">
                <a:solidFill>
                  <a:srgbClr val="2E2E38"/>
                </a:solidFill>
                <a:latin typeface="EYInterstate Light"/>
              </a:rPr>
              <a:t>250 arbeidsplasser</a:t>
            </a:r>
            <a:br>
              <a:rPr lang="nb-NO" sz="999">
                <a:solidFill>
                  <a:srgbClr val="2E2E38"/>
                </a:solidFill>
                <a:latin typeface="EYInterstate Light"/>
              </a:rPr>
            </a:br>
            <a:r>
              <a:rPr lang="nb-NO" sz="999">
                <a:solidFill>
                  <a:srgbClr val="2E2E38"/>
                </a:solidFill>
                <a:latin typeface="EYInterstate Light"/>
              </a:rPr>
              <a:t>31 %</a:t>
            </a:r>
            <a:br>
              <a:rPr lang="nb-NO" sz="999">
                <a:solidFill>
                  <a:srgbClr val="2E2E38"/>
                </a:solidFill>
                <a:latin typeface="EYInterstate Light"/>
              </a:rPr>
            </a:br>
            <a:endParaRPr lang="nb-NO" sz="999">
              <a:solidFill>
                <a:srgbClr val="2E2E38"/>
              </a:solidFill>
              <a:latin typeface="EYInterstate Light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E64CC48-3FCC-4A7C-B262-6097CEE68B77}"/>
              </a:ext>
            </a:extLst>
          </p:cNvPr>
          <p:cNvSpPr txBox="1"/>
          <p:nvPr/>
        </p:nvSpPr>
        <p:spPr>
          <a:xfrm>
            <a:off x="9159328" y="1424965"/>
            <a:ext cx="1387787" cy="559330"/>
          </a:xfrm>
          <a:prstGeom prst="rect">
            <a:avLst/>
          </a:prstGeom>
          <a:noFill/>
        </p:spPr>
        <p:txBody>
          <a:bodyPr wrap="square" lIns="0" tIns="36538" rIns="0" bIns="0" rtlCol="0">
            <a:spAutoFit/>
          </a:bodyPr>
          <a:lstStyle/>
          <a:p>
            <a:pPr algn="ctr" defTabSz="913486">
              <a:lnSpc>
                <a:spcPct val="85000"/>
              </a:lnSpc>
              <a:spcAft>
                <a:spcPts val="600"/>
              </a:spcAft>
              <a:buClr>
                <a:srgbClr val="27ACAA"/>
              </a:buClr>
              <a:buSzPct val="70000"/>
            </a:pPr>
            <a:r>
              <a:rPr lang="nb-NO" sz="999" b="1">
                <a:solidFill>
                  <a:srgbClr val="2E2E38"/>
                </a:solidFill>
                <a:latin typeface="EYInterstate Light"/>
              </a:rPr>
              <a:t>Marin</a:t>
            </a:r>
            <a:br>
              <a:rPr lang="nb-NO" sz="999">
                <a:solidFill>
                  <a:srgbClr val="2E2E38"/>
                </a:solidFill>
                <a:latin typeface="EYInterstate Light"/>
              </a:rPr>
            </a:br>
            <a:r>
              <a:rPr lang="nb-NO" sz="999">
                <a:solidFill>
                  <a:srgbClr val="2E2E38"/>
                </a:solidFill>
                <a:latin typeface="EYInterstate Light"/>
              </a:rPr>
              <a:t>208 arbeidsplasser</a:t>
            </a:r>
            <a:br>
              <a:rPr lang="nb-NO" sz="999">
                <a:solidFill>
                  <a:srgbClr val="2E2E38"/>
                </a:solidFill>
                <a:latin typeface="EYInterstate Light"/>
              </a:rPr>
            </a:br>
            <a:r>
              <a:rPr lang="nb-NO" sz="999">
                <a:solidFill>
                  <a:srgbClr val="2E2E38"/>
                </a:solidFill>
                <a:latin typeface="EYInterstate Light"/>
              </a:rPr>
              <a:t>26 %</a:t>
            </a:r>
            <a:br>
              <a:rPr lang="nb-NO" sz="999">
                <a:solidFill>
                  <a:srgbClr val="2E2E38"/>
                </a:solidFill>
                <a:latin typeface="EYInterstate Light"/>
              </a:rPr>
            </a:br>
            <a:endParaRPr lang="nb-NO" sz="999">
              <a:solidFill>
                <a:srgbClr val="2E2E38"/>
              </a:solidFill>
              <a:latin typeface="EYInterstate Ligh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F313F78-D14B-4826-A33C-BA2FE31C472D}"/>
              </a:ext>
            </a:extLst>
          </p:cNvPr>
          <p:cNvSpPr txBox="1"/>
          <p:nvPr/>
        </p:nvSpPr>
        <p:spPr>
          <a:xfrm>
            <a:off x="10001401" y="2980210"/>
            <a:ext cx="1387787" cy="559330"/>
          </a:xfrm>
          <a:prstGeom prst="rect">
            <a:avLst/>
          </a:prstGeom>
          <a:noFill/>
        </p:spPr>
        <p:txBody>
          <a:bodyPr wrap="square" lIns="0" tIns="36538" rIns="0" bIns="0" rtlCol="0">
            <a:spAutoFit/>
          </a:bodyPr>
          <a:lstStyle/>
          <a:p>
            <a:pPr algn="ctr" defTabSz="913486">
              <a:lnSpc>
                <a:spcPct val="85000"/>
              </a:lnSpc>
              <a:spcAft>
                <a:spcPts val="600"/>
              </a:spcAft>
              <a:buClr>
                <a:srgbClr val="27ACAA"/>
              </a:buClr>
              <a:buSzPct val="70000"/>
            </a:pPr>
            <a:r>
              <a:rPr lang="nb-NO" sz="999" b="1">
                <a:solidFill>
                  <a:srgbClr val="2E2E38"/>
                </a:solidFill>
                <a:latin typeface="EYInterstate Light"/>
              </a:rPr>
              <a:t>Fornybar energi</a:t>
            </a:r>
            <a:br>
              <a:rPr lang="nb-NO" sz="999">
                <a:solidFill>
                  <a:srgbClr val="2E2E38"/>
                </a:solidFill>
                <a:latin typeface="EYInterstate Light"/>
              </a:rPr>
            </a:br>
            <a:r>
              <a:rPr lang="nb-NO" sz="999">
                <a:solidFill>
                  <a:srgbClr val="2E2E38"/>
                </a:solidFill>
                <a:latin typeface="EYInterstate Light"/>
              </a:rPr>
              <a:t>49 arbeidsplasser</a:t>
            </a:r>
            <a:br>
              <a:rPr lang="nb-NO" sz="999">
                <a:solidFill>
                  <a:srgbClr val="2E2E38"/>
                </a:solidFill>
                <a:latin typeface="EYInterstate Light"/>
              </a:rPr>
            </a:br>
            <a:r>
              <a:rPr lang="nb-NO" sz="999">
                <a:solidFill>
                  <a:srgbClr val="2E2E38"/>
                </a:solidFill>
                <a:latin typeface="EYInterstate Light"/>
              </a:rPr>
              <a:t>6 %</a:t>
            </a:r>
            <a:br>
              <a:rPr lang="nb-NO" sz="999">
                <a:solidFill>
                  <a:srgbClr val="2E2E38"/>
                </a:solidFill>
                <a:latin typeface="EYInterstate Light"/>
              </a:rPr>
            </a:br>
            <a:endParaRPr lang="nb-NO" sz="999">
              <a:solidFill>
                <a:srgbClr val="2E2E38"/>
              </a:solidFill>
              <a:latin typeface="EYInterstate Light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AB7AA95-A778-447D-B868-C3E2531C0E0B}"/>
              </a:ext>
            </a:extLst>
          </p:cNvPr>
          <p:cNvCxnSpPr>
            <a:cxnSpLocks/>
            <a:stCxn id="24" idx="1"/>
          </p:cNvCxnSpPr>
          <p:nvPr/>
        </p:nvCxnSpPr>
        <p:spPr>
          <a:xfrm flipH="1" flipV="1">
            <a:off x="9348453" y="3903286"/>
            <a:ext cx="754966" cy="1034785"/>
          </a:xfrm>
          <a:prstGeom prst="line">
            <a:avLst/>
          </a:prstGeom>
          <a:ln w="28575">
            <a:solidFill>
              <a:schemeClr val="bg1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B8A8F845-D971-436C-A2CB-3C30C08EC331}"/>
              </a:ext>
            </a:extLst>
          </p:cNvPr>
          <p:cNvSpPr txBox="1"/>
          <p:nvPr/>
        </p:nvSpPr>
        <p:spPr>
          <a:xfrm>
            <a:off x="10050601" y="5449883"/>
            <a:ext cx="1464118" cy="455253"/>
          </a:xfrm>
          <a:prstGeom prst="rect">
            <a:avLst/>
          </a:prstGeom>
          <a:noFill/>
        </p:spPr>
        <p:txBody>
          <a:bodyPr wrap="square" lIns="0" tIns="36538" rIns="0" bIns="0" rtlCol="0">
            <a:spAutoFit/>
          </a:bodyPr>
          <a:lstStyle/>
          <a:p>
            <a:pPr algn="ctr" defTabSz="913486">
              <a:lnSpc>
                <a:spcPct val="85000"/>
              </a:lnSpc>
              <a:spcAft>
                <a:spcPts val="600"/>
              </a:spcAft>
              <a:buClr>
                <a:srgbClr val="27ACAA"/>
              </a:buClr>
              <a:buSzPct val="70000"/>
            </a:pPr>
            <a:r>
              <a:rPr lang="nb-NO" sz="800">
                <a:solidFill>
                  <a:srgbClr val="2E2E38"/>
                </a:solidFill>
                <a:latin typeface="EYInterstate Light"/>
              </a:rPr>
              <a:t>En batterifabrikk av medium størrelse vil kunne gi tilnærmet</a:t>
            </a:r>
            <a:br>
              <a:rPr lang="nb-NO" sz="800">
                <a:solidFill>
                  <a:srgbClr val="2E2E38"/>
                </a:solidFill>
                <a:latin typeface="EYInterstate Light"/>
              </a:rPr>
            </a:br>
            <a:r>
              <a:rPr lang="nb-NO" sz="800">
                <a:solidFill>
                  <a:srgbClr val="2E2E38"/>
                </a:solidFill>
                <a:latin typeface="EYInterstate Light"/>
              </a:rPr>
              <a:t>1 000 direkte nye arbeidsplasser i regionen. </a:t>
            </a:r>
          </a:p>
        </p:txBody>
      </p:sp>
      <p:sp>
        <p:nvSpPr>
          <p:cNvPr id="24" name="Flowchart: Connector 23">
            <a:extLst>
              <a:ext uri="{FF2B5EF4-FFF2-40B4-BE49-F238E27FC236}">
                <a16:creationId xmlns:a16="http://schemas.microsoft.com/office/drawing/2014/main" id="{C5145054-5107-4370-B19C-3646E700EB37}"/>
              </a:ext>
            </a:extLst>
          </p:cNvPr>
          <p:cNvSpPr/>
          <p:nvPr/>
        </p:nvSpPr>
        <p:spPr>
          <a:xfrm>
            <a:off x="9853221" y="4695073"/>
            <a:ext cx="1708448" cy="1659301"/>
          </a:xfrm>
          <a:prstGeom prst="flowChartConnector">
            <a:avLst/>
          </a:prstGeom>
          <a:noFill/>
          <a:ln w="28575">
            <a:solidFill>
              <a:schemeClr val="bg1">
                <a:lumMod val="60000"/>
                <a:lumOff val="40000"/>
              </a:schemeClr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3486"/>
            <a:endParaRPr lang="en-US" sz="1198">
              <a:solidFill>
                <a:srgbClr val="FFFFFF"/>
              </a:solidFill>
              <a:latin typeface="EYInterstate Light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34682F4C-852C-48A7-9179-4525171F1BD2}"/>
              </a:ext>
            </a:extLst>
          </p:cNvPr>
          <p:cNvSpPr/>
          <p:nvPr/>
        </p:nvSpPr>
        <p:spPr>
          <a:xfrm>
            <a:off x="11077639" y="4447839"/>
            <a:ext cx="460547" cy="478211"/>
          </a:xfrm>
          <a:prstGeom prst="ellipse">
            <a:avLst/>
          </a:prstGeom>
          <a:blipFill dpi="0"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2116">
              <a:defRPr/>
            </a:pPr>
            <a:endParaRPr lang="nb-NO" sz="1195">
              <a:solidFill>
                <a:srgbClr val="000000"/>
              </a:solidFill>
              <a:latin typeface="EYInterstate Light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00000000-0008-0000-0100-000005000000}"/>
              </a:ext>
            </a:extLst>
          </p:cNvPr>
          <p:cNvGraphicFramePr>
            <a:graphicFrameLocks/>
          </p:cNvGraphicFramePr>
          <p:nvPr/>
        </p:nvGraphicFramePr>
        <p:xfrm>
          <a:off x="6866931" y="1622176"/>
          <a:ext cx="3915730" cy="25102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3" name="Chart 32">
            <a:extLst>
              <a:ext uri="{FF2B5EF4-FFF2-40B4-BE49-F238E27FC236}">
                <a16:creationId xmlns:a16="http://schemas.microsoft.com/office/drawing/2014/main" id="{00000000-0008-0000-0100-000007000000}"/>
              </a:ext>
            </a:extLst>
          </p:cNvPr>
          <p:cNvGraphicFramePr>
            <a:graphicFrameLocks/>
          </p:cNvGraphicFramePr>
          <p:nvPr/>
        </p:nvGraphicFramePr>
        <p:xfrm>
          <a:off x="10001401" y="4601892"/>
          <a:ext cx="1387787" cy="9341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5" name="Oval 34">
            <a:extLst>
              <a:ext uri="{FF2B5EF4-FFF2-40B4-BE49-F238E27FC236}">
                <a16:creationId xmlns:a16="http://schemas.microsoft.com/office/drawing/2014/main" id="{43B02520-643E-4A7D-AAF4-047327DEC9DF}"/>
              </a:ext>
            </a:extLst>
          </p:cNvPr>
          <p:cNvSpPr/>
          <p:nvPr/>
        </p:nvSpPr>
        <p:spPr>
          <a:xfrm>
            <a:off x="3960399" y="4991554"/>
            <a:ext cx="154777" cy="154777"/>
          </a:xfrm>
          <a:prstGeom prst="ellipse">
            <a:avLst/>
          </a:prstGeom>
          <a:solidFill>
            <a:schemeClr val="accent2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3943"/>
            <a:endParaRPr lang="nb-NO" sz="1799" kern="0">
              <a:solidFill>
                <a:prstClr val="white"/>
              </a:solidFill>
              <a:latin typeface="EYInterstate Light"/>
            </a:endParaRP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293A781F-BCF7-4E45-963C-1DE913CC0C19}"/>
              </a:ext>
            </a:extLst>
          </p:cNvPr>
          <p:cNvCxnSpPr>
            <a:cxnSpLocks/>
            <a:stCxn id="38" idx="3"/>
            <a:endCxn id="35" idx="2"/>
          </p:cNvCxnSpPr>
          <p:nvPr/>
        </p:nvCxnSpPr>
        <p:spPr>
          <a:xfrm flipV="1">
            <a:off x="2694640" y="5068944"/>
            <a:ext cx="1265759" cy="1045239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BA182032-5A8E-4D59-B1D1-F6F942AEFC4A}"/>
              </a:ext>
            </a:extLst>
          </p:cNvPr>
          <p:cNvSpPr/>
          <p:nvPr/>
        </p:nvSpPr>
        <p:spPr>
          <a:xfrm>
            <a:off x="1765423" y="6009458"/>
            <a:ext cx="929219" cy="209447"/>
          </a:xfrm>
          <a:prstGeom prst="roundRect">
            <a:avLst/>
          </a:prstGeom>
          <a:solidFill>
            <a:sysClr val="window" lastClr="FFFFFF">
              <a:alpha val="83000"/>
            </a:sysClr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35981" tIns="0" rIns="35981" bIns="0" rtlCol="0" anchor="ctr"/>
          <a:lstStyle/>
          <a:p>
            <a:pPr algn="ctr" defTabSz="913943"/>
            <a:r>
              <a:rPr lang="nb-NO" sz="800" b="1" u="sng" kern="0">
                <a:solidFill>
                  <a:prstClr val="black"/>
                </a:solidFill>
                <a:latin typeface="EYInterstate Light"/>
              </a:rPr>
              <a:t>Fornøyelsespark</a:t>
            </a: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C3A26F3F-EC5A-4579-88EA-F6C313395DF9}"/>
              </a:ext>
            </a:extLst>
          </p:cNvPr>
          <p:cNvSpPr/>
          <p:nvPr/>
        </p:nvSpPr>
        <p:spPr>
          <a:xfrm>
            <a:off x="802812" y="3539539"/>
            <a:ext cx="154777" cy="154777"/>
          </a:xfrm>
          <a:prstGeom prst="ellipse">
            <a:avLst/>
          </a:prstGeom>
          <a:solidFill>
            <a:schemeClr val="accent2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3943"/>
            <a:endParaRPr lang="nb-NO" sz="1799" kern="0">
              <a:solidFill>
                <a:prstClr val="white"/>
              </a:solidFill>
              <a:latin typeface="EYInterstate Light"/>
            </a:endParaRP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00C851F2-6240-4549-9247-A15F567A5CA5}"/>
              </a:ext>
            </a:extLst>
          </p:cNvPr>
          <p:cNvCxnSpPr>
            <a:cxnSpLocks/>
            <a:stCxn id="43" idx="2"/>
            <a:endCxn id="41" idx="0"/>
          </p:cNvCxnSpPr>
          <p:nvPr/>
        </p:nvCxnSpPr>
        <p:spPr>
          <a:xfrm flipH="1">
            <a:off x="880201" y="2038638"/>
            <a:ext cx="306434" cy="150090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2D9246B2-149A-4D25-A35F-44382ECE4BF6}"/>
              </a:ext>
            </a:extLst>
          </p:cNvPr>
          <p:cNvSpPr/>
          <p:nvPr/>
        </p:nvSpPr>
        <p:spPr>
          <a:xfrm>
            <a:off x="722026" y="1829191"/>
            <a:ext cx="929219" cy="209447"/>
          </a:xfrm>
          <a:prstGeom prst="roundRect">
            <a:avLst/>
          </a:prstGeom>
          <a:solidFill>
            <a:sysClr val="window" lastClr="FFFFFF">
              <a:alpha val="83000"/>
            </a:sysClr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35981" tIns="0" rIns="35981" bIns="0" rtlCol="0" anchor="ctr"/>
          <a:lstStyle/>
          <a:p>
            <a:pPr algn="ctr" defTabSz="913943"/>
            <a:r>
              <a:rPr lang="nb-NO" sz="800" b="1" u="sng" kern="0">
                <a:solidFill>
                  <a:prstClr val="black"/>
                </a:solidFill>
                <a:latin typeface="EYInterstate Light"/>
              </a:rPr>
              <a:t>Hotell og whisky</a:t>
            </a: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622C23C5-AF61-407D-982C-A6FC5810EB28}"/>
              </a:ext>
            </a:extLst>
          </p:cNvPr>
          <p:cNvSpPr/>
          <p:nvPr/>
        </p:nvSpPr>
        <p:spPr>
          <a:xfrm>
            <a:off x="2094363" y="5334920"/>
            <a:ext cx="154777" cy="154777"/>
          </a:xfrm>
          <a:prstGeom prst="ellipse">
            <a:avLst/>
          </a:prstGeom>
          <a:solidFill>
            <a:schemeClr val="accent2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3943"/>
            <a:endParaRPr lang="nb-NO" sz="1799" kern="0">
              <a:solidFill>
                <a:prstClr val="white"/>
              </a:solidFill>
              <a:latin typeface="EYInterstate Light"/>
            </a:endParaRP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A4D557ED-19B6-4E33-BD6E-A2FF46EB9C5B}"/>
              </a:ext>
            </a:extLst>
          </p:cNvPr>
          <p:cNvCxnSpPr>
            <a:cxnSpLocks/>
            <a:stCxn id="62" idx="2"/>
            <a:endCxn id="60" idx="2"/>
          </p:cNvCxnSpPr>
          <p:nvPr/>
        </p:nvCxnSpPr>
        <p:spPr>
          <a:xfrm>
            <a:off x="1406218" y="4938071"/>
            <a:ext cx="688147" cy="474237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8F2518C1-6A31-4ACA-9CA7-4E1314EC17F0}"/>
              </a:ext>
            </a:extLst>
          </p:cNvPr>
          <p:cNvSpPr/>
          <p:nvPr/>
        </p:nvSpPr>
        <p:spPr>
          <a:xfrm>
            <a:off x="941608" y="4728624"/>
            <a:ext cx="929219" cy="209447"/>
          </a:xfrm>
          <a:prstGeom prst="roundRect">
            <a:avLst/>
          </a:prstGeom>
          <a:solidFill>
            <a:sysClr val="window" lastClr="FFFFFF">
              <a:alpha val="83000"/>
            </a:sysClr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35981" tIns="0" rIns="35981" bIns="0" rtlCol="0" anchor="ctr"/>
          <a:lstStyle/>
          <a:p>
            <a:pPr algn="ctr" defTabSz="913943"/>
            <a:r>
              <a:rPr lang="nb-NO" sz="800" b="1" u="sng" kern="0">
                <a:solidFill>
                  <a:prstClr val="black"/>
                </a:solidFill>
                <a:latin typeface="EYInterstate Light"/>
              </a:rPr>
              <a:t>Golfresort</a:t>
            </a: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DF9BC5ED-FD4D-4BF1-96C5-1536749F6F68}"/>
              </a:ext>
            </a:extLst>
          </p:cNvPr>
          <p:cNvSpPr/>
          <p:nvPr/>
        </p:nvSpPr>
        <p:spPr>
          <a:xfrm>
            <a:off x="4808608" y="3182485"/>
            <a:ext cx="154777" cy="154777"/>
          </a:xfrm>
          <a:prstGeom prst="ellipse">
            <a:avLst/>
          </a:prstGeom>
          <a:solidFill>
            <a:schemeClr val="accent2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3943"/>
            <a:endParaRPr lang="nb-NO" sz="1799" kern="0">
              <a:solidFill>
                <a:prstClr val="white"/>
              </a:solidFill>
              <a:latin typeface="EYInterstate Light"/>
            </a:endParaRPr>
          </a:p>
        </p:txBody>
      </p: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C3CF30D8-03DC-4416-A66C-5A0E66DDA7FC}"/>
              </a:ext>
            </a:extLst>
          </p:cNvPr>
          <p:cNvCxnSpPr>
            <a:cxnSpLocks/>
            <a:stCxn id="75" idx="0"/>
            <a:endCxn id="73" idx="6"/>
          </p:cNvCxnSpPr>
          <p:nvPr/>
        </p:nvCxnSpPr>
        <p:spPr>
          <a:xfrm flipH="1" flipV="1">
            <a:off x="4963385" y="3259874"/>
            <a:ext cx="825345" cy="924863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  <p:sp>
        <p:nvSpPr>
          <p:cNvPr id="75" name="Rectangle: Rounded Corners 74">
            <a:extLst>
              <a:ext uri="{FF2B5EF4-FFF2-40B4-BE49-F238E27FC236}">
                <a16:creationId xmlns:a16="http://schemas.microsoft.com/office/drawing/2014/main" id="{C2AD9F4A-B997-4B12-80A7-F21E56321183}"/>
              </a:ext>
            </a:extLst>
          </p:cNvPr>
          <p:cNvSpPr/>
          <p:nvPr/>
        </p:nvSpPr>
        <p:spPr>
          <a:xfrm>
            <a:off x="5117827" y="4184736"/>
            <a:ext cx="1341807" cy="422696"/>
          </a:xfrm>
          <a:prstGeom prst="roundRect">
            <a:avLst/>
          </a:prstGeom>
          <a:solidFill>
            <a:sysClr val="window" lastClr="FFFFFF">
              <a:alpha val="83000"/>
            </a:sysClr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35981" tIns="0" rIns="35981" bIns="0" rtlCol="0" anchor="ctr"/>
          <a:lstStyle/>
          <a:p>
            <a:pPr algn="ctr" defTabSz="913943"/>
            <a:r>
              <a:rPr lang="nb-NO" sz="800" b="1" u="sng" kern="0">
                <a:solidFill>
                  <a:prstClr val="black"/>
                </a:solidFill>
                <a:latin typeface="EYInterstate Light"/>
              </a:rPr>
              <a:t>Datasenter</a:t>
            </a:r>
            <a:endParaRPr lang="nb-NO" sz="800" kern="0">
              <a:solidFill>
                <a:prstClr val="black"/>
              </a:solidFill>
              <a:latin typeface="EYInterstate Light"/>
            </a:endParaRPr>
          </a:p>
          <a:p>
            <a:pPr defTabSz="913943"/>
            <a:r>
              <a:rPr lang="nb-NO" sz="800" kern="0">
                <a:solidFill>
                  <a:prstClr val="black"/>
                </a:solidFill>
                <a:latin typeface="EYInterstate Light"/>
              </a:rPr>
              <a:t>Est. driftsstart: 2024</a:t>
            </a:r>
          </a:p>
          <a:p>
            <a:pPr defTabSz="913943"/>
            <a:r>
              <a:rPr lang="nb-NO" sz="800" kern="0">
                <a:solidFill>
                  <a:prstClr val="black"/>
                </a:solidFill>
                <a:latin typeface="EYInterstate Light"/>
              </a:rPr>
              <a:t>Est. arbeidsplasser: 10</a:t>
            </a:r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7B0EE860-3EF2-4B1E-A689-CC849997DAE6}"/>
              </a:ext>
            </a:extLst>
          </p:cNvPr>
          <p:cNvSpPr/>
          <p:nvPr/>
        </p:nvSpPr>
        <p:spPr>
          <a:xfrm>
            <a:off x="4057576" y="2933889"/>
            <a:ext cx="154777" cy="154777"/>
          </a:xfrm>
          <a:prstGeom prst="ellipse">
            <a:avLst/>
          </a:prstGeom>
          <a:solidFill>
            <a:schemeClr val="accent2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3943"/>
            <a:endParaRPr lang="nb-NO" sz="1799" kern="0">
              <a:solidFill>
                <a:prstClr val="white"/>
              </a:solidFill>
              <a:latin typeface="EYInterstate Light"/>
            </a:endParaRPr>
          </a:p>
        </p:txBody>
      </p: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5CB37540-C9E8-4DD2-98CB-F04D56F8BDDF}"/>
              </a:ext>
            </a:extLst>
          </p:cNvPr>
          <p:cNvCxnSpPr>
            <a:cxnSpLocks/>
            <a:stCxn id="84" idx="1"/>
            <a:endCxn id="82" idx="6"/>
          </p:cNvCxnSpPr>
          <p:nvPr/>
        </p:nvCxnSpPr>
        <p:spPr>
          <a:xfrm flipH="1">
            <a:off x="4212353" y="2796006"/>
            <a:ext cx="656384" cy="215272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C57351FE-FB8E-4B04-9992-C72859B2B808}"/>
              </a:ext>
            </a:extLst>
          </p:cNvPr>
          <p:cNvSpPr/>
          <p:nvPr/>
        </p:nvSpPr>
        <p:spPr>
          <a:xfrm>
            <a:off x="4868737" y="2584658"/>
            <a:ext cx="1341807" cy="422696"/>
          </a:xfrm>
          <a:prstGeom prst="roundRect">
            <a:avLst/>
          </a:prstGeom>
          <a:solidFill>
            <a:sysClr val="window" lastClr="FFFFFF">
              <a:alpha val="83000"/>
            </a:sysClr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35981" tIns="0" rIns="35981" bIns="0" rtlCol="0" anchor="ctr"/>
          <a:lstStyle/>
          <a:p>
            <a:pPr algn="ctr" defTabSz="913943"/>
            <a:r>
              <a:rPr lang="nb-NO" sz="800" b="1" u="sng" kern="0">
                <a:solidFill>
                  <a:prstClr val="black"/>
                </a:solidFill>
                <a:latin typeface="EYInterstate Light"/>
              </a:rPr>
              <a:t>Datasenter</a:t>
            </a:r>
            <a:endParaRPr lang="nb-NO" sz="800" kern="0">
              <a:solidFill>
                <a:prstClr val="black"/>
              </a:solidFill>
              <a:latin typeface="EYInterstate Light"/>
            </a:endParaRPr>
          </a:p>
          <a:p>
            <a:pPr defTabSz="913943"/>
            <a:r>
              <a:rPr lang="nb-NO" sz="800" kern="0">
                <a:solidFill>
                  <a:prstClr val="black"/>
                </a:solidFill>
                <a:latin typeface="EYInterstate Light"/>
              </a:rPr>
              <a:t>Est. driftsstart: 2023</a:t>
            </a:r>
          </a:p>
          <a:p>
            <a:pPr defTabSz="913943"/>
            <a:r>
              <a:rPr lang="nb-NO" sz="800" kern="0">
                <a:solidFill>
                  <a:prstClr val="black"/>
                </a:solidFill>
                <a:latin typeface="EYInterstate Light"/>
              </a:rPr>
              <a:t>Est. arbeidsplasser: 30</a:t>
            </a: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008922F6-B257-41BE-8CB2-7ECDBAEFAC2A}"/>
              </a:ext>
            </a:extLst>
          </p:cNvPr>
          <p:cNvSpPr/>
          <p:nvPr/>
        </p:nvSpPr>
        <p:spPr>
          <a:xfrm>
            <a:off x="1294818" y="2665971"/>
            <a:ext cx="154777" cy="154777"/>
          </a:xfrm>
          <a:prstGeom prst="ellipse">
            <a:avLst/>
          </a:prstGeom>
          <a:solidFill>
            <a:schemeClr val="accent2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3943"/>
            <a:endParaRPr lang="nb-NO" sz="1799" kern="0">
              <a:solidFill>
                <a:prstClr val="white"/>
              </a:solidFill>
              <a:latin typeface="EYInterstate Light"/>
            </a:endParaRPr>
          </a:p>
        </p:txBody>
      </p: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8DD9D864-1B78-4C24-BD96-58CFF92CB0B9}"/>
              </a:ext>
            </a:extLst>
          </p:cNvPr>
          <p:cNvCxnSpPr>
            <a:cxnSpLocks/>
            <a:stCxn id="89" idx="1"/>
            <a:endCxn id="87" idx="0"/>
          </p:cNvCxnSpPr>
          <p:nvPr/>
        </p:nvCxnSpPr>
        <p:spPr>
          <a:xfrm flipH="1">
            <a:off x="1372208" y="1470202"/>
            <a:ext cx="722157" cy="119577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  <p:sp>
        <p:nvSpPr>
          <p:cNvPr id="89" name="Rectangle: Rounded Corners 88">
            <a:extLst>
              <a:ext uri="{FF2B5EF4-FFF2-40B4-BE49-F238E27FC236}">
                <a16:creationId xmlns:a16="http://schemas.microsoft.com/office/drawing/2014/main" id="{A78B6DD6-120C-44BB-A4FB-E0254DA3F905}"/>
              </a:ext>
            </a:extLst>
          </p:cNvPr>
          <p:cNvSpPr/>
          <p:nvPr/>
        </p:nvSpPr>
        <p:spPr>
          <a:xfrm>
            <a:off x="2094363" y="1258852"/>
            <a:ext cx="1341807" cy="422696"/>
          </a:xfrm>
          <a:prstGeom prst="roundRect">
            <a:avLst/>
          </a:prstGeom>
          <a:solidFill>
            <a:sysClr val="window" lastClr="FFFFFF">
              <a:alpha val="83000"/>
            </a:sysClr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35981" tIns="0" rIns="35981" bIns="0" rtlCol="0" anchor="ctr"/>
          <a:lstStyle/>
          <a:p>
            <a:pPr algn="ctr" defTabSz="913943"/>
            <a:r>
              <a:rPr lang="nb-NO" sz="800" b="1" u="sng" kern="0">
                <a:solidFill>
                  <a:prstClr val="black"/>
                </a:solidFill>
                <a:latin typeface="EYInterstate Light"/>
              </a:rPr>
              <a:t>Fryseri og </a:t>
            </a:r>
            <a:r>
              <a:rPr lang="nb-NO" sz="800" b="1" u="sng" kern="0" err="1">
                <a:solidFill>
                  <a:prstClr val="black"/>
                </a:solidFill>
                <a:latin typeface="EYInterstate Light"/>
              </a:rPr>
              <a:t>filètfabrikk</a:t>
            </a:r>
            <a:endParaRPr lang="nb-NO" sz="800" kern="0">
              <a:solidFill>
                <a:prstClr val="black"/>
              </a:solidFill>
              <a:latin typeface="EYInterstate Light"/>
            </a:endParaRPr>
          </a:p>
          <a:p>
            <a:pPr defTabSz="913943"/>
            <a:r>
              <a:rPr lang="nb-NO" sz="800" kern="0">
                <a:solidFill>
                  <a:prstClr val="black"/>
                </a:solidFill>
                <a:latin typeface="EYInterstate Light"/>
              </a:rPr>
              <a:t>Est. driftsstart: 2021</a:t>
            </a:r>
          </a:p>
          <a:p>
            <a:pPr defTabSz="913943"/>
            <a:r>
              <a:rPr lang="nb-NO" sz="800" kern="0">
                <a:solidFill>
                  <a:prstClr val="black"/>
                </a:solidFill>
                <a:latin typeface="EYInterstate Light"/>
              </a:rPr>
              <a:t>Est. arbeidsplasser: 28</a:t>
            </a:r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36FAD5C6-7107-4EBC-B946-73EA78002D14}"/>
              </a:ext>
            </a:extLst>
          </p:cNvPr>
          <p:cNvSpPr/>
          <p:nvPr/>
        </p:nvSpPr>
        <p:spPr>
          <a:xfrm>
            <a:off x="1686209" y="2578270"/>
            <a:ext cx="154777" cy="154777"/>
          </a:xfrm>
          <a:prstGeom prst="ellipse">
            <a:avLst/>
          </a:prstGeom>
          <a:solidFill>
            <a:schemeClr val="accent2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3943"/>
            <a:endParaRPr lang="nb-NO" sz="1799" kern="0">
              <a:solidFill>
                <a:prstClr val="white"/>
              </a:solidFill>
              <a:latin typeface="EYInterstate Light"/>
            </a:endParaRPr>
          </a:p>
        </p:txBody>
      </p: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13E2502B-1105-429F-8DEF-A149801DFFE8}"/>
              </a:ext>
            </a:extLst>
          </p:cNvPr>
          <p:cNvCxnSpPr>
            <a:cxnSpLocks/>
            <a:stCxn id="95" idx="1"/>
            <a:endCxn id="93" idx="6"/>
          </p:cNvCxnSpPr>
          <p:nvPr/>
        </p:nvCxnSpPr>
        <p:spPr>
          <a:xfrm flipH="1">
            <a:off x="1840986" y="2479935"/>
            <a:ext cx="1096349" cy="175724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  <p:sp>
        <p:nvSpPr>
          <p:cNvPr id="95" name="Rectangle: Rounded Corners 94">
            <a:extLst>
              <a:ext uri="{FF2B5EF4-FFF2-40B4-BE49-F238E27FC236}">
                <a16:creationId xmlns:a16="http://schemas.microsoft.com/office/drawing/2014/main" id="{044F6ED9-B821-4437-AE14-28A049FFE8C8}"/>
              </a:ext>
            </a:extLst>
          </p:cNvPr>
          <p:cNvSpPr/>
          <p:nvPr/>
        </p:nvSpPr>
        <p:spPr>
          <a:xfrm>
            <a:off x="2937335" y="2268586"/>
            <a:ext cx="1341807" cy="422696"/>
          </a:xfrm>
          <a:prstGeom prst="roundRect">
            <a:avLst/>
          </a:prstGeom>
          <a:solidFill>
            <a:sysClr val="window" lastClr="FFFFFF">
              <a:alpha val="83000"/>
            </a:sysClr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35981" tIns="0" rIns="35981" bIns="0" rtlCol="0" anchor="ctr"/>
          <a:lstStyle/>
          <a:p>
            <a:pPr algn="ctr" defTabSz="913943"/>
            <a:r>
              <a:rPr lang="nb-NO" sz="800" b="1" u="sng" kern="0">
                <a:solidFill>
                  <a:prstClr val="black"/>
                </a:solidFill>
                <a:latin typeface="EYInterstate Light"/>
              </a:rPr>
              <a:t>Landbasert oppdrett</a:t>
            </a:r>
            <a:endParaRPr lang="nb-NO" sz="800" kern="0">
              <a:solidFill>
                <a:prstClr val="black"/>
              </a:solidFill>
              <a:latin typeface="EYInterstate Light"/>
            </a:endParaRPr>
          </a:p>
          <a:p>
            <a:pPr defTabSz="913943"/>
            <a:r>
              <a:rPr lang="nb-NO" sz="800" kern="0">
                <a:solidFill>
                  <a:prstClr val="black"/>
                </a:solidFill>
                <a:latin typeface="EYInterstate Light"/>
              </a:rPr>
              <a:t>Est. driftsstart: 2024</a:t>
            </a:r>
          </a:p>
          <a:p>
            <a:pPr defTabSz="913943"/>
            <a:r>
              <a:rPr lang="nb-NO" sz="800" kern="0">
                <a:solidFill>
                  <a:prstClr val="black"/>
                </a:solidFill>
                <a:latin typeface="EYInterstate Light"/>
              </a:rPr>
              <a:t>Est. arbeidsplasser: 15</a:t>
            </a:r>
          </a:p>
        </p:txBody>
      </p:sp>
      <p:sp>
        <p:nvSpPr>
          <p:cNvPr id="102" name="Oval 101">
            <a:extLst>
              <a:ext uri="{FF2B5EF4-FFF2-40B4-BE49-F238E27FC236}">
                <a16:creationId xmlns:a16="http://schemas.microsoft.com/office/drawing/2014/main" id="{FBF5EC67-0186-45DE-8187-698CE06D4152}"/>
              </a:ext>
            </a:extLst>
          </p:cNvPr>
          <p:cNvSpPr/>
          <p:nvPr/>
        </p:nvSpPr>
        <p:spPr>
          <a:xfrm>
            <a:off x="3495530" y="1888769"/>
            <a:ext cx="154777" cy="154777"/>
          </a:xfrm>
          <a:prstGeom prst="ellipse">
            <a:avLst/>
          </a:prstGeom>
          <a:solidFill>
            <a:schemeClr val="accent2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3943"/>
            <a:endParaRPr lang="nb-NO" sz="1799" kern="0">
              <a:solidFill>
                <a:prstClr val="white"/>
              </a:solidFill>
              <a:latin typeface="EYInterstate Light"/>
            </a:endParaRPr>
          </a:p>
        </p:txBody>
      </p: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C61DFB3A-4BDC-4643-AA9E-85EE9533AA90}"/>
              </a:ext>
            </a:extLst>
          </p:cNvPr>
          <p:cNvCxnSpPr>
            <a:cxnSpLocks/>
            <a:stCxn id="104" idx="1"/>
            <a:endCxn id="102" idx="6"/>
          </p:cNvCxnSpPr>
          <p:nvPr/>
        </p:nvCxnSpPr>
        <p:spPr>
          <a:xfrm flipH="1">
            <a:off x="3650307" y="1962130"/>
            <a:ext cx="1176021" cy="4028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  <p:sp>
        <p:nvSpPr>
          <p:cNvPr id="104" name="Rectangle: Rounded Corners 103">
            <a:extLst>
              <a:ext uri="{FF2B5EF4-FFF2-40B4-BE49-F238E27FC236}">
                <a16:creationId xmlns:a16="http://schemas.microsoft.com/office/drawing/2014/main" id="{AC96D189-8062-4C7D-827B-3CB8C5B44F6C}"/>
              </a:ext>
            </a:extLst>
          </p:cNvPr>
          <p:cNvSpPr/>
          <p:nvPr/>
        </p:nvSpPr>
        <p:spPr>
          <a:xfrm>
            <a:off x="4826328" y="1750782"/>
            <a:ext cx="1341807" cy="422696"/>
          </a:xfrm>
          <a:prstGeom prst="roundRect">
            <a:avLst/>
          </a:prstGeom>
          <a:solidFill>
            <a:sysClr val="window" lastClr="FFFFFF">
              <a:alpha val="83000"/>
            </a:sysClr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35981" tIns="0" rIns="35981" bIns="0" rtlCol="0" anchor="ctr"/>
          <a:lstStyle/>
          <a:p>
            <a:pPr algn="ctr" defTabSz="913943"/>
            <a:r>
              <a:rPr lang="nb-NO" sz="800" b="1" u="sng" kern="0">
                <a:solidFill>
                  <a:prstClr val="black"/>
                </a:solidFill>
                <a:latin typeface="EYInterstate Light"/>
              </a:rPr>
              <a:t>Landbasert oppdrett</a:t>
            </a:r>
            <a:endParaRPr lang="nb-NO" sz="800" kern="0">
              <a:solidFill>
                <a:prstClr val="black"/>
              </a:solidFill>
              <a:latin typeface="EYInterstate Light"/>
            </a:endParaRPr>
          </a:p>
          <a:p>
            <a:pPr defTabSz="913943"/>
            <a:r>
              <a:rPr lang="nb-NO" sz="800" kern="0">
                <a:solidFill>
                  <a:prstClr val="black"/>
                </a:solidFill>
                <a:latin typeface="EYInterstate Light"/>
              </a:rPr>
              <a:t>Est. driftsstart: 2025</a:t>
            </a:r>
          </a:p>
          <a:p>
            <a:pPr defTabSz="913943"/>
            <a:r>
              <a:rPr lang="nb-NO" sz="800" kern="0">
                <a:solidFill>
                  <a:prstClr val="black"/>
                </a:solidFill>
                <a:latin typeface="EYInterstate Light"/>
              </a:rPr>
              <a:t>Est. arbeidsplasser: 25</a:t>
            </a:r>
          </a:p>
        </p:txBody>
      </p:sp>
      <p:sp>
        <p:nvSpPr>
          <p:cNvPr id="117" name="Oval 116">
            <a:extLst>
              <a:ext uri="{FF2B5EF4-FFF2-40B4-BE49-F238E27FC236}">
                <a16:creationId xmlns:a16="http://schemas.microsoft.com/office/drawing/2014/main" id="{AB25AA70-90E1-446E-A8A5-BC155565F21F}"/>
              </a:ext>
            </a:extLst>
          </p:cNvPr>
          <p:cNvSpPr/>
          <p:nvPr/>
        </p:nvSpPr>
        <p:spPr>
          <a:xfrm>
            <a:off x="1983630" y="3052507"/>
            <a:ext cx="154777" cy="154777"/>
          </a:xfrm>
          <a:prstGeom prst="ellipse">
            <a:avLst/>
          </a:prstGeom>
          <a:solidFill>
            <a:schemeClr val="accent2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3943"/>
            <a:endParaRPr lang="nb-NO" sz="1799" kern="0">
              <a:solidFill>
                <a:prstClr val="white"/>
              </a:solidFill>
              <a:latin typeface="EYInterstate Light"/>
            </a:endParaRPr>
          </a:p>
        </p:txBody>
      </p: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F8A80E48-451D-4447-84B5-7A7FEF803C78}"/>
              </a:ext>
            </a:extLst>
          </p:cNvPr>
          <p:cNvCxnSpPr>
            <a:cxnSpLocks/>
            <a:stCxn id="119" idx="0"/>
            <a:endCxn id="117" idx="4"/>
          </p:cNvCxnSpPr>
          <p:nvPr/>
        </p:nvCxnSpPr>
        <p:spPr>
          <a:xfrm flipV="1">
            <a:off x="1733286" y="3207286"/>
            <a:ext cx="327734" cy="73923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  <p:sp>
        <p:nvSpPr>
          <p:cNvPr id="119" name="Rectangle: Rounded Corners 118">
            <a:extLst>
              <a:ext uri="{FF2B5EF4-FFF2-40B4-BE49-F238E27FC236}">
                <a16:creationId xmlns:a16="http://schemas.microsoft.com/office/drawing/2014/main" id="{80494640-6F28-4F92-AA05-AA0963F0C95A}"/>
              </a:ext>
            </a:extLst>
          </p:cNvPr>
          <p:cNvSpPr/>
          <p:nvPr/>
        </p:nvSpPr>
        <p:spPr>
          <a:xfrm>
            <a:off x="1062381" y="3946514"/>
            <a:ext cx="1341807" cy="422696"/>
          </a:xfrm>
          <a:prstGeom prst="roundRect">
            <a:avLst/>
          </a:prstGeom>
          <a:solidFill>
            <a:sysClr val="window" lastClr="FFFFFF">
              <a:alpha val="83000"/>
            </a:sysClr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35981" tIns="0" rIns="35981" bIns="0" rtlCol="0" anchor="ctr"/>
          <a:lstStyle/>
          <a:p>
            <a:pPr algn="ctr" defTabSz="913943"/>
            <a:r>
              <a:rPr lang="nb-NO" sz="800" b="1" u="sng" kern="0" err="1">
                <a:solidFill>
                  <a:prstClr val="black"/>
                </a:solidFill>
                <a:latin typeface="EYInterstate Light"/>
              </a:rPr>
              <a:t>Skipavika</a:t>
            </a:r>
            <a:endParaRPr lang="nb-NO" sz="800" kern="0">
              <a:solidFill>
                <a:prstClr val="black"/>
              </a:solidFill>
              <a:latin typeface="EYInterstate Light"/>
            </a:endParaRPr>
          </a:p>
          <a:p>
            <a:pPr defTabSz="913943"/>
            <a:r>
              <a:rPr lang="nb-NO" sz="800" kern="0">
                <a:solidFill>
                  <a:prstClr val="black"/>
                </a:solidFill>
                <a:latin typeface="EYInterstate Light"/>
              </a:rPr>
              <a:t>Est. arbeidsplasser: 190</a:t>
            </a:r>
            <a:br>
              <a:rPr lang="nb-NO" sz="800" kern="0">
                <a:solidFill>
                  <a:prstClr val="black"/>
                </a:solidFill>
                <a:latin typeface="EYInterstate Light"/>
              </a:rPr>
            </a:br>
            <a:r>
              <a:rPr lang="nb-NO" sz="800" kern="0">
                <a:solidFill>
                  <a:srgbClr val="2E2E38"/>
                </a:solidFill>
                <a:latin typeface="EYInterstate Light"/>
              </a:rPr>
              <a:t>Se uthevet case.</a:t>
            </a:r>
          </a:p>
        </p:txBody>
      </p:sp>
      <p:sp>
        <p:nvSpPr>
          <p:cNvPr id="126" name="Oval 125">
            <a:extLst>
              <a:ext uri="{FF2B5EF4-FFF2-40B4-BE49-F238E27FC236}">
                <a16:creationId xmlns:a16="http://schemas.microsoft.com/office/drawing/2014/main" id="{631367A5-EAC9-4BDA-80BA-3B5547C21AC4}"/>
              </a:ext>
            </a:extLst>
          </p:cNvPr>
          <p:cNvSpPr/>
          <p:nvPr/>
        </p:nvSpPr>
        <p:spPr>
          <a:xfrm>
            <a:off x="2075596" y="3480926"/>
            <a:ext cx="154777" cy="154777"/>
          </a:xfrm>
          <a:prstGeom prst="ellipse">
            <a:avLst/>
          </a:prstGeom>
          <a:solidFill>
            <a:schemeClr val="accent2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3943"/>
            <a:endParaRPr lang="nb-NO" sz="1799" kern="0">
              <a:solidFill>
                <a:prstClr val="white"/>
              </a:solidFill>
              <a:latin typeface="EYInterstate Light"/>
            </a:endParaRPr>
          </a:p>
        </p:txBody>
      </p: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9D6F745E-E7FF-4FF7-8B1F-4625D3723BCB}"/>
              </a:ext>
            </a:extLst>
          </p:cNvPr>
          <p:cNvCxnSpPr>
            <a:cxnSpLocks/>
            <a:stCxn id="128" idx="0"/>
            <a:endCxn id="126" idx="6"/>
          </p:cNvCxnSpPr>
          <p:nvPr/>
        </p:nvCxnSpPr>
        <p:spPr>
          <a:xfrm flipH="1" flipV="1">
            <a:off x="2230375" y="3558316"/>
            <a:ext cx="1285575" cy="772173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  <p:sp>
        <p:nvSpPr>
          <p:cNvPr id="128" name="Rectangle: Rounded Corners 127">
            <a:extLst>
              <a:ext uri="{FF2B5EF4-FFF2-40B4-BE49-F238E27FC236}">
                <a16:creationId xmlns:a16="http://schemas.microsoft.com/office/drawing/2014/main" id="{1A785FA1-1A9D-4980-B985-44830960B0C3}"/>
              </a:ext>
            </a:extLst>
          </p:cNvPr>
          <p:cNvSpPr/>
          <p:nvPr/>
        </p:nvSpPr>
        <p:spPr>
          <a:xfrm>
            <a:off x="2845045" y="4330487"/>
            <a:ext cx="1341807" cy="422696"/>
          </a:xfrm>
          <a:prstGeom prst="roundRect">
            <a:avLst/>
          </a:prstGeom>
          <a:solidFill>
            <a:sysClr val="window" lastClr="FFFFFF">
              <a:alpha val="83000"/>
            </a:sysClr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35981" tIns="0" rIns="35981" bIns="0" rtlCol="0" anchor="ctr"/>
          <a:lstStyle/>
          <a:p>
            <a:pPr algn="ctr" defTabSz="913943"/>
            <a:r>
              <a:rPr lang="nb-NO" sz="800" b="1" u="sng" kern="0">
                <a:solidFill>
                  <a:prstClr val="black"/>
                </a:solidFill>
                <a:latin typeface="EYInterstate Light"/>
              </a:rPr>
              <a:t>Greenspot Mongstad</a:t>
            </a:r>
            <a:endParaRPr lang="nb-NO" sz="800" kern="0">
              <a:solidFill>
                <a:prstClr val="black"/>
              </a:solidFill>
              <a:latin typeface="EYInterstate Light"/>
            </a:endParaRPr>
          </a:p>
          <a:p>
            <a:pPr defTabSz="913943"/>
            <a:r>
              <a:rPr lang="nb-NO" sz="800" kern="0">
                <a:solidFill>
                  <a:srgbClr val="2E2E38"/>
                </a:solidFill>
                <a:latin typeface="EYInterstate Light"/>
              </a:rPr>
              <a:t>Est. arbeidsplasser: 1 145</a:t>
            </a:r>
            <a:br>
              <a:rPr lang="nb-NO" sz="800" kern="0">
                <a:solidFill>
                  <a:srgbClr val="2E2E38"/>
                </a:solidFill>
                <a:latin typeface="EYInterstate Light"/>
              </a:rPr>
            </a:br>
            <a:r>
              <a:rPr lang="nb-NO" sz="800" kern="0">
                <a:solidFill>
                  <a:srgbClr val="2E2E38"/>
                </a:solidFill>
                <a:latin typeface="EYInterstate Light"/>
              </a:rPr>
              <a:t>Se uthevet case.</a:t>
            </a:r>
          </a:p>
        </p:txBody>
      </p:sp>
      <p:sp>
        <p:nvSpPr>
          <p:cNvPr id="131" name="Oval 130">
            <a:extLst>
              <a:ext uri="{FF2B5EF4-FFF2-40B4-BE49-F238E27FC236}">
                <a16:creationId xmlns:a16="http://schemas.microsoft.com/office/drawing/2014/main" id="{7F879083-1DA6-4599-87EB-9205354B5F1E}"/>
              </a:ext>
            </a:extLst>
          </p:cNvPr>
          <p:cNvSpPr/>
          <p:nvPr/>
        </p:nvSpPr>
        <p:spPr>
          <a:xfrm>
            <a:off x="2249411" y="3143657"/>
            <a:ext cx="154777" cy="154777"/>
          </a:xfrm>
          <a:prstGeom prst="ellipse">
            <a:avLst/>
          </a:prstGeom>
          <a:solidFill>
            <a:schemeClr val="accent2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3943"/>
            <a:endParaRPr lang="nb-NO" sz="1799" kern="0">
              <a:solidFill>
                <a:prstClr val="white"/>
              </a:solidFill>
              <a:latin typeface="EYInterstate Light"/>
            </a:endParaRPr>
          </a:p>
        </p:txBody>
      </p: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CB1EFB0A-6E45-42FF-BE53-DEA250008ADB}"/>
              </a:ext>
            </a:extLst>
          </p:cNvPr>
          <p:cNvCxnSpPr>
            <a:cxnSpLocks/>
            <a:stCxn id="133" idx="1"/>
            <a:endCxn id="131" idx="6"/>
          </p:cNvCxnSpPr>
          <p:nvPr/>
        </p:nvCxnSpPr>
        <p:spPr>
          <a:xfrm flipH="1" flipV="1">
            <a:off x="2404188" y="3221047"/>
            <a:ext cx="1097075" cy="508168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  <p:sp>
        <p:nvSpPr>
          <p:cNvPr id="133" name="Rectangle: Rounded Corners 132">
            <a:extLst>
              <a:ext uri="{FF2B5EF4-FFF2-40B4-BE49-F238E27FC236}">
                <a16:creationId xmlns:a16="http://schemas.microsoft.com/office/drawing/2014/main" id="{A43D0E46-79EA-4555-9D80-9D5163289494}"/>
              </a:ext>
            </a:extLst>
          </p:cNvPr>
          <p:cNvSpPr/>
          <p:nvPr/>
        </p:nvSpPr>
        <p:spPr>
          <a:xfrm>
            <a:off x="3501262" y="3517866"/>
            <a:ext cx="1341807" cy="422696"/>
          </a:xfrm>
          <a:prstGeom prst="roundRect">
            <a:avLst/>
          </a:prstGeom>
          <a:solidFill>
            <a:sysClr val="window" lastClr="FFFFFF">
              <a:alpha val="83000"/>
            </a:sysClr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lIns="35981" tIns="0" rIns="35981" bIns="0" rtlCol="0" anchor="ctr"/>
          <a:lstStyle/>
          <a:p>
            <a:pPr algn="ctr" defTabSz="913943"/>
            <a:r>
              <a:rPr lang="nb-NO" sz="800" b="1" u="sng" kern="0">
                <a:solidFill>
                  <a:prstClr val="black"/>
                </a:solidFill>
                <a:latin typeface="EYInterstate Light"/>
              </a:rPr>
              <a:t>Sløvåg</a:t>
            </a:r>
            <a:endParaRPr lang="nb-NO" sz="800" kern="0">
              <a:solidFill>
                <a:prstClr val="black"/>
              </a:solidFill>
              <a:latin typeface="EYInterstate Light"/>
            </a:endParaRPr>
          </a:p>
          <a:p>
            <a:pPr defTabSz="913943"/>
            <a:r>
              <a:rPr lang="nb-NO" sz="800" kern="0">
                <a:solidFill>
                  <a:prstClr val="black"/>
                </a:solidFill>
                <a:latin typeface="EYInterstate Light"/>
              </a:rPr>
              <a:t>Est. arbeidsplasser: 337</a:t>
            </a:r>
            <a:br>
              <a:rPr lang="nb-NO" sz="800" kern="0">
                <a:solidFill>
                  <a:prstClr val="black"/>
                </a:solidFill>
                <a:latin typeface="EYInterstate Light"/>
              </a:rPr>
            </a:br>
            <a:r>
              <a:rPr lang="nb-NO" sz="800" kern="0">
                <a:solidFill>
                  <a:srgbClr val="2E2E38"/>
                </a:solidFill>
                <a:latin typeface="EYInterstate Light"/>
              </a:rPr>
              <a:t>Se uthevet case.</a:t>
            </a:r>
          </a:p>
        </p:txBody>
      </p:sp>
      <p:sp>
        <p:nvSpPr>
          <p:cNvPr id="50" name="Title 30">
            <a:extLst>
              <a:ext uri="{FF2B5EF4-FFF2-40B4-BE49-F238E27FC236}">
                <a16:creationId xmlns:a16="http://schemas.microsoft.com/office/drawing/2014/main" id="{4B475088-EBBE-4312-822E-53A602ABC2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295832"/>
            <a:ext cx="11442772" cy="590093"/>
          </a:xfrm>
        </p:spPr>
        <p:txBody>
          <a:bodyPr vert="horz"/>
          <a:lstStyle/>
          <a:p>
            <a:r>
              <a:rPr lang="nb-NO" sz="2399">
                <a:solidFill>
                  <a:schemeClr val="bg2"/>
                </a:solidFill>
              </a:rPr>
              <a:t>Det er planlagt nyetableringer i hele regionen. Målt i fremtidig verdiskapning og sysselsetting ser vi at hovedvolumet er konsentrert rundt Fensfjorden</a:t>
            </a:r>
            <a:endParaRPr lang="en-US" sz="2399">
              <a:solidFill>
                <a:schemeClr val="bg2"/>
              </a:solidFill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458D4CEC-2208-4937-886F-25659FFC0FAD}"/>
              </a:ext>
            </a:extLst>
          </p:cNvPr>
          <p:cNvSpPr txBox="1"/>
          <p:nvPr/>
        </p:nvSpPr>
        <p:spPr>
          <a:xfrm>
            <a:off x="1186017" y="6504494"/>
            <a:ext cx="7809976" cy="141503"/>
          </a:xfrm>
          <a:prstGeom prst="rect">
            <a:avLst/>
          </a:prstGeom>
          <a:noFill/>
        </p:spPr>
        <p:txBody>
          <a:bodyPr wrap="square" lIns="0" tIns="36557" rIns="0" bIns="0" rtlCol="0">
            <a:spAutoFit/>
          </a:bodyPr>
          <a:lstStyle/>
          <a:p>
            <a:pPr defTabSz="913943">
              <a:lnSpc>
                <a:spcPct val="85000"/>
              </a:lnSpc>
              <a:spcAft>
                <a:spcPts val="600"/>
              </a:spcAft>
              <a:buClr>
                <a:srgbClr val="27ACAA"/>
              </a:buClr>
              <a:buSzPct val="70000"/>
            </a:pPr>
            <a:r>
              <a:rPr lang="nb-NO" sz="800">
                <a:solidFill>
                  <a:srgbClr val="2E2E38"/>
                </a:solidFill>
                <a:latin typeface="EYInterstate Light"/>
              </a:rPr>
              <a:t>En batterifabrikk av medium størrelse vil kunne gi tilnærmet 1 000 direkte nye arbeidsplasser. </a:t>
            </a:r>
          </a:p>
        </p:txBody>
      </p:sp>
    </p:spTree>
    <p:extLst>
      <p:ext uri="{BB962C8B-B14F-4D97-AF65-F5344CB8AC3E}">
        <p14:creationId xmlns:p14="http://schemas.microsoft.com/office/powerpoint/2010/main" val="296926887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9A9E930-CEF4-43E4-9160-4BC35AE3F6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337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5" progId="TCLayout.ActiveDocument.1">
                  <p:embed/>
                </p:oleObj>
              </mc:Choice>
              <mc:Fallback>
                <p:oleObj name="think-cell Slide" r:id="rId7" imgW="592" imgH="59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9A9E930-CEF4-43E4-9160-4BC35AE3F6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7" y="337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37A7AFB-080D-474E-86A7-0D1C81A979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nb-NO">
                <a:solidFill>
                  <a:srgbClr val="2E2E38"/>
                </a:solidFill>
              </a:rPr>
              <a:t>Side </a:t>
            </a:r>
            <a:fld id="{F1BC30E3-FFE5-4B91-AA19-87A149EBB9EE}" type="slidenum">
              <a:rPr lang="nb-NO">
                <a:solidFill>
                  <a:srgbClr val="2E2E38"/>
                </a:solidFill>
              </a:rPr>
              <a:pPr/>
              <a:t>35</a:t>
            </a:fld>
            <a:endParaRPr lang="nb-NO">
              <a:solidFill>
                <a:srgbClr val="2E2E38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4053D6C-F1E5-49E0-9AAC-21DB63188DE3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16898" y="295320"/>
            <a:ext cx="11224067" cy="590243"/>
          </a:xfrm>
        </p:spPr>
        <p:txBody>
          <a:bodyPr vert="horz"/>
          <a:lstStyle/>
          <a:p>
            <a:r>
              <a:rPr lang="nb-NO"/>
              <a:t>Norges mest attraktive industriregion? </a:t>
            </a:r>
            <a:br>
              <a:rPr lang="nb-NO"/>
            </a:br>
            <a:br>
              <a:rPr lang="nb-NO"/>
            </a:br>
            <a:endParaRPr lang="nb-NO" sz="1999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8EFE374C-41DF-4D1D-AA46-F9691EF2CC91}"/>
              </a:ext>
            </a:extLst>
          </p:cNvPr>
          <p:cNvSpPr txBox="1"/>
          <p:nvPr/>
        </p:nvSpPr>
        <p:spPr>
          <a:xfrm>
            <a:off x="2793253" y="1272743"/>
            <a:ext cx="1400568" cy="193798"/>
          </a:xfrm>
          <a:prstGeom prst="rect">
            <a:avLst/>
          </a:prstGeom>
          <a:noFill/>
        </p:spPr>
        <p:txBody>
          <a:bodyPr wrap="square" lIns="0" tIns="36557" rIns="0" bIns="0" rtlCol="0">
            <a:spAutoFit/>
          </a:bodyPr>
          <a:lstStyle/>
          <a:p>
            <a:pPr defTabSz="913943">
              <a:lnSpc>
                <a:spcPct val="85000"/>
              </a:lnSpc>
              <a:spcAft>
                <a:spcPts val="600"/>
              </a:spcAft>
              <a:buClr>
                <a:srgbClr val="27ACAA"/>
              </a:buClr>
              <a:buSzPct val="70000"/>
            </a:pPr>
            <a:r>
              <a:rPr lang="nb-NO" sz="1199">
                <a:solidFill>
                  <a:srgbClr val="000000"/>
                </a:solidFill>
                <a:latin typeface="EYInterstate Light"/>
              </a:rPr>
              <a:t>CAPEX (mrd NOK)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35DFB6E9-0B20-4FEA-99CD-B87FA50DF45A}"/>
              </a:ext>
            </a:extLst>
          </p:cNvPr>
          <p:cNvSpPr txBox="1"/>
          <p:nvPr/>
        </p:nvSpPr>
        <p:spPr>
          <a:xfrm>
            <a:off x="4943820" y="1272743"/>
            <a:ext cx="1911451" cy="193798"/>
          </a:xfrm>
          <a:prstGeom prst="rect">
            <a:avLst/>
          </a:prstGeom>
          <a:noFill/>
        </p:spPr>
        <p:txBody>
          <a:bodyPr wrap="square" lIns="0" tIns="36557" rIns="0" bIns="0" rtlCol="0">
            <a:spAutoFit/>
          </a:bodyPr>
          <a:lstStyle/>
          <a:p>
            <a:pPr defTabSz="913943">
              <a:lnSpc>
                <a:spcPct val="85000"/>
              </a:lnSpc>
              <a:spcAft>
                <a:spcPts val="600"/>
              </a:spcAft>
              <a:buClr>
                <a:srgbClr val="27ACAA"/>
              </a:buClr>
              <a:buSzPct val="70000"/>
            </a:pPr>
            <a:r>
              <a:rPr lang="nb-NO" sz="1199">
                <a:solidFill>
                  <a:srgbClr val="000000"/>
                </a:solidFill>
                <a:latin typeface="EYInterstate Light"/>
              </a:rPr>
              <a:t>Direkte arbeidsplasser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B554F148-AA3D-4C6B-9ACE-5715CC90732F}"/>
              </a:ext>
            </a:extLst>
          </p:cNvPr>
          <p:cNvSpPr txBox="1"/>
          <p:nvPr/>
        </p:nvSpPr>
        <p:spPr>
          <a:xfrm>
            <a:off x="6988684" y="1267099"/>
            <a:ext cx="2331359" cy="350682"/>
          </a:xfrm>
          <a:prstGeom prst="rect">
            <a:avLst/>
          </a:prstGeom>
          <a:noFill/>
        </p:spPr>
        <p:txBody>
          <a:bodyPr wrap="square" lIns="0" tIns="36557" rIns="0" bIns="0" rtlCol="0">
            <a:spAutoFit/>
          </a:bodyPr>
          <a:lstStyle/>
          <a:p>
            <a:pPr algn="ctr" defTabSz="913943">
              <a:lnSpc>
                <a:spcPct val="85000"/>
              </a:lnSpc>
              <a:spcAft>
                <a:spcPts val="600"/>
              </a:spcAft>
              <a:buClr>
                <a:srgbClr val="27ACAA"/>
              </a:buClr>
              <a:buSzPct val="70000"/>
            </a:pPr>
            <a:r>
              <a:rPr lang="nb-NO" sz="1199">
                <a:solidFill>
                  <a:srgbClr val="000000"/>
                </a:solidFill>
                <a:latin typeface="EYInterstate Light"/>
              </a:rPr>
              <a:t>Ringvirkninger</a:t>
            </a:r>
            <a:br>
              <a:rPr lang="nb-NO" sz="1199">
                <a:solidFill>
                  <a:srgbClr val="000000"/>
                </a:solidFill>
                <a:latin typeface="EYInterstate Light"/>
              </a:rPr>
            </a:br>
            <a:r>
              <a:rPr lang="nb-NO" sz="1199">
                <a:solidFill>
                  <a:srgbClr val="000000"/>
                </a:solidFill>
                <a:latin typeface="EYInterstate Light"/>
              </a:rPr>
              <a:t>(inkludert direkte arbeidsplasser)</a:t>
            </a:r>
          </a:p>
        </p:txBody>
      </p:sp>
      <p:graphicFrame>
        <p:nvGraphicFramePr>
          <p:cNvPr id="41" name="Chart 40">
            <a:extLst>
              <a:ext uri="{FF2B5EF4-FFF2-40B4-BE49-F238E27FC236}">
                <a16:creationId xmlns:a16="http://schemas.microsoft.com/office/drawing/2014/main" id="{FBB7E74D-8112-4019-A621-2D0125D70EA3}"/>
              </a:ext>
            </a:extLst>
          </p:cNvPr>
          <p:cNvGraphicFramePr>
            <a:graphicFrameLocks/>
          </p:cNvGraphicFramePr>
          <p:nvPr/>
        </p:nvGraphicFramePr>
        <p:xfrm>
          <a:off x="4038492" y="1613543"/>
          <a:ext cx="3478228" cy="24145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53" name="Chart 52">
            <a:extLst>
              <a:ext uri="{FF2B5EF4-FFF2-40B4-BE49-F238E27FC236}">
                <a16:creationId xmlns:a16="http://schemas.microsoft.com/office/drawing/2014/main" id="{121DC702-CE79-4769-B116-FB7288114279}"/>
              </a:ext>
            </a:extLst>
          </p:cNvPr>
          <p:cNvGraphicFramePr>
            <a:graphicFrameLocks/>
          </p:cNvGraphicFramePr>
          <p:nvPr/>
        </p:nvGraphicFramePr>
        <p:xfrm>
          <a:off x="1292925" y="1651456"/>
          <a:ext cx="3590677" cy="22989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56" name="TextBox 55">
            <a:extLst>
              <a:ext uri="{FF2B5EF4-FFF2-40B4-BE49-F238E27FC236}">
                <a16:creationId xmlns:a16="http://schemas.microsoft.com/office/drawing/2014/main" id="{4A88C148-966C-4071-9BF2-0064ADC17E5A}"/>
              </a:ext>
            </a:extLst>
          </p:cNvPr>
          <p:cNvSpPr txBox="1"/>
          <p:nvPr/>
        </p:nvSpPr>
        <p:spPr>
          <a:xfrm>
            <a:off x="9533899" y="1272743"/>
            <a:ext cx="2082328" cy="193798"/>
          </a:xfrm>
          <a:prstGeom prst="rect">
            <a:avLst/>
          </a:prstGeom>
          <a:noFill/>
        </p:spPr>
        <p:txBody>
          <a:bodyPr wrap="square" lIns="0" tIns="36557" rIns="0" bIns="0" rtlCol="0">
            <a:spAutoFit/>
          </a:bodyPr>
          <a:lstStyle/>
          <a:p>
            <a:pPr algn="ctr" defTabSz="913943">
              <a:lnSpc>
                <a:spcPct val="85000"/>
              </a:lnSpc>
              <a:spcAft>
                <a:spcPts val="600"/>
              </a:spcAft>
              <a:buClr>
                <a:srgbClr val="27ACAA"/>
              </a:buClr>
              <a:buSzPct val="70000"/>
            </a:pPr>
            <a:r>
              <a:rPr lang="nb-NO" sz="1199">
                <a:solidFill>
                  <a:srgbClr val="000000"/>
                </a:solidFill>
                <a:latin typeface="EYInterstate Light"/>
              </a:rPr>
              <a:t>Andel kraftkrevende industri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BA218F1-0C8B-46EE-A427-976F131E37FB}"/>
              </a:ext>
            </a:extLst>
          </p:cNvPr>
          <p:cNvSpPr/>
          <p:nvPr/>
        </p:nvSpPr>
        <p:spPr>
          <a:xfrm>
            <a:off x="665309" y="1907404"/>
            <a:ext cx="68606" cy="95366"/>
          </a:xfrm>
          <a:prstGeom prst="rect">
            <a:avLst/>
          </a:prstGeom>
          <a:solidFill>
            <a:srgbClr val="1D817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3943"/>
            <a:endParaRPr lang="en-US" sz="1199">
              <a:solidFill>
                <a:srgbClr val="FFFFFF"/>
              </a:solidFill>
              <a:latin typeface="EYInterstate Light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AAE574CE-51A8-44D3-8304-1A74A182DD85}"/>
              </a:ext>
            </a:extLst>
          </p:cNvPr>
          <p:cNvSpPr txBox="1"/>
          <p:nvPr/>
        </p:nvSpPr>
        <p:spPr>
          <a:xfrm>
            <a:off x="827454" y="1875858"/>
            <a:ext cx="739461" cy="141503"/>
          </a:xfrm>
          <a:prstGeom prst="rect">
            <a:avLst/>
          </a:prstGeom>
          <a:noFill/>
        </p:spPr>
        <p:txBody>
          <a:bodyPr wrap="square" lIns="0" tIns="36557" rIns="0" bIns="0" rtlCol="0">
            <a:spAutoFit/>
          </a:bodyPr>
          <a:lstStyle/>
          <a:p>
            <a:pPr defTabSz="913943">
              <a:lnSpc>
                <a:spcPct val="85000"/>
              </a:lnSpc>
              <a:spcAft>
                <a:spcPts val="600"/>
              </a:spcAft>
              <a:buClr>
                <a:srgbClr val="27ACAA"/>
              </a:buClr>
              <a:buSzPct val="70000"/>
            </a:pPr>
            <a:r>
              <a:rPr lang="nb-NO" sz="800">
                <a:solidFill>
                  <a:srgbClr val="2E2E38"/>
                </a:solidFill>
                <a:latin typeface="EYInterstate Light"/>
              </a:rPr>
              <a:t>Marin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5A897A46-CCAD-41EA-AC01-2EAFDCAA471E}"/>
              </a:ext>
            </a:extLst>
          </p:cNvPr>
          <p:cNvSpPr/>
          <p:nvPr/>
        </p:nvSpPr>
        <p:spPr>
          <a:xfrm>
            <a:off x="665309" y="2100671"/>
            <a:ext cx="68606" cy="9536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3943"/>
            <a:endParaRPr lang="en-US" sz="1199">
              <a:solidFill>
                <a:srgbClr val="FFFFFF"/>
              </a:solidFill>
              <a:latin typeface="EYInterstate Light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F1F9858D-173A-4BB8-A532-56EC194E1D16}"/>
              </a:ext>
            </a:extLst>
          </p:cNvPr>
          <p:cNvSpPr txBox="1"/>
          <p:nvPr/>
        </p:nvSpPr>
        <p:spPr>
          <a:xfrm>
            <a:off x="827454" y="2069125"/>
            <a:ext cx="739461" cy="141503"/>
          </a:xfrm>
          <a:prstGeom prst="rect">
            <a:avLst/>
          </a:prstGeom>
          <a:noFill/>
        </p:spPr>
        <p:txBody>
          <a:bodyPr wrap="square" lIns="0" tIns="36557" rIns="0" bIns="0" rtlCol="0">
            <a:spAutoFit/>
          </a:bodyPr>
          <a:lstStyle/>
          <a:p>
            <a:pPr defTabSz="913943">
              <a:lnSpc>
                <a:spcPct val="85000"/>
              </a:lnSpc>
              <a:spcAft>
                <a:spcPts val="600"/>
              </a:spcAft>
              <a:buClr>
                <a:srgbClr val="27ACAA"/>
              </a:buClr>
              <a:buSzPct val="70000"/>
            </a:pPr>
            <a:r>
              <a:rPr lang="nb-NO" sz="800">
                <a:solidFill>
                  <a:srgbClr val="2E2E38"/>
                </a:solidFill>
                <a:latin typeface="EYInterstate Light"/>
              </a:rPr>
              <a:t>Fornybar energi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3C5BA9C8-AB72-416A-868C-1F2356382B2D}"/>
              </a:ext>
            </a:extLst>
          </p:cNvPr>
          <p:cNvSpPr/>
          <p:nvPr/>
        </p:nvSpPr>
        <p:spPr>
          <a:xfrm>
            <a:off x="665309" y="1745683"/>
            <a:ext cx="68606" cy="95366"/>
          </a:xfrm>
          <a:prstGeom prst="rect">
            <a:avLst/>
          </a:prstGeom>
          <a:pattFill prst="ltUpDiag">
            <a:fgClr>
              <a:schemeClr val="bg1">
                <a:lumMod val="40000"/>
                <a:lumOff val="60000"/>
              </a:schemeClr>
            </a:fgClr>
            <a:bgClr>
              <a:schemeClr val="tx1"/>
            </a:bgClr>
          </a:patt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3943"/>
            <a:endParaRPr lang="en-US" sz="1199">
              <a:solidFill>
                <a:srgbClr val="FFFFFF"/>
              </a:solidFill>
              <a:latin typeface="EYInterstate Light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7A2D8A19-F959-47B6-81EE-0E0028612883}"/>
              </a:ext>
            </a:extLst>
          </p:cNvPr>
          <p:cNvSpPr txBox="1"/>
          <p:nvPr/>
        </p:nvSpPr>
        <p:spPr>
          <a:xfrm>
            <a:off x="827454" y="1714137"/>
            <a:ext cx="739461" cy="141503"/>
          </a:xfrm>
          <a:prstGeom prst="rect">
            <a:avLst/>
          </a:prstGeom>
          <a:noFill/>
        </p:spPr>
        <p:txBody>
          <a:bodyPr wrap="square" lIns="0" tIns="36557" rIns="0" bIns="0" rtlCol="0">
            <a:spAutoFit/>
          </a:bodyPr>
          <a:lstStyle/>
          <a:p>
            <a:pPr defTabSz="913943">
              <a:lnSpc>
                <a:spcPct val="85000"/>
              </a:lnSpc>
              <a:spcAft>
                <a:spcPts val="600"/>
              </a:spcAft>
              <a:buClr>
                <a:srgbClr val="27ACAA"/>
              </a:buClr>
              <a:buSzPct val="70000"/>
            </a:pPr>
            <a:r>
              <a:rPr lang="nb-NO" sz="800">
                <a:solidFill>
                  <a:srgbClr val="2E2E38"/>
                </a:solidFill>
                <a:latin typeface="EYInterstate Light"/>
              </a:rPr>
              <a:t>Batterifabrikk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45508862-E4A0-4581-A76C-1DE61E7FD05B}"/>
              </a:ext>
            </a:extLst>
          </p:cNvPr>
          <p:cNvSpPr/>
          <p:nvPr/>
        </p:nvSpPr>
        <p:spPr>
          <a:xfrm>
            <a:off x="665309" y="2515441"/>
            <a:ext cx="68606" cy="95366"/>
          </a:xfrm>
          <a:prstGeom prst="rect">
            <a:avLst/>
          </a:prstGeom>
          <a:solidFill>
            <a:schemeClr val="bg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3943"/>
            <a:endParaRPr lang="en-US" sz="1199">
              <a:solidFill>
                <a:srgbClr val="FFFFFF"/>
              </a:solidFill>
              <a:latin typeface="EYInterstate Light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DC0E769A-894E-4CC2-99F5-6EE2A6311B09}"/>
              </a:ext>
            </a:extLst>
          </p:cNvPr>
          <p:cNvSpPr txBox="1"/>
          <p:nvPr/>
        </p:nvSpPr>
        <p:spPr>
          <a:xfrm>
            <a:off x="827454" y="2483895"/>
            <a:ext cx="739461" cy="141503"/>
          </a:xfrm>
          <a:prstGeom prst="rect">
            <a:avLst/>
          </a:prstGeom>
          <a:noFill/>
        </p:spPr>
        <p:txBody>
          <a:bodyPr wrap="square" lIns="0" tIns="36557" rIns="0" bIns="0" rtlCol="0">
            <a:spAutoFit/>
          </a:bodyPr>
          <a:lstStyle/>
          <a:p>
            <a:pPr defTabSz="913943">
              <a:lnSpc>
                <a:spcPct val="85000"/>
              </a:lnSpc>
              <a:spcAft>
                <a:spcPts val="600"/>
              </a:spcAft>
              <a:buClr>
                <a:srgbClr val="27ACAA"/>
              </a:buClr>
              <a:buSzPct val="70000"/>
            </a:pPr>
            <a:r>
              <a:rPr lang="nb-NO" sz="800">
                <a:solidFill>
                  <a:srgbClr val="2E2E38"/>
                </a:solidFill>
                <a:latin typeface="EYInterstate Light"/>
              </a:rPr>
              <a:t>Industri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961EF1BE-3F03-487C-BA5C-F5C0C4E52958}"/>
              </a:ext>
            </a:extLst>
          </p:cNvPr>
          <p:cNvSpPr/>
          <p:nvPr/>
        </p:nvSpPr>
        <p:spPr>
          <a:xfrm>
            <a:off x="665309" y="2308056"/>
            <a:ext cx="68606" cy="95366"/>
          </a:xfrm>
          <a:prstGeom prst="rect">
            <a:avLst/>
          </a:prstGeom>
          <a:solidFill>
            <a:schemeClr val="accent3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3943"/>
            <a:endParaRPr lang="en-US" sz="1199">
              <a:solidFill>
                <a:srgbClr val="FFFFFF"/>
              </a:solidFill>
              <a:latin typeface="EYInterstate Light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72BEDD02-6910-4A87-8A5E-BDD46EBEEA16}"/>
              </a:ext>
            </a:extLst>
          </p:cNvPr>
          <p:cNvSpPr txBox="1"/>
          <p:nvPr/>
        </p:nvSpPr>
        <p:spPr>
          <a:xfrm>
            <a:off x="827454" y="2276510"/>
            <a:ext cx="739461" cy="141503"/>
          </a:xfrm>
          <a:prstGeom prst="rect">
            <a:avLst/>
          </a:prstGeom>
          <a:noFill/>
        </p:spPr>
        <p:txBody>
          <a:bodyPr wrap="square" lIns="0" tIns="36557" rIns="0" bIns="0" rtlCol="0">
            <a:spAutoFit/>
          </a:bodyPr>
          <a:lstStyle/>
          <a:p>
            <a:pPr defTabSz="913943">
              <a:lnSpc>
                <a:spcPct val="85000"/>
              </a:lnSpc>
              <a:spcAft>
                <a:spcPts val="600"/>
              </a:spcAft>
              <a:buClr>
                <a:srgbClr val="27ACAA"/>
              </a:buClr>
              <a:buSzPct val="70000"/>
            </a:pPr>
            <a:r>
              <a:rPr lang="nb-NO" sz="800">
                <a:solidFill>
                  <a:srgbClr val="2E2E38"/>
                </a:solidFill>
                <a:latin typeface="EYInterstate Light"/>
              </a:rPr>
              <a:t>Tjenesteyting</a:t>
            </a:r>
          </a:p>
        </p:txBody>
      </p:sp>
      <p:graphicFrame>
        <p:nvGraphicFramePr>
          <p:cNvPr id="76" name="Chart 75">
            <a:extLst>
              <a:ext uri="{FF2B5EF4-FFF2-40B4-BE49-F238E27FC236}">
                <a16:creationId xmlns:a16="http://schemas.microsoft.com/office/drawing/2014/main" id="{1341F512-B64F-4DAA-99D1-4A2CDB60674B}"/>
              </a:ext>
            </a:extLst>
          </p:cNvPr>
          <p:cNvGraphicFramePr>
            <a:graphicFrameLocks/>
          </p:cNvGraphicFramePr>
          <p:nvPr/>
        </p:nvGraphicFramePr>
        <p:xfrm>
          <a:off x="6729632" y="1654390"/>
          <a:ext cx="3214663" cy="25773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77" name="Rectangle 76">
            <a:extLst>
              <a:ext uri="{FF2B5EF4-FFF2-40B4-BE49-F238E27FC236}">
                <a16:creationId xmlns:a16="http://schemas.microsoft.com/office/drawing/2014/main" id="{4441EE2C-F123-4165-AE12-7B7CCE93DF82}"/>
              </a:ext>
            </a:extLst>
          </p:cNvPr>
          <p:cNvSpPr/>
          <p:nvPr/>
        </p:nvSpPr>
        <p:spPr>
          <a:xfrm>
            <a:off x="663990" y="2710727"/>
            <a:ext cx="68606" cy="9536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3943"/>
            <a:endParaRPr lang="en-US" sz="1199">
              <a:solidFill>
                <a:srgbClr val="FFFFFF"/>
              </a:solidFill>
              <a:latin typeface="EYInterstate Light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5302D7EE-B584-48A9-B943-52A71A35F27A}"/>
              </a:ext>
            </a:extLst>
          </p:cNvPr>
          <p:cNvSpPr txBox="1"/>
          <p:nvPr/>
        </p:nvSpPr>
        <p:spPr>
          <a:xfrm>
            <a:off x="827454" y="2657144"/>
            <a:ext cx="1309158" cy="246093"/>
          </a:xfrm>
          <a:prstGeom prst="rect">
            <a:avLst/>
          </a:prstGeom>
          <a:noFill/>
        </p:spPr>
        <p:txBody>
          <a:bodyPr wrap="square" lIns="0" tIns="36557" rIns="0" bIns="0" rtlCol="0">
            <a:spAutoFit/>
          </a:bodyPr>
          <a:lstStyle/>
          <a:p>
            <a:pPr defTabSz="913943">
              <a:lnSpc>
                <a:spcPct val="85000"/>
              </a:lnSpc>
              <a:spcAft>
                <a:spcPts val="600"/>
              </a:spcAft>
              <a:buClr>
                <a:srgbClr val="27ACAA"/>
              </a:buClr>
              <a:buSzPct val="70000"/>
            </a:pPr>
            <a:r>
              <a:rPr lang="nb-NO" sz="800">
                <a:solidFill>
                  <a:srgbClr val="2E2E38"/>
                </a:solidFill>
                <a:latin typeface="EYInterstate Light"/>
              </a:rPr>
              <a:t>Andre næringer (bygg og anlegg, reiseliv, m.m.)</a:t>
            </a:r>
          </a:p>
        </p:txBody>
      </p:sp>
      <p:graphicFrame>
        <p:nvGraphicFramePr>
          <p:cNvPr id="80" name="Chart 79">
            <a:extLst>
              <a:ext uri="{FF2B5EF4-FFF2-40B4-BE49-F238E27FC236}">
                <a16:creationId xmlns:a16="http://schemas.microsoft.com/office/drawing/2014/main" id="{E0FE1BEA-2836-4F9D-A8AF-3296BEC96BA7}"/>
              </a:ext>
            </a:extLst>
          </p:cNvPr>
          <p:cNvGraphicFramePr>
            <a:graphicFrameLocks/>
          </p:cNvGraphicFramePr>
          <p:nvPr/>
        </p:nvGraphicFramePr>
        <p:xfrm>
          <a:off x="8711037" y="1615834"/>
          <a:ext cx="3403869" cy="24145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58" name="TextBox 57">
            <a:extLst>
              <a:ext uri="{FF2B5EF4-FFF2-40B4-BE49-F238E27FC236}">
                <a16:creationId xmlns:a16="http://schemas.microsoft.com/office/drawing/2014/main" id="{D25ADFB4-6F2D-4066-B7AB-1E38C140EDB1}"/>
              </a:ext>
            </a:extLst>
          </p:cNvPr>
          <p:cNvSpPr txBox="1"/>
          <p:nvPr/>
        </p:nvSpPr>
        <p:spPr>
          <a:xfrm>
            <a:off x="10033986" y="3657442"/>
            <a:ext cx="1147740" cy="272240"/>
          </a:xfrm>
          <a:prstGeom prst="rect">
            <a:avLst/>
          </a:prstGeom>
          <a:noFill/>
        </p:spPr>
        <p:txBody>
          <a:bodyPr wrap="square" lIns="0" tIns="36557" rIns="0" bIns="0" rtlCol="0">
            <a:spAutoFit/>
          </a:bodyPr>
          <a:lstStyle/>
          <a:p>
            <a:pPr algn="ctr" defTabSz="913943">
              <a:lnSpc>
                <a:spcPct val="85000"/>
              </a:lnSpc>
              <a:spcAft>
                <a:spcPts val="600"/>
              </a:spcAft>
              <a:buClr>
                <a:srgbClr val="27ACAA"/>
              </a:buClr>
              <a:buSzPct val="70000"/>
            </a:pPr>
            <a:r>
              <a:rPr lang="nb-NO" sz="900">
                <a:solidFill>
                  <a:srgbClr val="2E2E38"/>
                </a:solidFill>
                <a:latin typeface="EYInterstate Light"/>
              </a:rPr>
              <a:t>70 %</a:t>
            </a:r>
            <a:br>
              <a:rPr lang="nb-NO" sz="900">
                <a:solidFill>
                  <a:srgbClr val="2E2E38"/>
                </a:solidFill>
                <a:latin typeface="EYInterstate Light"/>
              </a:rPr>
            </a:br>
            <a:endParaRPr lang="nb-NO" sz="900">
              <a:solidFill>
                <a:srgbClr val="2E2E38"/>
              </a:solidFill>
              <a:latin typeface="EYInterstate Light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78D93D7C-4BB2-4BF4-8DCC-C62A95481D1F}"/>
              </a:ext>
            </a:extLst>
          </p:cNvPr>
          <p:cNvSpPr txBox="1"/>
          <p:nvPr/>
        </p:nvSpPr>
        <p:spPr>
          <a:xfrm>
            <a:off x="9519224" y="2128177"/>
            <a:ext cx="1025423" cy="272240"/>
          </a:xfrm>
          <a:prstGeom prst="rect">
            <a:avLst/>
          </a:prstGeom>
          <a:noFill/>
        </p:spPr>
        <p:txBody>
          <a:bodyPr wrap="square" lIns="0" tIns="36557" rIns="0" bIns="0" rtlCol="0" anchor="b">
            <a:spAutoFit/>
          </a:bodyPr>
          <a:lstStyle/>
          <a:p>
            <a:pPr algn="ctr" defTabSz="913943">
              <a:lnSpc>
                <a:spcPct val="85000"/>
              </a:lnSpc>
              <a:spcAft>
                <a:spcPts val="600"/>
              </a:spcAft>
              <a:buClr>
                <a:srgbClr val="27ACAA"/>
              </a:buClr>
              <a:buSzPct val="70000"/>
            </a:pPr>
            <a:r>
              <a:rPr lang="nb-NO" sz="900">
                <a:solidFill>
                  <a:srgbClr val="2E2E38"/>
                </a:solidFill>
                <a:latin typeface="EYInterstate Light"/>
              </a:rPr>
              <a:t>30 %</a:t>
            </a:r>
            <a:br>
              <a:rPr lang="nb-NO" sz="900">
                <a:solidFill>
                  <a:srgbClr val="2E2E38"/>
                </a:solidFill>
                <a:latin typeface="EYInterstate Light"/>
              </a:rPr>
            </a:br>
            <a:endParaRPr lang="nb-NO" sz="900">
              <a:solidFill>
                <a:srgbClr val="2E2E38"/>
              </a:solidFill>
              <a:latin typeface="EYInterstate Light"/>
            </a:endParaRPr>
          </a:p>
        </p:txBody>
      </p:sp>
      <p:graphicFrame>
        <p:nvGraphicFramePr>
          <p:cNvPr id="81" name="Table 80">
            <a:extLst>
              <a:ext uri="{FF2B5EF4-FFF2-40B4-BE49-F238E27FC236}">
                <a16:creationId xmlns:a16="http://schemas.microsoft.com/office/drawing/2014/main" id="{92869ADD-2945-46A6-9D32-7A343FF7294B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2288801" y="4231772"/>
          <a:ext cx="2111580" cy="1374391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1115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317"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100000"/>
                        <a:buNone/>
                      </a:pPr>
                      <a:r>
                        <a:rPr lang="nb-NO" sz="1200" b="1" i="0" u="none" baseline="0" noProof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CAPEX</a:t>
                      </a:r>
                    </a:p>
                  </a:txBody>
                  <a:tcPr marL="179531" marR="91201" marT="50162" marB="50162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50074"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SzPct val="100000"/>
                        <a:buNone/>
                      </a:pPr>
                      <a:r>
                        <a:rPr lang="nb-NO" sz="1800" b="1" i="0" u="none" baseline="0" noProof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~ 24,7 mrd NOK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800" b="0" i="0" u="none" baseline="0" noProof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Aggregert investeringskostnader for de identifiserte forretningsmulighetene i region Nordhordland.</a:t>
                      </a:r>
                      <a:endParaRPr lang="nb-NO" sz="800" noProof="0">
                        <a:solidFill>
                          <a:schemeClr val="bg1"/>
                        </a:solidFill>
                      </a:endParaRPr>
                    </a:p>
                  </a:txBody>
                  <a:tcPr marL="71889" marR="0" marT="200644" marB="50162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82" name="Table 81">
            <a:extLst>
              <a:ext uri="{FF2B5EF4-FFF2-40B4-BE49-F238E27FC236}">
                <a16:creationId xmlns:a16="http://schemas.microsoft.com/office/drawing/2014/main" id="{36D706E2-6CDF-4101-9FAB-818E3D6D728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4721816" y="4220360"/>
          <a:ext cx="2111580" cy="1375223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1115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317"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100000"/>
                        <a:buNone/>
                      </a:pPr>
                      <a:r>
                        <a:rPr lang="nb-NO" sz="1200" b="1" i="0" u="none" baseline="0" noProof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Direkte arbeidsplasser</a:t>
                      </a:r>
                    </a:p>
                  </a:txBody>
                  <a:tcPr marL="179531" marR="91201" marT="50162" marB="50162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50490"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SzPct val="100000"/>
                        <a:buNone/>
                      </a:pPr>
                      <a:r>
                        <a:rPr lang="nb-NO" sz="1800" b="1" i="0" u="none" baseline="0" noProof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~ 1 797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800" b="0" i="0" u="none" baseline="0" noProof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Totalt er det identifisert 1 797 direkte arbeidsplasser fra de identifiserte forretningsmulighetene. 1 000 av disse er som følge av batterifabrikken. </a:t>
                      </a:r>
                      <a:endParaRPr lang="nb-NO" sz="800" noProof="0">
                        <a:solidFill>
                          <a:schemeClr val="bg1"/>
                        </a:solidFill>
                      </a:endParaRPr>
                    </a:p>
                  </a:txBody>
                  <a:tcPr marL="71889" marR="0" marT="200644" marB="50162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83" name="Table 82">
            <a:extLst>
              <a:ext uri="{FF2B5EF4-FFF2-40B4-BE49-F238E27FC236}">
                <a16:creationId xmlns:a16="http://schemas.microsoft.com/office/drawing/2014/main" id="{841C11EA-8564-4F21-9C89-FC094F6DDE6A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7154831" y="4220776"/>
          <a:ext cx="2111580" cy="1497143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1115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317"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100000"/>
                        <a:buNone/>
                      </a:pPr>
                      <a:r>
                        <a:rPr lang="nb-NO" sz="1200" b="1" i="0" u="none" baseline="0" noProof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Ringvirkninger</a:t>
                      </a:r>
                    </a:p>
                  </a:txBody>
                  <a:tcPr marL="179531" marR="91201" marT="50162" marB="50162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72346"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SzPct val="100000"/>
                        <a:buNone/>
                      </a:pPr>
                      <a:r>
                        <a:rPr lang="nb-NO" sz="1800" b="1" i="0" u="none" baseline="0" noProof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~ 4 312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800" b="0" i="0" u="none" baseline="0" noProof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Totalt anslås det at de identifiserte mulighetene kan generere 4 312 nye arbeidsplasser (direkte og indirekte) i regionen innen utgangen av 2025. Ringvirkningsfaktor på 2,4 %. </a:t>
                      </a:r>
                      <a:endParaRPr lang="nb-NO" sz="800" noProof="0">
                        <a:solidFill>
                          <a:schemeClr val="bg1"/>
                        </a:solidFill>
                      </a:endParaRPr>
                    </a:p>
                  </a:txBody>
                  <a:tcPr marL="71889" marR="0" marT="200644" marB="50162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84" name="Table 83">
            <a:extLst>
              <a:ext uri="{FF2B5EF4-FFF2-40B4-BE49-F238E27FC236}">
                <a16:creationId xmlns:a16="http://schemas.microsoft.com/office/drawing/2014/main" id="{1CFB1C3C-FC8B-4D50-AC6D-7B25AAEA45B6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9488856" y="4231772"/>
          <a:ext cx="2111580" cy="1374391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1115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317"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100000"/>
                        <a:buNone/>
                      </a:pPr>
                      <a:r>
                        <a:rPr lang="nb-NO" sz="1200" b="1" i="0" u="none" baseline="0" noProof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Kraftkrevende industri</a:t>
                      </a:r>
                    </a:p>
                  </a:txBody>
                  <a:tcPr marL="179531" marR="91201" marT="50162" marB="50162">
                    <a:lnL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solidFill>
                        <a:schemeClr val="lt1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50074"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SzPct val="100000"/>
                        <a:buNone/>
                      </a:pPr>
                      <a:r>
                        <a:rPr lang="nb-NO" sz="1800" b="1" i="0" u="none" baseline="0" noProof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~ 70 %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800" b="0" i="0" u="none" baseline="0" noProof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~ </a:t>
                      </a:r>
                      <a:r>
                        <a:rPr lang="nb-NO" sz="800" b="0" i="0" u="none" baseline="0" noProof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70 % av mulighetene som er identifisert er knyttet til kraftkrevende industri.  </a:t>
                      </a:r>
                      <a:endParaRPr lang="nb-NO" sz="800" noProof="0">
                        <a:solidFill>
                          <a:schemeClr val="bg1"/>
                        </a:solidFill>
                      </a:endParaRPr>
                    </a:p>
                  </a:txBody>
                  <a:tcPr marL="71889" marR="0" marT="200644" marB="50162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9701677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73666" y="849591"/>
            <a:ext cx="10644670" cy="384521"/>
          </a:xfrm>
        </p:spPr>
        <p:txBody>
          <a:bodyPr/>
          <a:lstStyle/>
          <a:p>
            <a:r>
              <a:rPr lang="nb-NO"/>
              <a:t>Visjonen om </a:t>
            </a:r>
            <a:r>
              <a:rPr lang="nb-NO" err="1"/>
              <a:t>ein</a:t>
            </a:r>
            <a:r>
              <a:rPr lang="nb-NO"/>
              <a:t> attraktiv og grøn småby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773667" y="1658272"/>
            <a:ext cx="5694013" cy="4296712"/>
          </a:xfrm>
        </p:spPr>
        <p:txBody>
          <a:bodyPr>
            <a:normAutofit/>
          </a:bodyPr>
          <a:lstStyle/>
          <a:p>
            <a:pPr>
              <a:spcBef>
                <a:spcPts val="600"/>
              </a:spcBef>
            </a:pPr>
            <a:r>
              <a:rPr lang="nn-NO" sz="1399"/>
              <a:t>Vedtatt 18. juni 2015</a:t>
            </a:r>
          </a:p>
          <a:p>
            <a:pPr>
              <a:spcBef>
                <a:spcPts val="600"/>
              </a:spcBef>
            </a:pPr>
            <a:r>
              <a:rPr lang="nn-NO" sz="1399"/>
              <a:t>Ein levande småby – der folk bur, arbeider og opplever noko</a:t>
            </a:r>
          </a:p>
          <a:p>
            <a:pPr>
              <a:spcBef>
                <a:spcPts val="600"/>
              </a:spcBef>
            </a:pPr>
            <a:r>
              <a:rPr lang="nn-NO" sz="1399"/>
              <a:t>Knarvik skal utviklast med </a:t>
            </a:r>
            <a:r>
              <a:rPr lang="nn-NO" sz="1399" err="1"/>
              <a:t>bymessige</a:t>
            </a:r>
            <a:r>
              <a:rPr lang="nn-NO" sz="1399"/>
              <a:t> strukturar og kvalitetar.</a:t>
            </a:r>
          </a:p>
          <a:p>
            <a:pPr>
              <a:spcBef>
                <a:spcPts val="600"/>
              </a:spcBef>
            </a:pPr>
            <a:r>
              <a:rPr lang="nn-NO" sz="1399"/>
              <a:t>Ein attraktiv småby der dei gåande har ei klar prioritering</a:t>
            </a:r>
          </a:p>
          <a:p>
            <a:pPr>
              <a:spcBef>
                <a:spcPts val="600"/>
              </a:spcBef>
            </a:pPr>
            <a:r>
              <a:rPr lang="nn-NO" sz="1399"/>
              <a:t>Knarvik skal ha:</a:t>
            </a:r>
          </a:p>
          <a:p>
            <a:pPr lvl="1">
              <a:spcBef>
                <a:spcPts val="600"/>
              </a:spcBef>
            </a:pPr>
            <a:r>
              <a:rPr lang="nn-NO" sz="1399"/>
              <a:t>god tilrettelegging for handel og service, </a:t>
            </a:r>
          </a:p>
          <a:p>
            <a:pPr lvl="1">
              <a:spcBef>
                <a:spcPts val="600"/>
              </a:spcBef>
            </a:pPr>
            <a:r>
              <a:rPr lang="nn-NO" sz="1399"/>
              <a:t>god kollektivdekning, </a:t>
            </a:r>
          </a:p>
          <a:p>
            <a:pPr lvl="1">
              <a:spcBef>
                <a:spcPts val="600"/>
              </a:spcBef>
            </a:pPr>
            <a:r>
              <a:rPr lang="nn-NO" sz="1399"/>
              <a:t>effektive parkeringsløysingar</a:t>
            </a:r>
          </a:p>
          <a:p>
            <a:pPr lvl="1">
              <a:spcBef>
                <a:spcPts val="600"/>
              </a:spcBef>
            </a:pPr>
            <a:r>
              <a:rPr lang="nn-NO" sz="1399"/>
              <a:t>gode </a:t>
            </a:r>
            <a:r>
              <a:rPr lang="nn-NO" sz="1399" err="1"/>
              <a:t>byrom</a:t>
            </a:r>
            <a:r>
              <a:rPr lang="nn-NO" sz="1399"/>
              <a:t> for aktivitet og sosialt samvære</a:t>
            </a:r>
          </a:p>
          <a:p>
            <a:pPr>
              <a:spcBef>
                <a:spcPts val="600"/>
              </a:spcBef>
            </a:pPr>
            <a:r>
              <a:rPr lang="nn-NO" sz="1399"/>
              <a:t>Kople saman sentrum med allmenning og gangakse</a:t>
            </a:r>
          </a:p>
          <a:p>
            <a:pPr>
              <a:spcBef>
                <a:spcPts val="600"/>
              </a:spcBef>
            </a:pPr>
            <a:r>
              <a:rPr lang="nn-NO" sz="1399"/>
              <a:t>Parkering skal vere under bakken</a:t>
            </a:r>
          </a:p>
          <a:p>
            <a:pPr>
              <a:spcBef>
                <a:spcPts val="600"/>
              </a:spcBef>
            </a:pPr>
            <a:r>
              <a:rPr lang="nn-NO" sz="1399"/>
              <a:t>Eit grønt sentrum – </a:t>
            </a:r>
            <a:r>
              <a:rPr lang="nn-NO" sz="1399" err="1"/>
              <a:t>Kvassnesstemma</a:t>
            </a:r>
            <a:r>
              <a:rPr lang="nn-NO" sz="1399"/>
              <a:t> er ein viktig kvalitet i Knarvik</a:t>
            </a:r>
          </a:p>
          <a:p>
            <a:pPr>
              <a:spcBef>
                <a:spcPts val="600"/>
              </a:spcBef>
            </a:pPr>
            <a:r>
              <a:rPr lang="nb-NO" sz="1399">
                <a:hlinkClick r:id="rId3"/>
              </a:rPr>
              <a:t>https://www.alver.kommune.no/innhald/plan-bygg-og-eiendom/planar-omrade-tema/</a:t>
            </a:r>
            <a:endParaRPr lang="nn-NO" sz="1399"/>
          </a:p>
          <a:p>
            <a:pPr>
              <a:spcBef>
                <a:spcPts val="600"/>
              </a:spcBef>
            </a:pPr>
            <a:endParaRPr lang="nn-NO" sz="1399"/>
          </a:p>
          <a:p>
            <a:pPr>
              <a:spcBef>
                <a:spcPts val="600"/>
              </a:spcBef>
            </a:pPr>
            <a:endParaRPr lang="nb-NO" sz="1399"/>
          </a:p>
        </p:txBody>
      </p:sp>
      <p:pic>
        <p:nvPicPr>
          <p:cNvPr id="6" name="Picture 4" descr="Bilderesultat for Knarvik sentrum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5251" y="1734674"/>
            <a:ext cx="5832509" cy="3281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kstSylinder 8">
            <a:extLst>
              <a:ext uri="{FF2B5EF4-FFF2-40B4-BE49-F238E27FC236}">
                <a16:creationId xmlns:a16="http://schemas.microsoft.com/office/drawing/2014/main" id="{C39560F4-623A-4345-B577-030EB1CB1F16}"/>
              </a:ext>
            </a:extLst>
          </p:cNvPr>
          <p:cNvSpPr txBox="1"/>
          <p:nvPr/>
        </p:nvSpPr>
        <p:spPr>
          <a:xfrm>
            <a:off x="671163" y="331658"/>
            <a:ext cx="6094730" cy="5844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3943"/>
            <a:r>
              <a:rPr lang="nb-NO" sz="3198">
                <a:solidFill>
                  <a:prstClr val="black"/>
                </a:solidFill>
                <a:latin typeface="Century Gothic"/>
              </a:rPr>
              <a:t>Områdeplan Knarvik sentrum</a:t>
            </a:r>
          </a:p>
        </p:txBody>
      </p:sp>
    </p:spTree>
    <p:extLst>
      <p:ext uri="{BB962C8B-B14F-4D97-AF65-F5344CB8AC3E}">
        <p14:creationId xmlns:p14="http://schemas.microsoft.com/office/powerpoint/2010/main" val="39561401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10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10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10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10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4" dur="1000" fill="hold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1000" fill="hold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11648" y="696749"/>
            <a:ext cx="10509442" cy="384521"/>
          </a:xfrm>
        </p:spPr>
        <p:txBody>
          <a:bodyPr/>
          <a:lstStyle/>
          <a:p>
            <a:r>
              <a:rPr lang="nb-NO"/>
              <a:t>Visjonen for Knarvik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03288" y="1572592"/>
            <a:ext cx="5126628" cy="3703296"/>
          </a:xfrm>
        </p:spPr>
        <p:txBody>
          <a:bodyPr>
            <a:normAutofit/>
          </a:bodyPr>
          <a:lstStyle/>
          <a:p>
            <a:pPr>
              <a:spcBef>
                <a:spcPts val="600"/>
              </a:spcBef>
            </a:pPr>
            <a:r>
              <a:rPr lang="nn-NO" sz="1799" dirty="0"/>
              <a:t>Utvikle </a:t>
            </a:r>
            <a:r>
              <a:rPr lang="nn-NO" sz="1799" dirty="0" err="1"/>
              <a:t>Kvassnesvegen</a:t>
            </a:r>
            <a:r>
              <a:rPr lang="nn-NO" sz="1799" dirty="0"/>
              <a:t> som bygate</a:t>
            </a:r>
          </a:p>
          <a:p>
            <a:pPr>
              <a:spcBef>
                <a:spcPts val="600"/>
              </a:spcBef>
            </a:pPr>
            <a:r>
              <a:rPr lang="nn-NO" sz="1799" dirty="0"/>
              <a:t>Fleire bustader i sentrum (2000)</a:t>
            </a:r>
          </a:p>
          <a:p>
            <a:pPr>
              <a:spcBef>
                <a:spcPts val="600"/>
              </a:spcBef>
            </a:pPr>
            <a:r>
              <a:rPr lang="nn-NO" sz="1799" dirty="0"/>
              <a:t>E39 skal bort frå sentrum</a:t>
            </a:r>
          </a:p>
          <a:p>
            <a:pPr>
              <a:spcBef>
                <a:spcPts val="600"/>
              </a:spcBef>
            </a:pPr>
            <a:r>
              <a:rPr lang="nn-NO" sz="1799" dirty="0"/>
              <a:t>Vi skal transformere området – ein plan for mange tiår framover.</a:t>
            </a:r>
          </a:p>
          <a:p>
            <a:pPr>
              <a:spcBef>
                <a:spcPts val="600"/>
              </a:spcBef>
            </a:pPr>
            <a:r>
              <a:rPr lang="nn-NO" sz="1799" dirty="0"/>
              <a:t>Planområde: 390 da</a:t>
            </a:r>
          </a:p>
          <a:p>
            <a:pPr>
              <a:spcBef>
                <a:spcPts val="600"/>
              </a:spcBef>
            </a:pPr>
            <a:r>
              <a:rPr lang="nb-NO" sz="1799" dirty="0"/>
              <a:t>Næring/handel 	128.220 m2 </a:t>
            </a:r>
          </a:p>
          <a:p>
            <a:pPr>
              <a:spcBef>
                <a:spcPts val="600"/>
              </a:spcBef>
            </a:pPr>
            <a:r>
              <a:rPr lang="nb-NO" sz="1799" dirty="0"/>
              <a:t>Kontor 		  17.833 m2 </a:t>
            </a:r>
          </a:p>
          <a:p>
            <a:pPr>
              <a:spcBef>
                <a:spcPts val="600"/>
              </a:spcBef>
            </a:pPr>
            <a:r>
              <a:rPr lang="nb-NO" sz="1799" dirty="0"/>
              <a:t>Bustad 		150.657 m2 </a:t>
            </a:r>
          </a:p>
          <a:p>
            <a:pPr>
              <a:spcBef>
                <a:spcPts val="600"/>
              </a:spcBef>
            </a:pPr>
            <a:r>
              <a:rPr lang="nb-NO" sz="1799" dirty="0" err="1"/>
              <a:t>Tenesteyting</a:t>
            </a:r>
            <a:r>
              <a:rPr lang="nb-NO" sz="1799" dirty="0"/>
              <a:t> 		  85.360 m2 </a:t>
            </a:r>
          </a:p>
          <a:p>
            <a:pPr>
              <a:spcBef>
                <a:spcPts val="600"/>
              </a:spcBef>
            </a:pPr>
            <a:r>
              <a:rPr lang="nb-NO" sz="1799" dirty="0"/>
              <a:t>Kultur/hotell 		    7.000 m2</a:t>
            </a:r>
          </a:p>
        </p:txBody>
      </p:sp>
      <p:pic>
        <p:nvPicPr>
          <p:cNvPr id="5" name="Picture 2" descr="Asplan Viak har laga ein 3D-modell, slik at folk kan gå inn og sjå korleis planen vil endre Knarvik.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9916" y="784333"/>
            <a:ext cx="6092827" cy="4120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A0DCA6C2-84B0-46C7-AF6B-1925939A7169}"/>
              </a:ext>
            </a:extLst>
          </p:cNvPr>
          <p:cNvSpPr txBox="1"/>
          <p:nvPr/>
        </p:nvSpPr>
        <p:spPr>
          <a:xfrm>
            <a:off x="376994" y="228614"/>
            <a:ext cx="6221024" cy="5229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3943"/>
            <a:r>
              <a:rPr lang="nb-NO" sz="2799">
                <a:solidFill>
                  <a:prstClr val="black"/>
                </a:solidFill>
                <a:latin typeface="Century Gothic"/>
              </a:rPr>
              <a:t>Områdeplan Knarvik sentrum</a:t>
            </a:r>
          </a:p>
        </p:txBody>
      </p:sp>
    </p:spTree>
    <p:extLst>
      <p:ext uri="{BB962C8B-B14F-4D97-AF65-F5344CB8AC3E}">
        <p14:creationId xmlns:p14="http://schemas.microsoft.com/office/powerpoint/2010/main" val="9479099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tel 7">
            <a:extLst>
              <a:ext uri="{FF2B5EF4-FFF2-40B4-BE49-F238E27FC236}">
                <a16:creationId xmlns:a16="http://schemas.microsoft.com/office/drawing/2014/main" id="{271FB7F7-0308-4F31-8649-A0AD7B25ACD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09601" y="276280"/>
            <a:ext cx="10972800" cy="1142405"/>
          </a:xfrm>
        </p:spPr>
        <p:txBody>
          <a:bodyPr vert="horz" lIns="91392" tIns="45696" rIns="91392" bIns="45696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nb-NO" kern="1200"/>
              <a:t>Befolkningsutvikling Nordhordland</a:t>
            </a:r>
          </a:p>
        </p:txBody>
      </p:sp>
      <p:pic>
        <p:nvPicPr>
          <p:cNvPr id="1026" name="Bilde 6">
            <a:extLst>
              <a:ext uri="{FF2B5EF4-FFF2-40B4-BE49-F238E27FC236}">
                <a16:creationId xmlns:a16="http://schemas.microsoft.com/office/drawing/2014/main" id="{0DD3D3A3-F548-423A-83CD-5D33281D5A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9557" y="1519276"/>
            <a:ext cx="9504809" cy="44798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C1DAFD8F-8659-47E6-8C6F-F7A5A30212CF}"/>
              </a:ext>
            </a:extLst>
          </p:cNvPr>
          <p:cNvSpPr txBox="1"/>
          <p:nvPr/>
        </p:nvSpPr>
        <p:spPr>
          <a:xfrm>
            <a:off x="3048635" y="6199371"/>
            <a:ext cx="6094730" cy="3691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3943"/>
            <a:r>
              <a:rPr lang="nb-NO" sz="1799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Alver, Austrheim, Fedje, Modalen, Masfjorden og Gulen</a:t>
            </a:r>
          </a:p>
        </p:txBody>
      </p:sp>
    </p:spTree>
    <p:extLst>
      <p:ext uri="{BB962C8B-B14F-4D97-AF65-F5344CB8AC3E}">
        <p14:creationId xmlns:p14="http://schemas.microsoft.com/office/powerpoint/2010/main" val="76381207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DAA9FC6-046D-4159-8129-CDB5D119E5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4761" y="337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DAA9FC6-046D-4159-8129-CDB5D119E5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4761" y="337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B900F317-2412-486E-B392-B9E056BB4089}"/>
              </a:ext>
            </a:extLst>
          </p:cNvPr>
          <p:cNvSpPr/>
          <p:nvPr/>
        </p:nvSpPr>
        <p:spPr>
          <a:xfrm>
            <a:off x="6338243" y="4960"/>
            <a:ext cx="5853759" cy="6848081"/>
          </a:xfrm>
          <a:prstGeom prst="rect">
            <a:avLst/>
          </a:prstGeom>
          <a:blipFill dpi="0" rotWithShape="1">
            <a:blip r:embed="rId7">
              <a:alphaModFix amt="83000"/>
            </a:blip>
            <a:srcRect/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3943">
              <a:defRPr/>
            </a:pPr>
            <a:endParaRPr lang="en-US" sz="1199">
              <a:solidFill>
                <a:srgbClr val="FFFFFF"/>
              </a:solidFill>
              <a:latin typeface="EYInterstate Light"/>
            </a:endParaRPr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BFD5A7C-BCF7-43AC-9DC2-1BDAC6A4580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174" y="1785"/>
            <a:ext cx="158667" cy="158667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 defTabSz="913943">
              <a:defRPr/>
            </a:pPr>
            <a:endParaRPr lang="nb-NO" sz="2398">
              <a:solidFill>
                <a:srgbClr val="FFFFFF"/>
              </a:solidFill>
              <a:latin typeface="EYInterstate Light" panose="02000506000000020004" pitchFamily="2" charset="0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grpSp>
        <p:nvGrpSpPr>
          <p:cNvPr id="31" name="Group 4">
            <a:extLst>
              <a:ext uri="{FF2B5EF4-FFF2-40B4-BE49-F238E27FC236}">
                <a16:creationId xmlns:a16="http://schemas.microsoft.com/office/drawing/2014/main" id="{7A90C495-30B4-4A5C-A365-02F03EBD936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278552" y="6354826"/>
            <a:ext cx="302897" cy="310988"/>
            <a:chOff x="7110" y="4004"/>
            <a:chExt cx="191" cy="196"/>
          </a:xfrm>
        </p:grpSpPr>
        <p:sp>
          <p:nvSpPr>
            <p:cNvPr id="32" name="Freeform 5">
              <a:extLst>
                <a:ext uri="{FF2B5EF4-FFF2-40B4-BE49-F238E27FC236}">
                  <a16:creationId xmlns:a16="http://schemas.microsoft.com/office/drawing/2014/main" id="{66E61298-2F7D-4F85-869B-E0A17E3683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>
                <a:defRPr/>
              </a:pPr>
              <a:endParaRPr lang="en-IN" sz="1798">
                <a:solidFill>
                  <a:srgbClr val="FFFFFF"/>
                </a:solidFill>
                <a:latin typeface="EYInterstate Light"/>
              </a:endParaRPr>
            </a:p>
          </p:txBody>
        </p:sp>
        <p:sp>
          <p:nvSpPr>
            <p:cNvPr id="33" name="Freeform 6">
              <a:extLst>
                <a:ext uri="{FF2B5EF4-FFF2-40B4-BE49-F238E27FC236}">
                  <a16:creationId xmlns:a16="http://schemas.microsoft.com/office/drawing/2014/main" id="{61A01EB2-7662-488D-9C2E-A422AB3E5F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>
                <a:defRPr/>
              </a:pPr>
              <a:endParaRPr lang="en-IN" sz="1798">
                <a:solidFill>
                  <a:srgbClr val="FFFFFF"/>
                </a:solidFill>
                <a:latin typeface="EYInterstate Light"/>
              </a:endParaRPr>
            </a:p>
          </p:txBody>
        </p:sp>
        <p:sp>
          <p:nvSpPr>
            <p:cNvPr id="34" name="Freeform 7">
              <a:extLst>
                <a:ext uri="{FF2B5EF4-FFF2-40B4-BE49-F238E27FC236}">
                  <a16:creationId xmlns:a16="http://schemas.microsoft.com/office/drawing/2014/main" id="{8230FADB-5B69-44CF-BC01-69F9542B82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>
                <a:defRPr/>
              </a:pPr>
              <a:endParaRPr lang="en-IN" sz="1798">
                <a:solidFill>
                  <a:srgbClr val="FFFFFF"/>
                </a:solidFill>
                <a:latin typeface="EYInterstate Light"/>
              </a:endParaRPr>
            </a:p>
          </p:txBody>
        </p:sp>
      </p:grpSp>
      <p:sp>
        <p:nvSpPr>
          <p:cNvPr id="38" name="Slide Number Placeholder 4">
            <a:extLst>
              <a:ext uri="{FF2B5EF4-FFF2-40B4-BE49-F238E27FC236}">
                <a16:creationId xmlns:a16="http://schemas.microsoft.com/office/drawing/2014/main" id="{A54AEA76-9DD0-42F8-BABB-D26609C3C624}"/>
              </a:ext>
            </a:extLst>
          </p:cNvPr>
          <p:cNvSpPr txBox="1">
            <a:spLocks/>
          </p:cNvSpPr>
          <p:nvPr/>
        </p:nvSpPr>
        <p:spPr>
          <a:xfrm>
            <a:off x="619754" y="6469660"/>
            <a:ext cx="662376" cy="179906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913943" rtl="0" eaLnBrk="1" latinLnBrk="0" hangingPunct="1">
              <a:defRPr lang="en-GB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486">
              <a:defRPr/>
            </a:pPr>
            <a:r>
              <a:rPr lang="nb-NO">
                <a:solidFill>
                  <a:srgbClr val="2E2E38"/>
                </a:solidFill>
              </a:rPr>
              <a:t>Side </a:t>
            </a:r>
            <a:fld id="{F1BC30E3-FFE5-4B91-AA19-87A149EBB9EE}" type="slidenum">
              <a:rPr lang="nb-NO">
                <a:solidFill>
                  <a:srgbClr val="2E2E38"/>
                </a:solidFill>
              </a:rPr>
              <a:pPr defTabSz="913486">
                <a:defRPr/>
              </a:pPr>
              <a:t>39</a:t>
            </a:fld>
            <a:endParaRPr lang="nb-NO">
              <a:solidFill>
                <a:srgbClr val="2E2E38"/>
              </a:solidFill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FA5F184C-4395-4B3E-80EB-3ACDBED8E7EF}"/>
              </a:ext>
            </a:extLst>
          </p:cNvPr>
          <p:cNvSpPr txBox="1"/>
          <p:nvPr/>
        </p:nvSpPr>
        <p:spPr>
          <a:xfrm>
            <a:off x="809314" y="2571514"/>
            <a:ext cx="1598912" cy="468250"/>
          </a:xfrm>
          <a:prstGeom prst="rect">
            <a:avLst/>
          </a:prstGeom>
          <a:noFill/>
        </p:spPr>
        <p:txBody>
          <a:bodyPr wrap="square" lIns="0" tIns="36462" rIns="0" bIns="0" rtlCol="0">
            <a:spAutoFit/>
          </a:bodyPr>
          <a:lstStyle/>
          <a:p>
            <a:pPr algn="ctr" defTabSz="911660">
              <a:lnSpc>
                <a:spcPct val="85000"/>
              </a:lnSpc>
              <a:spcAft>
                <a:spcPts val="600"/>
              </a:spcAft>
              <a:buClr>
                <a:srgbClr val="FFE600"/>
              </a:buClr>
              <a:buSzPct val="70000"/>
              <a:defRPr/>
            </a:pPr>
            <a:r>
              <a:rPr lang="nb-NO" sz="1099" kern="0">
                <a:solidFill>
                  <a:srgbClr val="000000"/>
                </a:solidFill>
                <a:latin typeface="EYInterstate Light"/>
              </a:rPr>
              <a:t>Mangel på nettkapasitet hindrer nyetablering og vekst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E4F84837-3125-4EEF-92AC-458E1B346BB5}"/>
              </a:ext>
            </a:extLst>
          </p:cNvPr>
          <p:cNvSpPr txBox="1"/>
          <p:nvPr/>
        </p:nvSpPr>
        <p:spPr>
          <a:xfrm>
            <a:off x="4407514" y="4189851"/>
            <a:ext cx="1579730" cy="324439"/>
          </a:xfrm>
          <a:prstGeom prst="rect">
            <a:avLst/>
          </a:prstGeom>
          <a:noFill/>
        </p:spPr>
        <p:txBody>
          <a:bodyPr wrap="square" lIns="0" tIns="36462" rIns="0" bIns="0" rtlCol="0">
            <a:spAutoFit/>
          </a:bodyPr>
          <a:lstStyle/>
          <a:p>
            <a:pPr algn="ctr" defTabSz="911660">
              <a:lnSpc>
                <a:spcPct val="85000"/>
              </a:lnSpc>
              <a:spcAft>
                <a:spcPts val="600"/>
              </a:spcAft>
              <a:buClr>
                <a:srgbClr val="FFE600"/>
              </a:buClr>
              <a:buSzPct val="70000"/>
              <a:defRPr/>
            </a:pPr>
            <a:r>
              <a:rPr lang="nb-NO" sz="1099" kern="0">
                <a:solidFill>
                  <a:srgbClr val="000000"/>
                </a:solidFill>
                <a:latin typeface="EYInterstate Light"/>
              </a:rPr>
              <a:t>Manglende felles strategi og samarbeid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7DED49FD-0D6B-4636-8425-B8AF73FA6089}"/>
              </a:ext>
            </a:extLst>
          </p:cNvPr>
          <p:cNvSpPr txBox="1"/>
          <p:nvPr/>
        </p:nvSpPr>
        <p:spPr>
          <a:xfrm>
            <a:off x="2555107" y="4189851"/>
            <a:ext cx="1715643" cy="468250"/>
          </a:xfrm>
          <a:prstGeom prst="rect">
            <a:avLst/>
          </a:prstGeom>
          <a:noFill/>
        </p:spPr>
        <p:txBody>
          <a:bodyPr wrap="square" lIns="0" tIns="36462" rIns="0" bIns="0" rtlCol="0">
            <a:spAutoFit/>
          </a:bodyPr>
          <a:lstStyle/>
          <a:p>
            <a:pPr algn="ctr" defTabSz="911660">
              <a:lnSpc>
                <a:spcPct val="85000"/>
              </a:lnSpc>
              <a:spcAft>
                <a:spcPts val="600"/>
              </a:spcAft>
              <a:buClr>
                <a:srgbClr val="FFE600"/>
              </a:buClr>
              <a:buSzPct val="70000"/>
              <a:defRPr/>
            </a:pPr>
            <a:r>
              <a:rPr lang="nb-NO" sz="1099" kern="0">
                <a:solidFill>
                  <a:srgbClr val="000000"/>
                </a:solidFill>
                <a:latin typeface="EYInterstate Light"/>
              </a:rPr>
              <a:t>Mangler erfaring fra piloter, skalering og kommersialisering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FD1BD866-A797-43B0-B269-ABECE22705C9}"/>
              </a:ext>
            </a:extLst>
          </p:cNvPr>
          <p:cNvSpPr txBox="1"/>
          <p:nvPr/>
        </p:nvSpPr>
        <p:spPr>
          <a:xfrm>
            <a:off x="896443" y="4189851"/>
            <a:ext cx="1498957" cy="324439"/>
          </a:xfrm>
          <a:prstGeom prst="rect">
            <a:avLst/>
          </a:prstGeom>
          <a:noFill/>
        </p:spPr>
        <p:txBody>
          <a:bodyPr wrap="square" lIns="0" tIns="36462" rIns="0" bIns="0" rtlCol="0">
            <a:spAutoFit/>
          </a:bodyPr>
          <a:lstStyle/>
          <a:p>
            <a:pPr algn="ctr" defTabSz="911660">
              <a:lnSpc>
                <a:spcPct val="85000"/>
              </a:lnSpc>
              <a:spcAft>
                <a:spcPts val="600"/>
              </a:spcAft>
              <a:buClr>
                <a:srgbClr val="FFE600"/>
              </a:buClr>
              <a:buSzPct val="70000"/>
              <a:defRPr/>
            </a:pPr>
            <a:r>
              <a:rPr lang="nb-NO" sz="1099" kern="0">
                <a:solidFill>
                  <a:srgbClr val="000000"/>
                </a:solidFill>
                <a:latin typeface="EYInterstate Light"/>
              </a:rPr>
              <a:t>Attraktivitet, tiltrekke oss nye lokomotiver</a:t>
            </a:r>
          </a:p>
        </p:txBody>
      </p:sp>
      <p:sp>
        <p:nvSpPr>
          <p:cNvPr id="73" name="Isosceles Triangle 72">
            <a:extLst>
              <a:ext uri="{FF2B5EF4-FFF2-40B4-BE49-F238E27FC236}">
                <a16:creationId xmlns:a16="http://schemas.microsoft.com/office/drawing/2014/main" id="{FAD13390-A417-4DC2-90F1-DD85D5BC2E09}"/>
              </a:ext>
            </a:extLst>
          </p:cNvPr>
          <p:cNvSpPr/>
          <p:nvPr/>
        </p:nvSpPr>
        <p:spPr>
          <a:xfrm>
            <a:off x="1162275" y="1558206"/>
            <a:ext cx="980572" cy="957412"/>
          </a:xfrm>
          <a:prstGeom prst="triangle">
            <a:avLst/>
          </a:prstGeom>
          <a:solidFill>
            <a:schemeClr val="tx1"/>
          </a:solidFill>
          <a:ln w="57150">
            <a:solidFill>
              <a:schemeClr val="bg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3029">
              <a:defRPr/>
            </a:pPr>
            <a:endParaRPr lang="nb-NO" sz="1197">
              <a:solidFill>
                <a:srgbClr val="000000"/>
              </a:solidFill>
              <a:latin typeface="EYInterstate Light"/>
            </a:endParaRPr>
          </a:p>
        </p:txBody>
      </p:sp>
      <p:sp>
        <p:nvSpPr>
          <p:cNvPr id="74" name="Isosceles Triangle 73">
            <a:extLst>
              <a:ext uri="{FF2B5EF4-FFF2-40B4-BE49-F238E27FC236}">
                <a16:creationId xmlns:a16="http://schemas.microsoft.com/office/drawing/2014/main" id="{5ABA0F2C-402C-4497-9A7F-48DEBECAC3EA}"/>
              </a:ext>
            </a:extLst>
          </p:cNvPr>
          <p:cNvSpPr/>
          <p:nvPr/>
        </p:nvSpPr>
        <p:spPr>
          <a:xfrm>
            <a:off x="4731266" y="3168375"/>
            <a:ext cx="980572" cy="957412"/>
          </a:xfrm>
          <a:prstGeom prst="triangle">
            <a:avLst/>
          </a:prstGeom>
          <a:solidFill>
            <a:schemeClr val="tx1"/>
          </a:solidFill>
          <a:ln w="57150">
            <a:solidFill>
              <a:schemeClr val="bg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3029">
              <a:defRPr/>
            </a:pPr>
            <a:endParaRPr lang="nb-NO" sz="1197">
              <a:solidFill>
                <a:srgbClr val="000000"/>
              </a:solidFill>
              <a:latin typeface="EYInterstate Light"/>
            </a:endParaRPr>
          </a:p>
        </p:txBody>
      </p:sp>
      <p:sp>
        <p:nvSpPr>
          <p:cNvPr id="76" name="Isosceles Triangle 75">
            <a:extLst>
              <a:ext uri="{FF2B5EF4-FFF2-40B4-BE49-F238E27FC236}">
                <a16:creationId xmlns:a16="http://schemas.microsoft.com/office/drawing/2014/main" id="{A345B826-F853-417D-9F23-5997CE1F4C30}"/>
              </a:ext>
            </a:extLst>
          </p:cNvPr>
          <p:cNvSpPr/>
          <p:nvPr/>
        </p:nvSpPr>
        <p:spPr>
          <a:xfrm>
            <a:off x="1149447" y="3168375"/>
            <a:ext cx="980572" cy="957412"/>
          </a:xfrm>
          <a:prstGeom prst="triangle">
            <a:avLst/>
          </a:prstGeom>
          <a:solidFill>
            <a:schemeClr val="tx1"/>
          </a:solidFill>
          <a:ln w="57150">
            <a:solidFill>
              <a:schemeClr val="bg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3029">
              <a:defRPr/>
            </a:pPr>
            <a:endParaRPr lang="nb-NO" sz="1197">
              <a:solidFill>
                <a:srgbClr val="000000"/>
              </a:solidFill>
              <a:latin typeface="EYInterstate Light"/>
            </a:endParaRPr>
          </a:p>
        </p:txBody>
      </p:sp>
      <p:sp>
        <p:nvSpPr>
          <p:cNvPr id="78" name="Isosceles Triangle 77">
            <a:extLst>
              <a:ext uri="{FF2B5EF4-FFF2-40B4-BE49-F238E27FC236}">
                <a16:creationId xmlns:a16="http://schemas.microsoft.com/office/drawing/2014/main" id="{4BC080B0-99A0-4ADC-AD29-5CA11079C27E}"/>
              </a:ext>
            </a:extLst>
          </p:cNvPr>
          <p:cNvSpPr/>
          <p:nvPr/>
        </p:nvSpPr>
        <p:spPr>
          <a:xfrm>
            <a:off x="2910141" y="3150867"/>
            <a:ext cx="980572" cy="957412"/>
          </a:xfrm>
          <a:prstGeom prst="triangle">
            <a:avLst/>
          </a:prstGeom>
          <a:solidFill>
            <a:schemeClr val="tx1"/>
          </a:solidFill>
          <a:ln w="57150">
            <a:solidFill>
              <a:schemeClr val="bg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3029">
              <a:defRPr/>
            </a:pPr>
            <a:endParaRPr lang="nb-NO" sz="1197">
              <a:solidFill>
                <a:srgbClr val="000000"/>
              </a:solidFill>
              <a:latin typeface="EYInterstate Light"/>
            </a:endParaRPr>
          </a:p>
        </p:txBody>
      </p:sp>
      <p:sp>
        <p:nvSpPr>
          <p:cNvPr id="79" name="Freeform 49">
            <a:extLst>
              <a:ext uri="{FF2B5EF4-FFF2-40B4-BE49-F238E27FC236}">
                <a16:creationId xmlns:a16="http://schemas.microsoft.com/office/drawing/2014/main" id="{3370E935-3002-4609-A1C5-47A49CD7D80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438107" y="1919543"/>
            <a:ext cx="428912" cy="536471"/>
          </a:xfrm>
          <a:custGeom>
            <a:avLst/>
            <a:gdLst>
              <a:gd name="T0" fmla="*/ 2147483647 w 4040"/>
              <a:gd name="T1" fmla="*/ 2147483647 h 4763"/>
              <a:gd name="T2" fmla="*/ 2147483647 w 4040"/>
              <a:gd name="T3" fmla="*/ 2147483647 h 4763"/>
              <a:gd name="T4" fmla="*/ 2147483647 w 4040"/>
              <a:gd name="T5" fmla="*/ 2147483647 h 4763"/>
              <a:gd name="T6" fmla="*/ 2147483647 w 4040"/>
              <a:gd name="T7" fmla="*/ 2147483647 h 4763"/>
              <a:gd name="T8" fmla="*/ 2147483647 w 4040"/>
              <a:gd name="T9" fmla="*/ 2147483647 h 4763"/>
              <a:gd name="T10" fmla="*/ 2147483647 w 4040"/>
              <a:gd name="T11" fmla="*/ 2147483647 h 4763"/>
              <a:gd name="T12" fmla="*/ 2147483647 w 4040"/>
              <a:gd name="T13" fmla="*/ 2147483647 h 4763"/>
              <a:gd name="T14" fmla="*/ 2147483647 w 4040"/>
              <a:gd name="T15" fmla="*/ 2147483647 h 4763"/>
              <a:gd name="T16" fmla="*/ 2147483647 w 4040"/>
              <a:gd name="T17" fmla="*/ 2147483647 h 4763"/>
              <a:gd name="T18" fmla="*/ 2147483647 w 4040"/>
              <a:gd name="T19" fmla="*/ 2147483647 h 4763"/>
              <a:gd name="T20" fmla="*/ 2147483647 w 4040"/>
              <a:gd name="T21" fmla="*/ 2147483647 h 4763"/>
              <a:gd name="T22" fmla="*/ 2147483647 w 4040"/>
              <a:gd name="T23" fmla="*/ 2147483647 h 4763"/>
              <a:gd name="T24" fmla="*/ 2147483647 w 4040"/>
              <a:gd name="T25" fmla="*/ 2147483647 h 4763"/>
              <a:gd name="T26" fmla="*/ 2147483647 w 4040"/>
              <a:gd name="T27" fmla="*/ 2147483647 h 4763"/>
              <a:gd name="T28" fmla="*/ 2147483647 w 4040"/>
              <a:gd name="T29" fmla="*/ 2147483647 h 4763"/>
              <a:gd name="T30" fmla="*/ 2147483647 w 4040"/>
              <a:gd name="T31" fmla="*/ 2147483647 h 4763"/>
              <a:gd name="T32" fmla="*/ 2147483647 w 4040"/>
              <a:gd name="T33" fmla="*/ 2147483647 h 4763"/>
              <a:gd name="T34" fmla="*/ 2147483647 w 4040"/>
              <a:gd name="T35" fmla="*/ 2147483647 h 4763"/>
              <a:gd name="T36" fmla="*/ 2147483647 w 4040"/>
              <a:gd name="T37" fmla="*/ 2147483647 h 4763"/>
              <a:gd name="T38" fmla="*/ 2147483647 w 4040"/>
              <a:gd name="T39" fmla="*/ 2147483647 h 4763"/>
              <a:gd name="T40" fmla="*/ 2147483647 w 4040"/>
              <a:gd name="T41" fmla="*/ 2147483647 h 4763"/>
              <a:gd name="T42" fmla="*/ 2147483647 w 4040"/>
              <a:gd name="T43" fmla="*/ 2147483647 h 4763"/>
              <a:gd name="T44" fmla="*/ 2147483647 w 4040"/>
              <a:gd name="T45" fmla="*/ 2147483647 h 4763"/>
              <a:gd name="T46" fmla="*/ 2147483647 w 4040"/>
              <a:gd name="T47" fmla="*/ 2147483647 h 4763"/>
              <a:gd name="T48" fmla="*/ 2147483647 w 4040"/>
              <a:gd name="T49" fmla="*/ 2147483647 h 4763"/>
              <a:gd name="T50" fmla="*/ 2147483647 w 4040"/>
              <a:gd name="T51" fmla="*/ 2147483647 h 4763"/>
              <a:gd name="T52" fmla="*/ 2147483647 w 4040"/>
              <a:gd name="T53" fmla="*/ 2147483647 h 4763"/>
              <a:gd name="T54" fmla="*/ 2147483647 w 4040"/>
              <a:gd name="T55" fmla="*/ 2147483647 h 4763"/>
              <a:gd name="T56" fmla="*/ 0 w 4040"/>
              <a:gd name="T57" fmla="*/ 2147483647 h 4763"/>
              <a:gd name="T58" fmla="*/ 2147483647 w 4040"/>
              <a:gd name="T59" fmla="*/ 2147483647 h 4763"/>
              <a:gd name="T60" fmla="*/ 2147483647 w 4040"/>
              <a:gd name="T61" fmla="*/ 2147483647 h 4763"/>
              <a:gd name="T62" fmla="*/ 2147483647 w 4040"/>
              <a:gd name="T63" fmla="*/ 2147483647 h 4763"/>
              <a:gd name="T64" fmla="*/ 2147483647 w 4040"/>
              <a:gd name="T65" fmla="*/ 2147483647 h 4763"/>
              <a:gd name="T66" fmla="*/ 2147483647 w 4040"/>
              <a:gd name="T67" fmla="*/ 2147483647 h 4763"/>
              <a:gd name="T68" fmla="*/ 2147483647 w 4040"/>
              <a:gd name="T69" fmla="*/ 2147483647 h 4763"/>
              <a:gd name="T70" fmla="*/ 2147483647 w 4040"/>
              <a:gd name="T71" fmla="*/ 2147483647 h 4763"/>
              <a:gd name="T72" fmla="*/ 2147483647 w 4040"/>
              <a:gd name="T73" fmla="*/ 2147483647 h 4763"/>
              <a:gd name="T74" fmla="*/ 2147483647 w 4040"/>
              <a:gd name="T75" fmla="*/ 2147483647 h 4763"/>
              <a:gd name="T76" fmla="*/ 2147483647 w 4040"/>
              <a:gd name="T77" fmla="*/ 2147483647 h 4763"/>
              <a:gd name="T78" fmla="*/ 2147483647 w 4040"/>
              <a:gd name="T79" fmla="*/ 2147483647 h 4763"/>
              <a:gd name="T80" fmla="*/ 2147483647 w 4040"/>
              <a:gd name="T81" fmla="*/ 2147483647 h 4763"/>
              <a:gd name="T82" fmla="*/ 2147483647 w 4040"/>
              <a:gd name="T83" fmla="*/ 2147483647 h 4763"/>
              <a:gd name="T84" fmla="*/ 2147483647 w 4040"/>
              <a:gd name="T85" fmla="*/ 2147483647 h 4763"/>
              <a:gd name="T86" fmla="*/ 2147483647 w 4040"/>
              <a:gd name="T87" fmla="*/ 2147483647 h 4763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4040"/>
              <a:gd name="T133" fmla="*/ 0 h 4763"/>
              <a:gd name="T134" fmla="*/ 4040 w 4040"/>
              <a:gd name="T135" fmla="*/ 4763 h 4763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4040" h="4763">
                <a:moveTo>
                  <a:pt x="428" y="4645"/>
                </a:moveTo>
                <a:lnTo>
                  <a:pt x="3717" y="4645"/>
                </a:lnTo>
                <a:lnTo>
                  <a:pt x="3717" y="4763"/>
                </a:lnTo>
                <a:lnTo>
                  <a:pt x="428" y="4763"/>
                </a:lnTo>
                <a:lnTo>
                  <a:pt x="428" y="4645"/>
                </a:lnTo>
                <a:close/>
                <a:moveTo>
                  <a:pt x="1619" y="2568"/>
                </a:moveTo>
                <a:lnTo>
                  <a:pt x="2019" y="2938"/>
                </a:lnTo>
                <a:lnTo>
                  <a:pt x="2417" y="2568"/>
                </a:lnTo>
                <a:lnTo>
                  <a:pt x="1619" y="2568"/>
                </a:lnTo>
                <a:close/>
                <a:moveTo>
                  <a:pt x="2484" y="3531"/>
                </a:moveTo>
                <a:lnTo>
                  <a:pt x="2019" y="3100"/>
                </a:lnTo>
                <a:lnTo>
                  <a:pt x="1554" y="3531"/>
                </a:lnTo>
                <a:lnTo>
                  <a:pt x="2484" y="3531"/>
                </a:lnTo>
                <a:close/>
                <a:moveTo>
                  <a:pt x="2019" y="4020"/>
                </a:moveTo>
                <a:lnTo>
                  <a:pt x="2415" y="3649"/>
                </a:lnTo>
                <a:lnTo>
                  <a:pt x="1620" y="3649"/>
                </a:lnTo>
                <a:lnTo>
                  <a:pt x="2019" y="4020"/>
                </a:lnTo>
                <a:close/>
                <a:moveTo>
                  <a:pt x="2432" y="2281"/>
                </a:moveTo>
                <a:lnTo>
                  <a:pt x="2359" y="1645"/>
                </a:lnTo>
                <a:lnTo>
                  <a:pt x="2098" y="1925"/>
                </a:lnTo>
                <a:lnTo>
                  <a:pt x="2432" y="2281"/>
                </a:lnTo>
                <a:close/>
                <a:moveTo>
                  <a:pt x="2562" y="3443"/>
                </a:moveTo>
                <a:lnTo>
                  <a:pt x="2476" y="2675"/>
                </a:lnTo>
                <a:lnTo>
                  <a:pt x="2104" y="3018"/>
                </a:lnTo>
                <a:lnTo>
                  <a:pt x="2562" y="3443"/>
                </a:lnTo>
                <a:close/>
                <a:moveTo>
                  <a:pt x="1588" y="2701"/>
                </a:moveTo>
                <a:lnTo>
                  <a:pt x="1508" y="3412"/>
                </a:lnTo>
                <a:lnTo>
                  <a:pt x="1931" y="3018"/>
                </a:lnTo>
                <a:lnTo>
                  <a:pt x="1588" y="2701"/>
                </a:lnTo>
                <a:close/>
                <a:moveTo>
                  <a:pt x="1617" y="2442"/>
                </a:moveTo>
                <a:lnTo>
                  <a:pt x="1616" y="2450"/>
                </a:lnTo>
                <a:lnTo>
                  <a:pt x="2426" y="2450"/>
                </a:lnTo>
                <a:lnTo>
                  <a:pt x="2019" y="2013"/>
                </a:lnTo>
                <a:lnTo>
                  <a:pt x="1617" y="2442"/>
                </a:lnTo>
                <a:close/>
                <a:moveTo>
                  <a:pt x="1705" y="1675"/>
                </a:moveTo>
                <a:lnTo>
                  <a:pt x="1639" y="2244"/>
                </a:lnTo>
                <a:lnTo>
                  <a:pt x="1937" y="1925"/>
                </a:lnTo>
                <a:lnTo>
                  <a:pt x="1705" y="1675"/>
                </a:lnTo>
                <a:close/>
                <a:moveTo>
                  <a:pt x="1725" y="1485"/>
                </a:moveTo>
                <a:lnTo>
                  <a:pt x="1721" y="1521"/>
                </a:lnTo>
                <a:lnTo>
                  <a:pt x="2019" y="1838"/>
                </a:lnTo>
                <a:lnTo>
                  <a:pt x="2341" y="1491"/>
                </a:lnTo>
                <a:lnTo>
                  <a:pt x="2341" y="1485"/>
                </a:lnTo>
                <a:lnTo>
                  <a:pt x="1725" y="1485"/>
                </a:lnTo>
                <a:close/>
                <a:moveTo>
                  <a:pt x="2260" y="764"/>
                </a:moveTo>
                <a:lnTo>
                  <a:pt x="1767" y="1123"/>
                </a:lnTo>
                <a:lnTo>
                  <a:pt x="1739" y="1367"/>
                </a:lnTo>
                <a:lnTo>
                  <a:pt x="2328" y="1367"/>
                </a:lnTo>
                <a:lnTo>
                  <a:pt x="2260" y="764"/>
                </a:lnTo>
                <a:close/>
                <a:moveTo>
                  <a:pt x="2566" y="1367"/>
                </a:moveTo>
                <a:lnTo>
                  <a:pt x="3174" y="1367"/>
                </a:lnTo>
                <a:lnTo>
                  <a:pt x="2535" y="1090"/>
                </a:lnTo>
                <a:lnTo>
                  <a:pt x="2566" y="1367"/>
                </a:lnTo>
                <a:close/>
                <a:moveTo>
                  <a:pt x="1531" y="1097"/>
                </a:moveTo>
                <a:lnTo>
                  <a:pt x="908" y="1367"/>
                </a:lnTo>
                <a:lnTo>
                  <a:pt x="1500" y="1367"/>
                </a:lnTo>
                <a:lnTo>
                  <a:pt x="1531" y="1097"/>
                </a:lnTo>
                <a:close/>
                <a:moveTo>
                  <a:pt x="1438" y="1913"/>
                </a:moveTo>
                <a:lnTo>
                  <a:pt x="307" y="2427"/>
                </a:lnTo>
                <a:lnTo>
                  <a:pt x="1380" y="2427"/>
                </a:lnTo>
                <a:lnTo>
                  <a:pt x="1438" y="1913"/>
                </a:lnTo>
                <a:close/>
                <a:moveTo>
                  <a:pt x="2686" y="2427"/>
                </a:moveTo>
                <a:lnTo>
                  <a:pt x="3735" y="2427"/>
                </a:lnTo>
                <a:lnTo>
                  <a:pt x="2629" y="1927"/>
                </a:lnTo>
                <a:lnTo>
                  <a:pt x="2686" y="2427"/>
                </a:lnTo>
                <a:close/>
                <a:moveTo>
                  <a:pt x="3803" y="2932"/>
                </a:moveTo>
                <a:lnTo>
                  <a:pt x="3803" y="2546"/>
                </a:lnTo>
                <a:lnTo>
                  <a:pt x="2700" y="2546"/>
                </a:lnTo>
                <a:lnTo>
                  <a:pt x="2923" y="4529"/>
                </a:lnTo>
                <a:lnTo>
                  <a:pt x="2685" y="4529"/>
                </a:lnTo>
                <a:lnTo>
                  <a:pt x="2586" y="3654"/>
                </a:lnTo>
                <a:lnTo>
                  <a:pt x="2104" y="4099"/>
                </a:lnTo>
                <a:lnTo>
                  <a:pt x="2566" y="4529"/>
                </a:lnTo>
                <a:lnTo>
                  <a:pt x="2393" y="4529"/>
                </a:lnTo>
                <a:lnTo>
                  <a:pt x="2019" y="4181"/>
                </a:lnTo>
                <a:lnTo>
                  <a:pt x="1642" y="4529"/>
                </a:lnTo>
                <a:lnTo>
                  <a:pt x="1469" y="4529"/>
                </a:lnTo>
                <a:lnTo>
                  <a:pt x="1931" y="4099"/>
                </a:lnTo>
                <a:lnTo>
                  <a:pt x="1476" y="3679"/>
                </a:lnTo>
                <a:lnTo>
                  <a:pt x="1382" y="4529"/>
                </a:lnTo>
                <a:lnTo>
                  <a:pt x="1143" y="4529"/>
                </a:lnTo>
                <a:lnTo>
                  <a:pt x="1367" y="2546"/>
                </a:lnTo>
                <a:lnTo>
                  <a:pt x="237" y="2546"/>
                </a:lnTo>
                <a:lnTo>
                  <a:pt x="237" y="2932"/>
                </a:lnTo>
                <a:lnTo>
                  <a:pt x="0" y="2932"/>
                </a:lnTo>
                <a:lnTo>
                  <a:pt x="0" y="2546"/>
                </a:lnTo>
                <a:lnTo>
                  <a:pt x="0" y="2447"/>
                </a:lnTo>
                <a:lnTo>
                  <a:pt x="0" y="2432"/>
                </a:lnTo>
                <a:lnTo>
                  <a:pt x="1454" y="1777"/>
                </a:lnTo>
                <a:lnTo>
                  <a:pt x="1487" y="1485"/>
                </a:lnTo>
                <a:lnTo>
                  <a:pt x="831" y="1485"/>
                </a:lnTo>
                <a:lnTo>
                  <a:pt x="831" y="1884"/>
                </a:lnTo>
                <a:lnTo>
                  <a:pt x="594" y="1884"/>
                </a:lnTo>
                <a:lnTo>
                  <a:pt x="594" y="1485"/>
                </a:lnTo>
                <a:lnTo>
                  <a:pt x="594" y="1398"/>
                </a:lnTo>
                <a:lnTo>
                  <a:pt x="594" y="1371"/>
                </a:lnTo>
                <a:lnTo>
                  <a:pt x="1546" y="961"/>
                </a:lnTo>
                <a:lnTo>
                  <a:pt x="1582" y="652"/>
                </a:lnTo>
                <a:lnTo>
                  <a:pt x="1648" y="652"/>
                </a:lnTo>
                <a:lnTo>
                  <a:pt x="2375" y="652"/>
                </a:lnTo>
                <a:lnTo>
                  <a:pt x="2485" y="652"/>
                </a:lnTo>
                <a:lnTo>
                  <a:pt x="2519" y="954"/>
                </a:lnTo>
                <a:lnTo>
                  <a:pt x="3494" y="1371"/>
                </a:lnTo>
                <a:lnTo>
                  <a:pt x="3494" y="1419"/>
                </a:lnTo>
                <a:lnTo>
                  <a:pt x="3494" y="1485"/>
                </a:lnTo>
                <a:lnTo>
                  <a:pt x="3494" y="1906"/>
                </a:lnTo>
                <a:lnTo>
                  <a:pt x="3257" y="1906"/>
                </a:lnTo>
                <a:lnTo>
                  <a:pt x="3257" y="1485"/>
                </a:lnTo>
                <a:lnTo>
                  <a:pt x="2580" y="1485"/>
                </a:lnTo>
                <a:lnTo>
                  <a:pt x="2614" y="1789"/>
                </a:lnTo>
                <a:lnTo>
                  <a:pt x="4040" y="2432"/>
                </a:lnTo>
                <a:lnTo>
                  <a:pt x="4040" y="2447"/>
                </a:lnTo>
                <a:lnTo>
                  <a:pt x="4040" y="2546"/>
                </a:lnTo>
                <a:lnTo>
                  <a:pt x="4040" y="2932"/>
                </a:lnTo>
                <a:lnTo>
                  <a:pt x="3803" y="2932"/>
                </a:lnTo>
                <a:close/>
                <a:moveTo>
                  <a:pt x="2005" y="129"/>
                </a:moveTo>
                <a:lnTo>
                  <a:pt x="1339" y="421"/>
                </a:lnTo>
                <a:lnTo>
                  <a:pt x="2673" y="421"/>
                </a:lnTo>
                <a:lnTo>
                  <a:pt x="2005" y="129"/>
                </a:lnTo>
                <a:close/>
                <a:moveTo>
                  <a:pt x="1031" y="820"/>
                </a:moveTo>
                <a:lnTo>
                  <a:pt x="1031" y="539"/>
                </a:lnTo>
                <a:lnTo>
                  <a:pt x="1031" y="501"/>
                </a:lnTo>
                <a:lnTo>
                  <a:pt x="1031" y="427"/>
                </a:lnTo>
                <a:lnTo>
                  <a:pt x="2005" y="0"/>
                </a:lnTo>
                <a:lnTo>
                  <a:pt x="2980" y="427"/>
                </a:lnTo>
                <a:lnTo>
                  <a:pt x="2980" y="501"/>
                </a:lnTo>
                <a:lnTo>
                  <a:pt x="2980" y="539"/>
                </a:lnTo>
                <a:lnTo>
                  <a:pt x="2980" y="820"/>
                </a:lnTo>
                <a:lnTo>
                  <a:pt x="2740" y="820"/>
                </a:lnTo>
                <a:lnTo>
                  <a:pt x="2740" y="539"/>
                </a:lnTo>
                <a:lnTo>
                  <a:pt x="1272" y="539"/>
                </a:lnTo>
                <a:lnTo>
                  <a:pt x="1272" y="820"/>
                </a:lnTo>
                <a:lnTo>
                  <a:pt x="1031" y="82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248" tIns="45624" rIns="91248" bIns="45624" anchor="t"/>
          <a:lstStyle/>
          <a:p>
            <a:pPr defTabSz="912250">
              <a:defRPr/>
            </a:pPr>
            <a:endParaRPr lang="en-US" sz="1796">
              <a:solidFill>
                <a:srgbClr val="000000"/>
              </a:solidFill>
              <a:latin typeface="EYInterstate Light"/>
            </a:endParaRPr>
          </a:p>
        </p:txBody>
      </p:sp>
      <p:pic>
        <p:nvPicPr>
          <p:cNvPr id="80" name="Graphic 79" descr="Meeting">
            <a:extLst>
              <a:ext uri="{FF2B5EF4-FFF2-40B4-BE49-F238E27FC236}">
                <a16:creationId xmlns:a16="http://schemas.microsoft.com/office/drawing/2014/main" id="{09DAC4F7-D07E-4823-AABF-74C0EBA679A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911351" y="3591862"/>
            <a:ext cx="620403" cy="620403"/>
          </a:xfrm>
          <a:prstGeom prst="rect">
            <a:avLst/>
          </a:prstGeom>
        </p:spPr>
      </p:pic>
      <p:pic>
        <p:nvPicPr>
          <p:cNvPr id="82" name="Graphic 81" descr="Business Growth">
            <a:extLst>
              <a:ext uri="{FF2B5EF4-FFF2-40B4-BE49-F238E27FC236}">
                <a16:creationId xmlns:a16="http://schemas.microsoft.com/office/drawing/2014/main" id="{D8B34F4F-FCD9-4844-A0F4-AC88D0C0910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147125" y="3581063"/>
            <a:ext cx="506598" cy="506598"/>
          </a:xfrm>
          <a:prstGeom prst="rect">
            <a:avLst/>
          </a:prstGeom>
        </p:spPr>
      </p:pic>
      <p:pic>
        <p:nvPicPr>
          <p:cNvPr id="83" name="Graphic 82" descr="Highway scene">
            <a:extLst>
              <a:ext uri="{FF2B5EF4-FFF2-40B4-BE49-F238E27FC236}">
                <a16:creationId xmlns:a16="http://schemas.microsoft.com/office/drawing/2014/main" id="{4E5AEADF-EE53-4194-922A-D68C3EAD61F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394239" y="3582671"/>
            <a:ext cx="490991" cy="490991"/>
          </a:xfrm>
          <a:prstGeom prst="rect">
            <a:avLst/>
          </a:prstGeom>
        </p:spPr>
      </p:pic>
      <p:sp>
        <p:nvSpPr>
          <p:cNvPr id="85" name="TextBox 84">
            <a:extLst>
              <a:ext uri="{FF2B5EF4-FFF2-40B4-BE49-F238E27FC236}">
                <a16:creationId xmlns:a16="http://schemas.microsoft.com/office/drawing/2014/main" id="{853AC3F1-AE88-4AFD-B9FC-78B6A007466B}"/>
              </a:ext>
            </a:extLst>
          </p:cNvPr>
          <p:cNvSpPr txBox="1"/>
          <p:nvPr/>
        </p:nvSpPr>
        <p:spPr>
          <a:xfrm>
            <a:off x="859436" y="5708199"/>
            <a:ext cx="1579730" cy="468250"/>
          </a:xfrm>
          <a:prstGeom prst="rect">
            <a:avLst/>
          </a:prstGeom>
          <a:noFill/>
        </p:spPr>
        <p:txBody>
          <a:bodyPr wrap="square" lIns="0" tIns="36462" rIns="0" bIns="0" rtlCol="0">
            <a:spAutoFit/>
          </a:bodyPr>
          <a:lstStyle/>
          <a:p>
            <a:pPr algn="ctr" defTabSz="911660">
              <a:lnSpc>
                <a:spcPct val="85000"/>
              </a:lnSpc>
              <a:spcAft>
                <a:spcPts val="600"/>
              </a:spcAft>
              <a:buClr>
                <a:srgbClr val="FFE600"/>
              </a:buClr>
              <a:buSzPct val="70000"/>
              <a:defRPr/>
            </a:pPr>
            <a:r>
              <a:rPr lang="nb-NO" sz="1099" kern="0">
                <a:solidFill>
                  <a:srgbClr val="000000"/>
                </a:solidFill>
                <a:latin typeface="EYInterstate Light"/>
              </a:rPr>
              <a:t>Ensidig næringsstruktur og manglende grad av omstilling - vi er sent ute</a:t>
            </a:r>
          </a:p>
        </p:txBody>
      </p:sp>
      <p:sp>
        <p:nvSpPr>
          <p:cNvPr id="86" name="Isosceles Triangle 85">
            <a:extLst>
              <a:ext uri="{FF2B5EF4-FFF2-40B4-BE49-F238E27FC236}">
                <a16:creationId xmlns:a16="http://schemas.microsoft.com/office/drawing/2014/main" id="{48AB63A2-F771-4A07-9116-B281FCEBF048}"/>
              </a:ext>
            </a:extLst>
          </p:cNvPr>
          <p:cNvSpPr/>
          <p:nvPr/>
        </p:nvSpPr>
        <p:spPr>
          <a:xfrm>
            <a:off x="1136892" y="4678282"/>
            <a:ext cx="980572" cy="957412"/>
          </a:xfrm>
          <a:prstGeom prst="triangle">
            <a:avLst/>
          </a:prstGeom>
          <a:solidFill>
            <a:schemeClr val="tx1"/>
          </a:solidFill>
          <a:ln w="57150">
            <a:solidFill>
              <a:schemeClr val="bg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3029">
              <a:defRPr/>
            </a:pPr>
            <a:endParaRPr lang="nb-NO" sz="1197">
              <a:solidFill>
                <a:srgbClr val="000000"/>
              </a:solidFill>
              <a:latin typeface="EYInterstate Light"/>
            </a:endParaRPr>
          </a:p>
        </p:txBody>
      </p:sp>
      <p:pic>
        <p:nvPicPr>
          <p:cNvPr id="110" name="Graphic 109" descr="Marketing">
            <a:extLst>
              <a:ext uri="{FF2B5EF4-FFF2-40B4-BE49-F238E27FC236}">
                <a16:creationId xmlns:a16="http://schemas.microsoft.com/office/drawing/2014/main" id="{97FF6B1E-D17D-454A-B394-1A74034CA2B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367920" y="5156691"/>
            <a:ext cx="518519" cy="518519"/>
          </a:xfrm>
          <a:prstGeom prst="rect">
            <a:avLst/>
          </a:prstGeom>
        </p:spPr>
      </p:pic>
      <p:sp>
        <p:nvSpPr>
          <p:cNvPr id="144" name="Isosceles Triangle 143">
            <a:extLst>
              <a:ext uri="{FF2B5EF4-FFF2-40B4-BE49-F238E27FC236}">
                <a16:creationId xmlns:a16="http://schemas.microsoft.com/office/drawing/2014/main" id="{3F43D120-46F2-4290-9D1C-1903FA52C0F1}"/>
              </a:ext>
            </a:extLst>
          </p:cNvPr>
          <p:cNvSpPr/>
          <p:nvPr/>
        </p:nvSpPr>
        <p:spPr>
          <a:xfrm>
            <a:off x="2864216" y="1550264"/>
            <a:ext cx="980572" cy="957412"/>
          </a:xfrm>
          <a:prstGeom prst="triangle">
            <a:avLst/>
          </a:prstGeom>
          <a:solidFill>
            <a:schemeClr val="tx1"/>
          </a:solidFill>
          <a:ln w="57150">
            <a:solidFill>
              <a:schemeClr val="bg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3029">
              <a:defRPr/>
            </a:pPr>
            <a:endParaRPr lang="nb-NO" sz="1197">
              <a:solidFill>
                <a:srgbClr val="000000"/>
              </a:solidFill>
              <a:latin typeface="EYInterstate Light"/>
            </a:endParaRP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DE9A6F9D-57CE-446E-B3B6-7CEBB7CED028}"/>
              </a:ext>
            </a:extLst>
          </p:cNvPr>
          <p:cNvSpPr txBox="1"/>
          <p:nvPr/>
        </p:nvSpPr>
        <p:spPr>
          <a:xfrm>
            <a:off x="2559452" y="2563572"/>
            <a:ext cx="1598912" cy="325464"/>
          </a:xfrm>
          <a:prstGeom prst="rect">
            <a:avLst/>
          </a:prstGeom>
          <a:noFill/>
        </p:spPr>
        <p:txBody>
          <a:bodyPr wrap="square" lIns="0" tIns="36462" rIns="0" bIns="0" rtlCol="0">
            <a:spAutoFit/>
          </a:bodyPr>
          <a:lstStyle/>
          <a:p>
            <a:pPr algn="ctr" defTabSz="911660">
              <a:lnSpc>
                <a:spcPct val="85000"/>
              </a:lnSpc>
              <a:spcAft>
                <a:spcPts val="600"/>
              </a:spcAft>
              <a:buClr>
                <a:srgbClr val="FFE600"/>
              </a:buClr>
              <a:buSzPct val="70000"/>
              <a:defRPr/>
            </a:pPr>
            <a:r>
              <a:rPr lang="nb-NO" sz="1099" kern="0">
                <a:solidFill>
                  <a:srgbClr val="000000"/>
                </a:solidFill>
                <a:latin typeface="EYInterstate Light"/>
              </a:rPr>
              <a:t>Infrastruktur som tilrettelegger for mobilitet</a:t>
            </a:r>
          </a:p>
        </p:txBody>
      </p:sp>
      <p:pic>
        <p:nvPicPr>
          <p:cNvPr id="95236" name="Picture 4" descr="Bildergebnis für road infrastructure png logo">
            <a:extLst>
              <a:ext uri="{FF2B5EF4-FFF2-40B4-BE49-F238E27FC236}">
                <a16:creationId xmlns:a16="http://schemas.microsoft.com/office/drawing/2014/main" id="{084506DA-3F6F-4C57-844F-6934E455FD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071" y="2091152"/>
            <a:ext cx="492200" cy="3528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Isosceles Triangle 34">
            <a:extLst>
              <a:ext uri="{FF2B5EF4-FFF2-40B4-BE49-F238E27FC236}">
                <a16:creationId xmlns:a16="http://schemas.microsoft.com/office/drawing/2014/main" id="{72C593C3-1FFF-465D-87C4-E3E6E9319EB4}"/>
              </a:ext>
            </a:extLst>
          </p:cNvPr>
          <p:cNvSpPr/>
          <p:nvPr/>
        </p:nvSpPr>
        <p:spPr>
          <a:xfrm>
            <a:off x="4684046" y="1553707"/>
            <a:ext cx="980572" cy="957412"/>
          </a:xfrm>
          <a:prstGeom prst="triangle">
            <a:avLst/>
          </a:prstGeom>
          <a:solidFill>
            <a:schemeClr val="tx1"/>
          </a:solidFill>
          <a:ln w="57150">
            <a:solidFill>
              <a:schemeClr val="bg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3029">
              <a:defRPr/>
            </a:pPr>
            <a:endParaRPr lang="nb-NO" sz="1197">
              <a:solidFill>
                <a:srgbClr val="000000"/>
              </a:solidFill>
              <a:latin typeface="EYInterstate Light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071382C-321B-4A9F-B202-FB6022DEF0AD}"/>
              </a:ext>
            </a:extLst>
          </p:cNvPr>
          <p:cNvSpPr txBox="1"/>
          <p:nvPr/>
        </p:nvSpPr>
        <p:spPr>
          <a:xfrm>
            <a:off x="4369700" y="2580603"/>
            <a:ext cx="1579730" cy="324439"/>
          </a:xfrm>
          <a:prstGeom prst="rect">
            <a:avLst/>
          </a:prstGeom>
          <a:noFill/>
        </p:spPr>
        <p:txBody>
          <a:bodyPr wrap="square" lIns="0" tIns="36462" rIns="0" bIns="0" rtlCol="0">
            <a:spAutoFit/>
          </a:bodyPr>
          <a:lstStyle/>
          <a:p>
            <a:pPr algn="ctr" defTabSz="911660">
              <a:lnSpc>
                <a:spcPct val="85000"/>
              </a:lnSpc>
              <a:spcAft>
                <a:spcPts val="600"/>
              </a:spcAft>
              <a:buClr>
                <a:srgbClr val="FFE600"/>
              </a:buClr>
              <a:buSzPct val="70000"/>
              <a:defRPr/>
            </a:pPr>
            <a:r>
              <a:rPr lang="nb-NO" sz="1099" kern="0">
                <a:solidFill>
                  <a:srgbClr val="000000"/>
                </a:solidFill>
                <a:latin typeface="EYInterstate Light"/>
              </a:rPr>
              <a:t>Mangel på kvalifisert </a:t>
            </a:r>
            <a:br>
              <a:rPr lang="nb-NO" sz="1099" kern="0">
                <a:solidFill>
                  <a:srgbClr val="000000"/>
                </a:solidFill>
                <a:latin typeface="EYInterstate Light"/>
              </a:rPr>
            </a:br>
            <a:r>
              <a:rPr lang="nb-NO" sz="1099" kern="0">
                <a:solidFill>
                  <a:srgbClr val="000000"/>
                </a:solidFill>
                <a:latin typeface="EYInterstate Light"/>
              </a:rPr>
              <a:t>arbeidskraft</a:t>
            </a:r>
          </a:p>
        </p:txBody>
      </p:sp>
      <p:pic>
        <p:nvPicPr>
          <p:cNvPr id="39" name="Graphic 38" descr="Head with gears">
            <a:extLst>
              <a:ext uri="{FF2B5EF4-FFF2-40B4-BE49-F238E27FC236}">
                <a16:creationId xmlns:a16="http://schemas.microsoft.com/office/drawing/2014/main" id="{A8121267-B6DC-4A40-9FBE-BB25E8FBC724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4935147" y="1987354"/>
            <a:ext cx="482872" cy="482872"/>
          </a:xfrm>
          <a:prstGeom prst="rect">
            <a:avLst/>
          </a:prstGeom>
        </p:spPr>
      </p:pic>
      <p:sp>
        <p:nvSpPr>
          <p:cNvPr id="15" name="Parallelogram 14">
            <a:extLst>
              <a:ext uri="{FF2B5EF4-FFF2-40B4-BE49-F238E27FC236}">
                <a16:creationId xmlns:a16="http://schemas.microsoft.com/office/drawing/2014/main" id="{85BCDFBD-992C-427E-B8BA-B11A6D8B0D4B}"/>
              </a:ext>
            </a:extLst>
          </p:cNvPr>
          <p:cNvSpPr/>
          <p:nvPr/>
        </p:nvSpPr>
        <p:spPr>
          <a:xfrm>
            <a:off x="5967758" y="1785"/>
            <a:ext cx="1441088" cy="6851256"/>
          </a:xfrm>
          <a:prstGeom prst="parallelogram">
            <a:avLst/>
          </a:prstGeom>
          <a:solidFill>
            <a:schemeClr val="tx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3943">
              <a:defRPr/>
            </a:pPr>
            <a:endParaRPr lang="en-US" sz="1199">
              <a:solidFill>
                <a:srgbClr val="FFFFFF"/>
              </a:solidFill>
              <a:latin typeface="EYInterstate Ligh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C3DCB39-C6EB-4BC1-BEBC-2B1DC1B89EB8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07654" y="489747"/>
            <a:ext cx="6599019" cy="558896"/>
          </a:xfrm>
        </p:spPr>
        <p:txBody>
          <a:bodyPr vert="horz"/>
          <a:lstStyle/>
          <a:p>
            <a:r>
              <a:rPr lang="nb-NO"/>
              <a:t>For å realisere overgangen til Nordhordland 2.0 kreves det en felles mobilisering for å forsere følgende identifiserte barrierer</a:t>
            </a:r>
          </a:p>
        </p:txBody>
      </p:sp>
    </p:spTree>
    <p:extLst>
      <p:ext uri="{BB962C8B-B14F-4D97-AF65-F5344CB8AC3E}">
        <p14:creationId xmlns:p14="http://schemas.microsoft.com/office/powerpoint/2010/main" val="42806863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Sylinder 1">
            <a:extLst>
              <a:ext uri="{FF2B5EF4-FFF2-40B4-BE49-F238E27FC236}">
                <a16:creationId xmlns:a16="http://schemas.microsoft.com/office/drawing/2014/main" id="{D3DE330A-705B-415A-A6F5-E2144ADCBC3F}"/>
              </a:ext>
            </a:extLst>
          </p:cNvPr>
          <p:cNvSpPr txBox="1"/>
          <p:nvPr/>
        </p:nvSpPr>
        <p:spPr>
          <a:xfrm>
            <a:off x="666609" y="318444"/>
            <a:ext cx="101020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0" i="0" u="none" strike="noStrike" kern="1200" cap="none" spc="0" normalizeH="0" baseline="0" noProof="0" dirty="0">
                <a:ln>
                  <a:noFill/>
                </a:ln>
                <a:solidFill>
                  <a:srgbClr val="00305B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Norges Bank sin forventningsundersøkelse – 1. kvartal 2022</a:t>
            </a:r>
          </a:p>
        </p:txBody>
      </p:sp>
      <p:cxnSp>
        <p:nvCxnSpPr>
          <p:cNvPr id="6" name="Straight Connector 16">
            <a:extLst>
              <a:ext uri="{FF2B5EF4-FFF2-40B4-BE49-F238E27FC236}">
                <a16:creationId xmlns:a16="http://schemas.microsoft.com/office/drawing/2014/main" id="{CACC7A05-8CA6-4592-803F-9B6C739CEB11}"/>
              </a:ext>
            </a:extLst>
          </p:cNvPr>
          <p:cNvCxnSpPr>
            <a:cxnSpLocks/>
          </p:cNvCxnSpPr>
          <p:nvPr/>
        </p:nvCxnSpPr>
        <p:spPr>
          <a:xfrm>
            <a:off x="1" y="1039290"/>
            <a:ext cx="12191999" cy="0"/>
          </a:xfrm>
          <a:prstGeom prst="line">
            <a:avLst/>
          </a:prstGeom>
          <a:noFill/>
          <a:ln w="6350" cap="flat" cmpd="sng" algn="ctr">
            <a:solidFill>
              <a:srgbClr val="002060"/>
            </a:solidFill>
            <a:prstDash val="solid"/>
            <a:miter lim="800000"/>
          </a:ln>
          <a:effectLst/>
        </p:spPr>
      </p:cxnSp>
      <p:cxnSp>
        <p:nvCxnSpPr>
          <p:cNvPr id="7" name="Straight Connector 16">
            <a:extLst>
              <a:ext uri="{FF2B5EF4-FFF2-40B4-BE49-F238E27FC236}">
                <a16:creationId xmlns:a16="http://schemas.microsoft.com/office/drawing/2014/main" id="{728BD1EC-2BC1-4778-9FFE-7F72E4BBEBD5}"/>
              </a:ext>
            </a:extLst>
          </p:cNvPr>
          <p:cNvCxnSpPr>
            <a:cxnSpLocks/>
          </p:cNvCxnSpPr>
          <p:nvPr/>
        </p:nvCxnSpPr>
        <p:spPr>
          <a:xfrm>
            <a:off x="0" y="6176963"/>
            <a:ext cx="12191999" cy="0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miter lim="800000"/>
          </a:ln>
          <a:effectLst/>
        </p:spPr>
      </p:cxnSp>
      <p:pic>
        <p:nvPicPr>
          <p:cNvPr id="8" name="Bilde 7">
            <a:extLst>
              <a:ext uri="{FF2B5EF4-FFF2-40B4-BE49-F238E27FC236}">
                <a16:creationId xmlns:a16="http://schemas.microsoft.com/office/drawing/2014/main" id="{7B63CD3C-6BA1-4499-8FC5-8FA7CE9C21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43820" y="6267608"/>
            <a:ext cx="1045193" cy="519371"/>
          </a:xfrm>
          <a:prstGeom prst="rect">
            <a:avLst/>
          </a:prstGeom>
        </p:spPr>
      </p:pic>
      <p:pic>
        <p:nvPicPr>
          <p:cNvPr id="5" name="Bilde 4">
            <a:extLst>
              <a:ext uri="{FF2B5EF4-FFF2-40B4-BE49-F238E27FC236}">
                <a16:creationId xmlns:a16="http://schemas.microsoft.com/office/drawing/2014/main" id="{DD2DE185-4C25-6B85-C27A-3A091660256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1507" t="27830" r="23253" b="30266"/>
          <a:stretch/>
        </p:blipFill>
        <p:spPr>
          <a:xfrm>
            <a:off x="1965643" y="1327561"/>
            <a:ext cx="8724117" cy="4758758"/>
          </a:xfrm>
          <a:prstGeom prst="rect">
            <a:avLst/>
          </a:prstGeom>
        </p:spPr>
      </p:pic>
      <p:sp>
        <p:nvSpPr>
          <p:cNvPr id="10" name="TekstSylinder 9">
            <a:extLst>
              <a:ext uri="{FF2B5EF4-FFF2-40B4-BE49-F238E27FC236}">
                <a16:creationId xmlns:a16="http://schemas.microsoft.com/office/drawing/2014/main" id="{B062B7C5-162D-8B5E-31B5-3A77DDE64E05}"/>
              </a:ext>
            </a:extLst>
          </p:cNvPr>
          <p:cNvSpPr txBox="1"/>
          <p:nvPr/>
        </p:nvSpPr>
        <p:spPr>
          <a:xfrm>
            <a:off x="10689760" y="3886466"/>
            <a:ext cx="13430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Noe pessimisme</a:t>
            </a:r>
          </a:p>
        </p:txBody>
      </p:sp>
      <p:sp>
        <p:nvSpPr>
          <p:cNvPr id="11" name="Pil: venstre 10">
            <a:extLst>
              <a:ext uri="{FF2B5EF4-FFF2-40B4-BE49-F238E27FC236}">
                <a16:creationId xmlns:a16="http://schemas.microsoft.com/office/drawing/2014/main" id="{4863D116-4D72-7D27-3AB1-688C48EDFCEB}"/>
              </a:ext>
            </a:extLst>
          </p:cNvPr>
          <p:cNvSpPr/>
          <p:nvPr/>
        </p:nvSpPr>
        <p:spPr>
          <a:xfrm rot="744771">
            <a:off x="10576143" y="3706963"/>
            <a:ext cx="361069" cy="47275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Pil: venstre 11">
            <a:extLst>
              <a:ext uri="{FF2B5EF4-FFF2-40B4-BE49-F238E27FC236}">
                <a16:creationId xmlns:a16="http://schemas.microsoft.com/office/drawing/2014/main" id="{E55159FC-D88B-4F69-6FB6-46F878CFED4F}"/>
              </a:ext>
            </a:extLst>
          </p:cNvPr>
          <p:cNvSpPr/>
          <p:nvPr/>
        </p:nvSpPr>
        <p:spPr>
          <a:xfrm rot="19989078" flipV="1">
            <a:off x="10562880" y="4298412"/>
            <a:ext cx="374914" cy="45719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083687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0685878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Undertittel 6">
            <a:extLst>
              <a:ext uri="{FF2B5EF4-FFF2-40B4-BE49-F238E27FC236}">
                <a16:creationId xmlns:a16="http://schemas.microsoft.com/office/drawing/2014/main" id="{5B1AF2F0-93D6-4654-BFD4-D30BA63CC74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327910" y="3455223"/>
            <a:ext cx="7387868" cy="2743778"/>
          </a:xfrm>
        </p:spPr>
        <p:txBody>
          <a:bodyPr>
            <a:normAutofit/>
          </a:bodyPr>
          <a:lstStyle/>
          <a:p>
            <a:pPr algn="l"/>
            <a:endParaRPr lang="nb-NO" b="0" i="0">
              <a:solidFill>
                <a:srgbClr val="000000"/>
              </a:solidFill>
              <a:effectLst/>
              <a:latin typeface="Mulish"/>
            </a:endParaRPr>
          </a:p>
          <a:p>
            <a:pPr algn="l"/>
            <a:endParaRPr lang="nb-NO" b="0" i="0">
              <a:solidFill>
                <a:srgbClr val="000000"/>
              </a:solidFill>
              <a:effectLst/>
              <a:latin typeface="Mulish"/>
            </a:endParaRPr>
          </a:p>
          <a:p>
            <a:pPr algn="l"/>
            <a:endParaRPr lang="nb-NO" b="0" i="0">
              <a:solidFill>
                <a:srgbClr val="000000"/>
              </a:solidFill>
              <a:effectLst/>
              <a:latin typeface="Mulish"/>
            </a:endParaRPr>
          </a:p>
          <a:p>
            <a:pPr algn="l"/>
            <a:endParaRPr lang="nb-NO">
              <a:solidFill>
                <a:srgbClr val="000000"/>
              </a:solidFill>
              <a:latin typeface="Mulish"/>
            </a:endParaRPr>
          </a:p>
          <a:p>
            <a:pPr algn="l"/>
            <a:endParaRPr lang="nb-NO" b="0" i="0">
              <a:solidFill>
                <a:srgbClr val="000000"/>
              </a:solidFill>
              <a:effectLst/>
              <a:latin typeface="Mulish"/>
            </a:endParaRPr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EF305936-B223-42CF-AE92-7E973417AFE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62300" y="1814636"/>
            <a:ext cx="5369496" cy="1384995"/>
          </a:xfrm>
        </p:spPr>
        <p:txBody>
          <a:bodyPr/>
          <a:lstStyle/>
          <a:p>
            <a:pPr algn="ctr"/>
            <a:r>
              <a:rPr lang="nb-NO"/>
              <a:t>Visjon</a:t>
            </a:r>
          </a:p>
        </p:txBody>
      </p:sp>
      <p:sp>
        <p:nvSpPr>
          <p:cNvPr id="8" name="Undertittel 5">
            <a:extLst>
              <a:ext uri="{FF2B5EF4-FFF2-40B4-BE49-F238E27FC236}">
                <a16:creationId xmlns:a16="http://schemas.microsoft.com/office/drawing/2014/main" id="{63A654D3-4C34-4D7A-BF38-58EBAC2C9931}"/>
              </a:ext>
            </a:extLst>
          </p:cNvPr>
          <p:cNvSpPr txBox="1">
            <a:spLocks/>
          </p:cNvSpPr>
          <p:nvPr/>
        </p:nvSpPr>
        <p:spPr>
          <a:xfrm>
            <a:off x="3262300" y="3819750"/>
            <a:ext cx="5369496" cy="73866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E8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ulish"/>
                <a:ea typeface="+mn-ea"/>
                <a:cs typeface="+mn-cs"/>
              </a:rPr>
              <a:t>«Tett på utviklingen – tett på menneskene»</a:t>
            </a: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eorgi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803622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FFB452F6-3869-4249-B3DA-58A3912D7EB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28104" y="1100588"/>
            <a:ext cx="5040630" cy="4265673"/>
          </a:xfrm>
        </p:spPr>
        <p:txBody>
          <a:bodyPr vert="horz" lIns="0" tIns="0" rIns="0" bIns="0" rtlCol="0" anchor="t">
            <a:noAutofit/>
          </a:bodyPr>
          <a:lstStyle/>
          <a:p>
            <a:pPr marL="179705" indent="-179705"/>
            <a:r>
              <a:rPr lang="nb-NO" sz="1800">
                <a:latin typeface="Mulish"/>
              </a:rPr>
              <a:t>Folketallet pr 4.kvartal 2021 var 29 816 innbyggere.</a:t>
            </a:r>
            <a:endParaRPr lang="nb-NO"/>
          </a:p>
          <a:p>
            <a:pPr marL="0" indent="0">
              <a:buNone/>
            </a:pPr>
            <a:endParaRPr lang="nb-NO" sz="1800">
              <a:latin typeface="Mulish"/>
            </a:endParaRPr>
          </a:p>
          <a:p>
            <a:pPr marL="0" indent="0">
              <a:buNone/>
            </a:pPr>
            <a:r>
              <a:rPr lang="nb-NO" sz="1800">
                <a:latin typeface="Mulish"/>
              </a:rPr>
              <a:t>Prognosen er utarbeidet i to alternativer: </a:t>
            </a:r>
            <a:br>
              <a:rPr lang="nb-NO" sz="1800">
                <a:latin typeface="Mulish"/>
              </a:rPr>
            </a:br>
            <a:endParaRPr lang="nb-NO" sz="1800">
              <a:latin typeface="Mulish"/>
            </a:endParaRPr>
          </a:p>
          <a:p>
            <a:pPr marL="179705" indent="-179705"/>
            <a:r>
              <a:rPr lang="nb-NO" sz="1800">
                <a:latin typeface="Mulish"/>
              </a:rPr>
              <a:t>Normal-alternativet legger til grunn dagens utbyggingsmønster der krav om skolekapasitet begrenser boligbyggingen i enkelte skolekretser. </a:t>
            </a:r>
          </a:p>
          <a:p>
            <a:pPr marL="360045" lvl="1" indent="-179705"/>
            <a:r>
              <a:rPr lang="nb-NO" sz="1800">
                <a:latin typeface="Mulish"/>
              </a:rPr>
              <a:t>Dette alternativet estimerer en gjennomsnittlig årlig vekst på 1,2 prosent.</a:t>
            </a:r>
          </a:p>
          <a:p>
            <a:pPr marL="179705" indent="-179705"/>
            <a:endParaRPr lang="nb-NO" sz="1800">
              <a:latin typeface="Mulish"/>
            </a:endParaRPr>
          </a:p>
          <a:p>
            <a:pPr marL="179705" indent="-179705"/>
            <a:r>
              <a:rPr lang="nb-NO" sz="1800">
                <a:latin typeface="Mulish"/>
              </a:rPr>
              <a:t>Høy-alternativet forutsetter at det er tilstrekkelig skolekapasitet i alle kretser og at en får bygd ut større del av boligkapasiteten. </a:t>
            </a:r>
          </a:p>
          <a:p>
            <a:pPr marL="360045" lvl="1" indent="-179705"/>
            <a:r>
              <a:rPr lang="nb-NO" sz="1800">
                <a:latin typeface="Mulish"/>
              </a:rPr>
              <a:t>Denne prognosen estimerer en gjennomsnittlig årlig prosentvis vekst på 2,1 prosent.</a:t>
            </a:r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DC453E68-03B1-41AC-9E02-D9C6535FA8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105" y="385832"/>
            <a:ext cx="9450632" cy="1137235"/>
          </a:xfrm>
        </p:spPr>
        <p:txBody>
          <a:bodyPr/>
          <a:lstStyle/>
          <a:p>
            <a:r>
              <a:rPr lang="nb-NO"/>
              <a:t>Befolkningsutvikling og prognose </a:t>
            </a:r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E12253AF-0204-4EF4-8A25-E3782B56D2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60152" y="2052259"/>
            <a:ext cx="5917674" cy="3698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837533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0D893E5D-2288-4783-A886-FAF59591650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28103" y="1872870"/>
            <a:ext cx="6321844" cy="4924539"/>
          </a:xfrm>
        </p:spPr>
        <p:txBody>
          <a:bodyPr vert="horz" lIns="0" tIns="0" rIns="0" bIns="0" rtlCol="0" anchor="t">
            <a:noAutofit/>
          </a:bodyPr>
          <a:lstStyle/>
          <a:p>
            <a:pPr marL="179705" indent="-179705">
              <a:lnSpc>
                <a:spcPct val="90000"/>
              </a:lnSpc>
            </a:pPr>
            <a:r>
              <a:rPr lang="nb-NO" sz="1800" b="1" i="1">
                <a:solidFill>
                  <a:srgbClr val="FF0000"/>
                </a:solidFill>
                <a:latin typeface="Mulish"/>
              </a:rPr>
              <a:t>Kommunen ligger suverent på topp, sammen med tidligere Os kommune, når det gjelder etablering av nye arbeidsplasser. 10 prosent økning siste fire år. </a:t>
            </a:r>
          </a:p>
          <a:p>
            <a:pPr marL="179705" indent="-179705">
              <a:lnSpc>
                <a:spcPct val="90000"/>
              </a:lnSpc>
            </a:pPr>
            <a:r>
              <a:rPr lang="nb-NO" sz="1800">
                <a:latin typeface="Mulish"/>
              </a:rPr>
              <a:t>2/3 av veksten i arbeidsplasser er kommet i privat sektor.</a:t>
            </a:r>
          </a:p>
          <a:p>
            <a:pPr marL="179705" indent="-179705">
              <a:lnSpc>
                <a:spcPct val="90000"/>
              </a:lnSpc>
            </a:pPr>
            <a:r>
              <a:rPr lang="nb-NO" sz="1800">
                <a:latin typeface="Mulish"/>
                <a:ea typeface="+mn-lt"/>
                <a:cs typeface="+mn-lt"/>
              </a:rPr>
              <a:t>Askøy har en ung og voksende befolkning, og derfor gode forutsetninger for å få til økt lokal verdiskapning og flere arbeidsplasser.</a:t>
            </a:r>
            <a:endParaRPr lang="nb-NO" sz="1800">
              <a:latin typeface="Mulish"/>
            </a:endParaRPr>
          </a:p>
          <a:p>
            <a:pPr marL="179705" indent="-179705">
              <a:lnSpc>
                <a:spcPct val="90000"/>
              </a:lnSpc>
            </a:pPr>
            <a:r>
              <a:rPr lang="nb-NO" sz="1800">
                <a:latin typeface="Mulish"/>
                <a:ea typeface="+mn-lt"/>
                <a:cs typeface="+mn-lt"/>
              </a:rPr>
              <a:t>Kommunen ønsker å ha en langt mer aktiv rolle i å stimulere til sterkere næringsvekst gjennom ulike aktive og utadrettede tiltak. </a:t>
            </a:r>
            <a:endParaRPr lang="nb-NO" sz="1800">
              <a:latin typeface="Mulish"/>
            </a:endParaRPr>
          </a:p>
          <a:p>
            <a:pPr marL="179705" indent="-179705">
              <a:lnSpc>
                <a:spcPct val="90000"/>
              </a:lnSpc>
            </a:pPr>
            <a:r>
              <a:rPr lang="nb-NO" sz="1800">
                <a:latin typeface="Mulish"/>
                <a:ea typeface="+mn-lt"/>
                <a:cs typeface="+mn-lt"/>
              </a:rPr>
              <a:t>En god utviklingsrolle vil normalt kreve at det er  kommunikasjon og tillit mellom kommune og næringsliv, slik at tiltakene virker mobiliserende. Det forutsetter at kommunen er aktiv med å skape møteplasser og dialog. Ett av tiltakene har vært å ansatte en næringsutvikler.</a:t>
            </a:r>
            <a:endParaRPr lang="nb-NO" sz="1800">
              <a:latin typeface="Mulish"/>
            </a:endParaRPr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E7E6A52A-F72C-4492-A12E-CD8E326002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103" y="540068"/>
            <a:ext cx="10513314" cy="1137235"/>
          </a:xfrm>
        </p:spPr>
        <p:txBody>
          <a:bodyPr anchor="t">
            <a:normAutofit/>
          </a:bodyPr>
          <a:lstStyle/>
          <a:p>
            <a:r>
              <a:rPr lang="nb-NO"/>
              <a:t>Næringsutvikling</a:t>
            </a:r>
          </a:p>
        </p:txBody>
      </p:sp>
      <p:pic>
        <p:nvPicPr>
          <p:cNvPr id="2" name="Picture 4">
            <a:extLst>
              <a:ext uri="{FF2B5EF4-FFF2-40B4-BE49-F238E27FC236}">
                <a16:creationId xmlns:a16="http://schemas.microsoft.com/office/drawing/2014/main" id="{2525085A-0E72-6FFF-667B-EA40B37CFC2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1238" y="3424238"/>
            <a:ext cx="9525" cy="9525"/>
          </a:xfrm>
          <a:prstGeom prst="rect">
            <a:avLst/>
          </a:prstGeom>
        </p:spPr>
      </p:pic>
      <p:pic>
        <p:nvPicPr>
          <p:cNvPr id="5" name="Picture 5">
            <a:extLst>
              <a:ext uri="{FF2B5EF4-FFF2-40B4-BE49-F238E27FC236}">
                <a16:creationId xmlns:a16="http://schemas.microsoft.com/office/drawing/2014/main" id="{49BACC05-A1BB-E281-E3D9-70714C1A95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1238" y="3424238"/>
            <a:ext cx="9525" cy="9525"/>
          </a:xfrm>
          <a:prstGeom prst="rect">
            <a:avLst/>
          </a:prstGeom>
        </p:spPr>
      </p:pic>
      <p:pic>
        <p:nvPicPr>
          <p:cNvPr id="6" name="Picture 6">
            <a:extLst>
              <a:ext uri="{FF2B5EF4-FFF2-40B4-BE49-F238E27FC236}">
                <a16:creationId xmlns:a16="http://schemas.microsoft.com/office/drawing/2014/main" id="{070FB370-D02D-7D2F-EB61-D425DC89D7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1238" y="3424238"/>
            <a:ext cx="9525" cy="9525"/>
          </a:xfrm>
          <a:prstGeom prst="rect">
            <a:avLst/>
          </a:prstGeom>
        </p:spPr>
      </p:pic>
      <p:pic>
        <p:nvPicPr>
          <p:cNvPr id="8" name="Picture 9">
            <a:extLst>
              <a:ext uri="{FF2B5EF4-FFF2-40B4-BE49-F238E27FC236}">
                <a16:creationId xmlns:a16="http://schemas.microsoft.com/office/drawing/2014/main" id="{4E0A1E8A-465D-861B-A4C0-47832CE4C3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37574" y="3366996"/>
            <a:ext cx="4737275" cy="2593135"/>
          </a:xfrm>
          <a:prstGeom prst="rect">
            <a:avLst/>
          </a:prstGeom>
        </p:spPr>
      </p:pic>
      <p:sp>
        <p:nvSpPr>
          <p:cNvPr id="7" name="TekstSylinder 6">
            <a:extLst>
              <a:ext uri="{FF2B5EF4-FFF2-40B4-BE49-F238E27FC236}">
                <a16:creationId xmlns:a16="http://schemas.microsoft.com/office/drawing/2014/main" id="{B99BB10A-AE03-45DA-A1A2-8C7641E895D3}"/>
              </a:ext>
            </a:extLst>
          </p:cNvPr>
          <p:cNvSpPr txBox="1"/>
          <p:nvPr/>
        </p:nvSpPr>
        <p:spPr>
          <a:xfrm>
            <a:off x="739969" y="1264761"/>
            <a:ext cx="10849776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705" marR="0" lvl="0" indent="-17970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lish"/>
                <a:ea typeface="+mn-ea"/>
                <a:cs typeface="+mn-cs"/>
              </a:rPr>
              <a:t>Askøy har over lengre tid hatt en positiv utvikling når det gjelder næringsetableringer og økning i arbeidsplasser. 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ulish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541168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4DDB2948-4C49-4A67-8005-3C0EB3E62C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28104" y="2052259"/>
            <a:ext cx="5040630" cy="3780473"/>
          </a:xfrm>
        </p:spPr>
        <p:txBody>
          <a:bodyPr vert="horz" lIns="0" tIns="0" rIns="0" bIns="0" rtlCol="0" anchor="t">
            <a:normAutofit/>
          </a:bodyPr>
          <a:lstStyle/>
          <a:p>
            <a:pPr marL="179705" indent="-179705">
              <a:lnSpc>
                <a:spcPct val="90000"/>
              </a:lnSpc>
            </a:pPr>
            <a:r>
              <a:rPr lang="nb-NO" sz="1800">
                <a:latin typeface="Mulish"/>
              </a:rPr>
              <a:t>02.12.2021 vedtok Utvalg for teknikk og miljø Sentrumsplanen for Askøy.</a:t>
            </a:r>
            <a:endParaRPr lang="nb-NO"/>
          </a:p>
          <a:p>
            <a:pPr marL="179705" indent="-179705">
              <a:lnSpc>
                <a:spcPct val="90000"/>
              </a:lnSpc>
            </a:pPr>
            <a:r>
              <a:rPr lang="nb-NO" sz="1800">
                <a:latin typeface="Mulish"/>
              </a:rPr>
              <a:t>Mål: Kleppestø skal utvikles til et sentrum der det er attraktivt for mennesker å bo, møtes og arbeide, der myke trafikanter prioriteres.</a:t>
            </a:r>
          </a:p>
          <a:p>
            <a:pPr marL="179705" indent="-179705">
              <a:lnSpc>
                <a:spcPct val="90000"/>
              </a:lnSpc>
            </a:pPr>
            <a:r>
              <a:rPr lang="nb-NO" sz="1800">
                <a:latin typeface="Mulish"/>
              </a:rPr>
              <a:t>Våren 2022 pågår det medvirkningsarbeid og utarbeidelse av annet kunnskapsgrunnlag for planarbeidet. </a:t>
            </a:r>
          </a:p>
          <a:p>
            <a:pPr marL="179705" indent="-179705">
              <a:lnSpc>
                <a:spcPct val="90000"/>
              </a:lnSpc>
            </a:pPr>
            <a:r>
              <a:rPr lang="nb-NO" sz="1800" b="1" i="1">
                <a:solidFill>
                  <a:srgbClr val="FF0000"/>
                </a:solidFill>
                <a:latin typeface="Mulish"/>
              </a:rPr>
              <a:t>Forventet 1. gangs behandling av sentrumsplanen er ved årsskiftet 2022/2023. </a:t>
            </a:r>
          </a:p>
          <a:p>
            <a:pPr marL="179705" indent="-179705">
              <a:lnSpc>
                <a:spcPct val="90000"/>
              </a:lnSpc>
            </a:pPr>
            <a:endParaRPr lang="nb-NO" sz="2000"/>
          </a:p>
        </p:txBody>
      </p:sp>
      <p:sp>
        <p:nvSpPr>
          <p:cNvPr id="6" name="Tittel 5">
            <a:extLst>
              <a:ext uri="{FF2B5EF4-FFF2-40B4-BE49-F238E27FC236}">
                <a16:creationId xmlns:a16="http://schemas.microsoft.com/office/drawing/2014/main" id="{D9C807DE-00F7-40F0-97A1-2B7BB86167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105" y="540068"/>
            <a:ext cx="5040630" cy="1137235"/>
          </a:xfrm>
        </p:spPr>
        <p:txBody>
          <a:bodyPr anchor="t">
            <a:normAutofit/>
          </a:bodyPr>
          <a:lstStyle/>
          <a:p>
            <a:r>
              <a:rPr lang="nb-NO"/>
              <a:t>Kleppestøplanen</a:t>
            </a: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EEA6ECC8-7D4D-48F0-97E8-7AC25BD692B0}"/>
              </a:ext>
            </a:extLst>
          </p:cNvPr>
          <p:cNvSpPr txBox="1"/>
          <p:nvPr/>
        </p:nvSpPr>
        <p:spPr>
          <a:xfrm>
            <a:off x="5891269" y="5442326"/>
            <a:ext cx="4178147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1" i="0" u="none" strike="noStrike" kern="1200" cap="none" spc="0" normalizeH="0" baseline="0" noProof="0">
                <a:ln>
                  <a:noFill/>
                </a:ln>
                <a:solidFill>
                  <a:srgbClr val="6D6C6C"/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Foto: Marit </a:t>
            </a:r>
            <a:r>
              <a:rPr kumimoji="0" lang="nb-NO" sz="1050" b="1" i="0" u="none" strike="noStrike" kern="1200" cap="none" spc="0" normalizeH="0" baseline="0" noProof="0" err="1">
                <a:ln>
                  <a:noFill/>
                </a:ln>
                <a:solidFill>
                  <a:srgbClr val="6D6C6C"/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Kalgraf</a:t>
            </a:r>
            <a:endParaRPr kumimoji="0" lang="nb-NO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eorgia"/>
              <a:ea typeface="+mn-ea"/>
              <a:cs typeface="+mn-cs"/>
            </a:endParaRP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2CE6AB53-5020-485E-9CA3-31F02FD442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2359" y="2052259"/>
            <a:ext cx="6092128" cy="3427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8484077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4581C366-39AA-4C65-8906-49B6821699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59210"/>
            <a:ext cx="12192000" cy="602133"/>
          </a:xfrm>
        </p:spPr>
        <p:txBody>
          <a:bodyPr/>
          <a:lstStyle/>
          <a:p>
            <a:pPr algn="ctr"/>
            <a:r>
              <a:rPr lang="nb-NO" err="1"/>
              <a:t>Kildn</a:t>
            </a:r>
            <a:r>
              <a:rPr lang="nb-NO"/>
              <a:t>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AF1674C-296C-4336-B54F-BCC1870355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1249" y="2459736"/>
            <a:ext cx="5927882" cy="3334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A9C25D4D-53E6-4CEF-97BF-AC845B714962}"/>
              </a:ext>
            </a:extLst>
          </p:cNvPr>
          <p:cNvSpPr txBox="1"/>
          <p:nvPr/>
        </p:nvSpPr>
        <p:spPr>
          <a:xfrm>
            <a:off x="0" y="1199671"/>
            <a:ext cx="1219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lish"/>
                <a:ea typeface="+mn-ea"/>
                <a:cs typeface="+mn-cs"/>
              </a:rPr>
              <a:t>I tillegg til å være verdens første nullutslippshavn planlegger </a:t>
            </a:r>
            <a:r>
              <a:rPr kumimoji="0" lang="nb-NO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lish"/>
                <a:ea typeface="+mn-ea"/>
                <a:cs typeface="+mn-cs"/>
              </a:rPr>
              <a:t>Kildn</a:t>
            </a: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lish"/>
                <a:ea typeface="+mn-ea"/>
                <a:cs typeface="+mn-cs"/>
              </a:rPr>
              <a:t> å etablere et bredt tilbud til både lokalbefolkning, næringsliv og turister. </a:t>
            </a:r>
          </a:p>
        </p:txBody>
      </p:sp>
      <p:pic>
        <p:nvPicPr>
          <p:cNvPr id="7" name="Bilde 6" descr="Et bilde som inneholder tekst, kjede&#10;&#10;Automatisk generert beskrivelse">
            <a:extLst>
              <a:ext uri="{FF2B5EF4-FFF2-40B4-BE49-F238E27FC236}">
                <a16:creationId xmlns:a16="http://schemas.microsoft.com/office/drawing/2014/main" id="{AF62AE31-A94F-4A29-8463-974C31337F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004" y="2459736"/>
            <a:ext cx="5922618" cy="3334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3178833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 descr="Et bilde som inneholder vann, utendørs, himmel, båt&#10;&#10;Automatisk generert beskrivelse">
            <a:extLst>
              <a:ext uri="{FF2B5EF4-FFF2-40B4-BE49-F238E27FC236}">
                <a16:creationId xmlns:a16="http://schemas.microsoft.com/office/drawing/2014/main" id="{6A903670-A87E-F845-4475-E365529146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712017"/>
          </a:xfrm>
          <a:prstGeom prst="rect">
            <a:avLst/>
          </a:prstGeom>
        </p:spPr>
      </p:pic>
      <p:pic>
        <p:nvPicPr>
          <p:cNvPr id="5" name="Bilde 4">
            <a:extLst>
              <a:ext uri="{FF2B5EF4-FFF2-40B4-BE49-F238E27FC236}">
                <a16:creationId xmlns:a16="http://schemas.microsoft.com/office/drawing/2014/main" id="{93A6F1C1-72B6-4C48-388E-A5BEA988722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77513" r="3700"/>
          <a:stretch/>
        </p:blipFill>
        <p:spPr>
          <a:xfrm>
            <a:off x="-1" y="5327780"/>
            <a:ext cx="12191793" cy="1530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582122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804EEE6B-F933-8788-8430-C54CC6E542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51370" y="3546266"/>
            <a:ext cx="5040630" cy="2444705"/>
          </a:xfrm>
          <a:prstGeom prst="rect">
            <a:avLst/>
          </a:prstGeom>
          <a:noFill/>
        </p:spPr>
      </p:pic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4AE359C9-8B76-5357-0ABF-1EAE41901E9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8913" y="1304817"/>
            <a:ext cx="6189145" cy="4819716"/>
          </a:xfrm>
        </p:spPr>
        <p:txBody>
          <a:bodyPr vert="horz" lIns="0" tIns="0" rIns="0" bIns="0" rtlCol="0" anchor="t">
            <a:normAutofit fontScale="77500" lnSpcReduction="20000"/>
          </a:bodyPr>
          <a:lstStyle/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nb-NO" sz="1800" b="1" dirty="0" err="1">
                <a:effectLst/>
                <a:latin typeface="Calibri" panose="020F0502020204030204" pitchFamily="34" charset="0"/>
              </a:rPr>
              <a:t>Nordscrape</a:t>
            </a:r>
            <a:r>
              <a:rPr lang="nb-NO" sz="1800" b="1" dirty="0">
                <a:effectLst/>
                <a:latin typeface="Calibri" panose="020F0502020204030204" pitchFamily="34" charset="0"/>
              </a:rPr>
              <a:t> West:</a:t>
            </a:r>
          </a:p>
          <a:p>
            <a:pPr marL="0" indent="-179705">
              <a:spcBef>
                <a:spcPts val="0"/>
              </a:spcBef>
            </a:pPr>
            <a:r>
              <a:rPr lang="nb-NO" sz="1800" dirty="0">
                <a:latin typeface="Calibri"/>
                <a:ea typeface="Calibri"/>
                <a:cs typeface="Calibri"/>
              </a:rPr>
              <a:t>Primært forretningsområde: Resirkulering</a:t>
            </a:r>
            <a:r>
              <a:rPr lang="nb-NO" sz="1800" dirty="0">
                <a:effectLst/>
                <a:latin typeface="Calibri"/>
                <a:ea typeface="Calibri"/>
                <a:cs typeface="Calibri"/>
              </a:rPr>
              <a:t> av metall</a:t>
            </a:r>
          </a:p>
          <a:p>
            <a:pPr marL="0" marR="0" indent="-179705">
              <a:spcBef>
                <a:spcPts val="0"/>
              </a:spcBef>
              <a:spcAft>
                <a:spcPts val="0"/>
              </a:spcAft>
            </a:pPr>
            <a:r>
              <a:rPr lang="nb-NO" sz="1800" dirty="0">
                <a:effectLst/>
                <a:latin typeface="Calibri" panose="020F0502020204030204" pitchFamily="34" charset="0"/>
              </a:rPr>
              <a:t>85 000 tonn metall behandlet i 2021, 92 % for resirkulering</a:t>
            </a:r>
            <a:endParaRPr lang="nb-NO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indent="-179705">
              <a:spcBef>
                <a:spcPts val="0"/>
              </a:spcBef>
              <a:spcAft>
                <a:spcPts val="0"/>
              </a:spcAft>
            </a:pPr>
            <a:r>
              <a:rPr lang="nb-NO" sz="1800" dirty="0">
                <a:effectLst/>
                <a:latin typeface="Calibri" panose="020F0502020204030204" pitchFamily="34" charset="0"/>
              </a:rPr>
              <a:t>Omsetning 2021: ca. 250m NOK </a:t>
            </a:r>
            <a:endParaRPr lang="nb-NO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indent="-179705">
              <a:spcBef>
                <a:spcPts val="0"/>
              </a:spcBef>
              <a:spcAft>
                <a:spcPts val="0"/>
              </a:spcAft>
            </a:pPr>
            <a:r>
              <a:rPr lang="nb-NO" sz="1800" dirty="0">
                <a:effectLst/>
                <a:latin typeface="Calibri" panose="020F0502020204030204" pitchFamily="34" charset="0"/>
              </a:rPr>
              <a:t>Nye satsingsområder: Gjenvinning av vindparker</a:t>
            </a:r>
            <a:endParaRPr lang="nb-NO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endParaRPr lang="nb-NO" sz="1800" dirty="0">
              <a:effectLst/>
              <a:latin typeface="Calibri" panose="020F0502020204030204" pitchFamily="34" charset="0"/>
            </a:endParaRPr>
          </a:p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endParaRPr lang="nb-NO" sz="1800" dirty="0">
              <a:effectLst/>
              <a:latin typeface="Calibri" panose="020F0502020204030204" pitchFamily="34" charset="0"/>
            </a:endParaRPr>
          </a:p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nb-NO" sz="1800" b="1" dirty="0" err="1">
                <a:effectLst/>
                <a:latin typeface="Calibri" panose="020F0502020204030204" pitchFamily="34" charset="0"/>
              </a:rPr>
              <a:t>Semco</a:t>
            </a:r>
            <a:r>
              <a:rPr lang="nb-NO" sz="1800" b="1" dirty="0">
                <a:effectLst/>
                <a:latin typeface="Calibri" panose="020F0502020204030204" pitchFamily="34" charset="0"/>
              </a:rPr>
              <a:t> Maritime:</a:t>
            </a:r>
          </a:p>
          <a:p>
            <a:pPr marL="0" marR="0" indent="-179705">
              <a:spcBef>
                <a:spcPts val="0"/>
              </a:spcBef>
              <a:spcAft>
                <a:spcPts val="0"/>
              </a:spcAft>
            </a:pPr>
            <a:r>
              <a:rPr lang="nb-NO" sz="1800" dirty="0">
                <a:latin typeface="Calibri"/>
                <a:ea typeface="Calibri"/>
                <a:cs typeface="Calibri"/>
              </a:rPr>
              <a:t>Primært</a:t>
            </a:r>
            <a:r>
              <a:rPr lang="nb-NO" sz="1800" dirty="0">
                <a:effectLst/>
                <a:latin typeface="Calibri"/>
                <a:ea typeface="Calibri"/>
                <a:cs typeface="Calibri"/>
              </a:rPr>
              <a:t> </a:t>
            </a:r>
            <a:r>
              <a:rPr lang="nb-NO" sz="1800" dirty="0">
                <a:latin typeface="Calibri"/>
                <a:ea typeface="Calibri"/>
                <a:cs typeface="Calibri"/>
              </a:rPr>
              <a:t>forretningsområde</a:t>
            </a:r>
            <a:r>
              <a:rPr lang="nb-NO" sz="1800" dirty="0">
                <a:effectLst/>
                <a:latin typeface="Calibri"/>
                <a:ea typeface="Calibri"/>
                <a:cs typeface="Calibri"/>
              </a:rPr>
              <a:t>: </a:t>
            </a:r>
            <a:r>
              <a:rPr lang="nb-NO" sz="1800" dirty="0">
                <a:latin typeface="Calibri"/>
                <a:ea typeface="Calibri"/>
                <a:cs typeface="Calibri"/>
              </a:rPr>
              <a:t>Service</a:t>
            </a:r>
            <a:r>
              <a:rPr lang="nb-NO" sz="1800" dirty="0">
                <a:effectLst/>
                <a:latin typeface="Calibri"/>
                <a:ea typeface="Calibri"/>
                <a:cs typeface="Calibri"/>
              </a:rPr>
              <a:t>/</a:t>
            </a:r>
            <a:r>
              <a:rPr lang="nb-NO" sz="1800" dirty="0" err="1">
                <a:effectLst/>
                <a:latin typeface="Calibri"/>
                <a:ea typeface="Calibri"/>
                <a:cs typeface="Calibri"/>
              </a:rPr>
              <a:t>engineering</a:t>
            </a:r>
            <a:r>
              <a:rPr lang="nb-NO" sz="1800" dirty="0">
                <a:effectLst/>
                <a:latin typeface="Calibri"/>
                <a:ea typeface="Calibri"/>
                <a:cs typeface="Calibri"/>
              </a:rPr>
              <a:t> i energisektoren</a:t>
            </a:r>
          </a:p>
          <a:p>
            <a:pPr marL="0" marR="0" indent="-179705">
              <a:spcBef>
                <a:spcPts val="0"/>
              </a:spcBef>
              <a:spcAft>
                <a:spcPts val="0"/>
              </a:spcAft>
            </a:pPr>
            <a:r>
              <a:rPr lang="nb-NO" sz="1800" dirty="0" err="1">
                <a:latin typeface="Calibri"/>
                <a:ea typeface="Calibri"/>
                <a:cs typeface="Calibri"/>
              </a:rPr>
              <a:t>Vedlikeholdsoppgradering</a:t>
            </a:r>
            <a:r>
              <a:rPr lang="nb-NO" sz="1800" dirty="0">
                <a:effectLst/>
                <a:latin typeface="Calibri"/>
                <a:ea typeface="Calibri"/>
                <a:cs typeface="Calibri"/>
              </a:rPr>
              <a:t> av flytende enheter på </a:t>
            </a:r>
            <a:r>
              <a:rPr lang="nb-NO" sz="1800" dirty="0" err="1">
                <a:effectLst/>
                <a:latin typeface="Calibri"/>
                <a:ea typeface="Calibri"/>
                <a:cs typeface="Calibri"/>
              </a:rPr>
              <a:t>Hanøytangen</a:t>
            </a:r>
            <a:endParaRPr lang="nb-NO" sz="1800" dirty="0">
              <a:effectLst/>
              <a:latin typeface="Calibri"/>
              <a:ea typeface="Calibri"/>
              <a:cs typeface="Calibri"/>
            </a:endParaRPr>
          </a:p>
          <a:p>
            <a:pPr marL="0" indent="-179705">
              <a:spcBef>
                <a:spcPts val="0"/>
              </a:spcBef>
            </a:pPr>
            <a:r>
              <a:rPr lang="nb-NO" sz="1800" dirty="0">
                <a:effectLst/>
                <a:latin typeface="Calibri"/>
                <a:ea typeface="Calibri"/>
                <a:cs typeface="Calibri"/>
              </a:rPr>
              <a:t>På konsernnivå</a:t>
            </a:r>
            <a:r>
              <a:rPr lang="nb-NO" sz="1800" dirty="0">
                <a:latin typeface="Calibri"/>
                <a:ea typeface="Calibri"/>
                <a:cs typeface="Calibri"/>
              </a:rPr>
              <a:t>: ca</a:t>
            </a:r>
            <a:r>
              <a:rPr lang="nb-NO" sz="1800" dirty="0">
                <a:effectLst/>
                <a:latin typeface="Calibri"/>
                <a:ea typeface="Calibri"/>
                <a:cs typeface="Calibri"/>
              </a:rPr>
              <a:t>. 425 millioner kroner</a:t>
            </a:r>
          </a:p>
          <a:p>
            <a:pPr marL="0" marR="0" indent="-179705">
              <a:spcBef>
                <a:spcPts val="0"/>
              </a:spcBef>
              <a:spcAft>
                <a:spcPts val="0"/>
              </a:spcAft>
            </a:pPr>
            <a:r>
              <a:rPr lang="nb-NO" sz="1800" dirty="0">
                <a:effectLst/>
                <a:latin typeface="Calibri" panose="020F0502020204030204" pitchFamily="34" charset="0"/>
              </a:rPr>
              <a:t>Nye satsingsområder: Offshore vind og havbruk</a:t>
            </a:r>
            <a:endParaRPr lang="nb-NO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endParaRPr lang="nb-NO" sz="1800" dirty="0">
              <a:effectLst/>
              <a:latin typeface="Calibri" panose="020F050202020403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nb-NO" sz="1800" b="1" dirty="0">
                <a:effectLst/>
                <a:latin typeface="Calibri"/>
                <a:ea typeface="Calibri"/>
                <a:cs typeface="Calibri"/>
              </a:rPr>
              <a:t>Dagens </a:t>
            </a:r>
            <a:r>
              <a:rPr lang="nb-NO" sz="1800" b="1" dirty="0" err="1">
                <a:effectLst/>
                <a:latin typeface="Calibri"/>
                <a:ea typeface="Calibri"/>
                <a:cs typeface="Calibri"/>
              </a:rPr>
              <a:t>baseannlegg</a:t>
            </a:r>
            <a:r>
              <a:rPr lang="nb-NO" sz="1800" b="1" dirty="0">
                <a:effectLst/>
                <a:latin typeface="Calibri"/>
                <a:ea typeface="Calibri"/>
                <a:cs typeface="Calibri"/>
              </a:rPr>
              <a:t>: </a:t>
            </a:r>
            <a:r>
              <a:rPr lang="nb-NO" sz="1800" dirty="0" err="1">
                <a:effectLst/>
                <a:latin typeface="Calibri"/>
                <a:ea typeface="Calibri"/>
                <a:cs typeface="Calibri"/>
              </a:rPr>
              <a:t>Semco</a:t>
            </a:r>
            <a:r>
              <a:rPr lang="nb-NO" sz="1800" dirty="0">
                <a:effectLst/>
                <a:latin typeface="Calibri"/>
                <a:ea typeface="Calibri"/>
                <a:cs typeface="Calibri"/>
              </a:rPr>
              <a:t> Maritime har et </a:t>
            </a:r>
            <a:r>
              <a:rPr lang="nb-NO" sz="1800" dirty="0" err="1">
                <a:effectLst/>
                <a:latin typeface="Calibri"/>
                <a:ea typeface="Calibri"/>
                <a:cs typeface="Calibri"/>
              </a:rPr>
              <a:t>baseanlegg</a:t>
            </a:r>
            <a:r>
              <a:rPr lang="nb-NO" sz="1800" dirty="0">
                <a:effectLst/>
                <a:latin typeface="Calibri"/>
                <a:ea typeface="Calibri"/>
                <a:cs typeface="Calibri"/>
              </a:rPr>
              <a:t> på ca. 155.000 m2 og har en av Europas største </a:t>
            </a:r>
            <a:r>
              <a:rPr lang="nb-NO" sz="1800" dirty="0">
                <a:latin typeface="Calibri"/>
                <a:ea typeface="Calibri"/>
                <a:cs typeface="Calibri"/>
              </a:rPr>
              <a:t>tørrdokker </a:t>
            </a:r>
            <a:endParaRPr lang="nb-NO" sz="1800" dirty="0">
              <a:effectLst/>
              <a:latin typeface="Calibri" panose="020F0502020204030204" pitchFamily="34" charset="0"/>
              <a:ea typeface="Calibri"/>
              <a:cs typeface="Calibri"/>
            </a:endParaRPr>
          </a:p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endParaRPr lang="nb-NO" sz="1800" dirty="0">
              <a:effectLst/>
              <a:latin typeface="Calibri" panose="020F0502020204030204" pitchFamily="34" charset="0"/>
            </a:endParaRPr>
          </a:p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nb-NO" sz="1800" b="1" dirty="0">
                <a:effectLst/>
                <a:latin typeface="Calibri" panose="020F0502020204030204" pitchFamily="34" charset="0"/>
              </a:rPr>
              <a:t>Vardeneset:</a:t>
            </a:r>
          </a:p>
          <a:p>
            <a:pPr marL="179705" indent="-179705">
              <a:spcBef>
                <a:spcPts val="0"/>
              </a:spcBef>
            </a:pPr>
            <a:r>
              <a:rPr lang="nb-NO" sz="1800" dirty="0" err="1">
                <a:effectLst/>
                <a:latin typeface="Calibri" panose="020F0502020204030204" pitchFamily="34" charset="0"/>
              </a:rPr>
              <a:t>Nordscrap</a:t>
            </a:r>
            <a:r>
              <a:rPr lang="nb-NO" sz="1800" dirty="0">
                <a:effectLst/>
                <a:latin typeface="Calibri" panose="020F0502020204030204" pitchFamily="34" charset="0"/>
              </a:rPr>
              <a:t> West og </a:t>
            </a:r>
            <a:r>
              <a:rPr lang="nb-NO" sz="1800" dirty="0" err="1">
                <a:effectLst/>
                <a:latin typeface="Calibri" panose="020F0502020204030204" pitchFamily="34" charset="0"/>
              </a:rPr>
              <a:t>Semco</a:t>
            </a:r>
            <a:r>
              <a:rPr lang="nb-NO" sz="1800" dirty="0">
                <a:effectLst/>
                <a:latin typeface="Calibri" panose="020F0502020204030204" pitchFamily="34" charset="0"/>
              </a:rPr>
              <a:t> Maritime har søkt kommunen om innlemmelse av </a:t>
            </a:r>
            <a:r>
              <a:rPr lang="nb-NO" sz="1800" dirty="0" err="1">
                <a:effectLst/>
                <a:latin typeface="Calibri" panose="020F0502020204030204" pitchFamily="34" charset="0"/>
              </a:rPr>
              <a:t>Vardaneset</a:t>
            </a:r>
            <a:r>
              <a:rPr lang="nb-NO" sz="1800" dirty="0">
                <a:effectLst/>
                <a:latin typeface="Calibri" panose="020F0502020204030204" pitchFamily="34" charset="0"/>
              </a:rPr>
              <a:t> i eksisterende industriområde på </a:t>
            </a:r>
            <a:r>
              <a:rPr lang="nb-NO" sz="1800" dirty="0" err="1">
                <a:effectLst/>
                <a:latin typeface="Calibri" panose="020F0502020204030204" pitchFamily="34" charset="0"/>
              </a:rPr>
              <a:t>Hanøytangen</a:t>
            </a:r>
            <a:endParaRPr lang="nb-NO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indent="-179705">
              <a:spcBef>
                <a:spcPts val="0"/>
              </a:spcBef>
              <a:spcAft>
                <a:spcPts val="0"/>
              </a:spcAft>
            </a:pPr>
            <a:r>
              <a:rPr lang="nb-NO" sz="1800" dirty="0">
                <a:effectLst/>
                <a:latin typeface="Calibri" panose="020F0502020204030204" pitchFamily="34" charset="0"/>
              </a:rPr>
              <a:t>Formål: Område for havvind</a:t>
            </a:r>
            <a:endParaRPr lang="nb-NO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79705" indent="-179705">
              <a:spcBef>
                <a:spcPts val="0"/>
              </a:spcBef>
            </a:pPr>
            <a:r>
              <a:rPr lang="nb-NO" sz="1800" b="1" i="1" u="sng" dirty="0">
                <a:effectLst/>
                <a:latin typeface="Calibri" panose="020F0502020204030204" pitchFamily="34" charset="0"/>
              </a:rPr>
              <a:t>I tilknytning til eksisterende industritomt ønsker de å øke baseområde med ca. +250 000m2</a:t>
            </a:r>
            <a:endParaRPr lang="nb-NO" sz="1800" b="1" i="1" u="sng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endParaRPr lang="nb-NO" sz="1800" b="1" dirty="0">
              <a:effectLst/>
              <a:latin typeface="Calibri" panose="020F0502020204030204" pitchFamily="34" charset="0"/>
            </a:endParaRPr>
          </a:p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nb-NO" sz="1800" b="1" dirty="0">
                <a:effectLst/>
                <a:latin typeface="Calibri" panose="020F0502020204030204" pitchFamily="34" charset="0"/>
              </a:rPr>
              <a:t>Det vil gi:</a:t>
            </a:r>
          </a:p>
          <a:p>
            <a:pPr marL="0" marR="0" indent="-179705">
              <a:spcBef>
                <a:spcPts val="0"/>
              </a:spcBef>
              <a:spcAft>
                <a:spcPts val="0"/>
              </a:spcAft>
            </a:pPr>
            <a:r>
              <a:rPr lang="nb-NO" sz="1800" dirty="0">
                <a:effectLst/>
                <a:latin typeface="Calibri" panose="020F0502020204030204" pitchFamily="34" charset="0"/>
              </a:rPr>
              <a:t>Ekstra lagrings- og produksjonsområde for metallprefabrikasjon og montering</a:t>
            </a:r>
            <a:endParaRPr lang="nb-NO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79705" indent="-179705">
              <a:spcBef>
                <a:spcPts val="0"/>
              </a:spcBef>
            </a:pPr>
            <a:r>
              <a:rPr lang="nb-NO" sz="1800" dirty="0">
                <a:effectLst/>
                <a:latin typeface="Calibri"/>
                <a:ea typeface="Calibri"/>
                <a:cs typeface="Calibri"/>
              </a:rPr>
              <a:t>Nytt slippområde for utsetting av </a:t>
            </a:r>
            <a:r>
              <a:rPr lang="nb-NO" sz="1800" dirty="0" err="1">
                <a:effectLst/>
                <a:latin typeface="Calibri"/>
                <a:ea typeface="Calibri"/>
                <a:cs typeface="Calibri"/>
              </a:rPr>
              <a:t>prefab</a:t>
            </a:r>
            <a:r>
              <a:rPr lang="nb-NO" sz="1800" dirty="0">
                <a:effectLst/>
                <a:latin typeface="Calibri"/>
                <a:ea typeface="Calibri"/>
                <a:cs typeface="Calibri"/>
              </a:rPr>
              <a:t> og montering av tårn/</a:t>
            </a:r>
            <a:r>
              <a:rPr lang="nb-NO" sz="1800" dirty="0">
                <a:latin typeface="Calibri"/>
                <a:ea typeface="Calibri"/>
                <a:cs typeface="Calibri"/>
              </a:rPr>
              <a:t>vindturbin-generator</a:t>
            </a:r>
            <a:endParaRPr lang="nb-NO" sz="1800" dirty="0">
              <a:effectLst/>
              <a:latin typeface="Calibri"/>
              <a:ea typeface="Calibri"/>
              <a:cs typeface="Calibri"/>
            </a:endParaRPr>
          </a:p>
          <a:p>
            <a:pPr marL="179705" indent="-179705"/>
            <a:endParaRPr lang="en-US" dirty="0"/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EA5A5829-E6BF-96BE-9117-F2287DEF65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104" y="540068"/>
            <a:ext cx="10904983" cy="764749"/>
          </a:xfrm>
        </p:spPr>
        <p:txBody>
          <a:bodyPr anchor="t">
            <a:normAutofit/>
          </a:bodyPr>
          <a:lstStyle/>
          <a:p>
            <a:r>
              <a:rPr lang="en-US" sz="3200" err="1"/>
              <a:t>Hanøytangen</a:t>
            </a:r>
            <a:r>
              <a:rPr lang="en-US" sz="3200"/>
              <a:t> - </a:t>
            </a:r>
            <a:r>
              <a:rPr lang="en-US" sz="3200" err="1"/>
              <a:t>Nordscrap</a:t>
            </a:r>
            <a:r>
              <a:rPr lang="en-US" sz="3200"/>
              <a:t> West </a:t>
            </a:r>
            <a:r>
              <a:rPr lang="en-US" sz="3200" err="1"/>
              <a:t>og</a:t>
            </a:r>
            <a:r>
              <a:rPr lang="en-US" sz="3200"/>
              <a:t> Semco Maritime</a:t>
            </a:r>
          </a:p>
        </p:txBody>
      </p:sp>
    </p:spTree>
    <p:extLst>
      <p:ext uri="{BB962C8B-B14F-4D97-AF65-F5344CB8AC3E}">
        <p14:creationId xmlns:p14="http://schemas.microsoft.com/office/powerpoint/2010/main" val="397098747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0529391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995F3218-13A4-41B3-A722-C9FE44C36B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4420" y="3699235"/>
            <a:ext cx="4895520" cy="1180935"/>
          </a:xfrm>
        </p:spPr>
        <p:txBody>
          <a:bodyPr/>
          <a:lstStyle/>
          <a:p>
            <a:br>
              <a:rPr lang="nn-NO" sz="2667" b="0"/>
            </a:br>
            <a:br>
              <a:rPr lang="nb-NO"/>
            </a:br>
            <a:endParaRPr lang="nb-NO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DDFE3751-268C-4A72-B7B8-86A29D6109D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9180" y="2207019"/>
            <a:ext cx="5642137" cy="3970695"/>
          </a:xfrm>
        </p:spPr>
        <p:txBody>
          <a:bodyPr>
            <a:normAutofit fontScale="25000" lnSpcReduction="20000"/>
          </a:bodyPr>
          <a:lstStyle/>
          <a:p>
            <a:pPr algn="l"/>
            <a:r>
              <a:rPr lang="nb-NO" sz="7466" b="0">
                <a:solidFill>
                  <a:schemeClr val="tx1"/>
                </a:solidFill>
              </a:rPr>
              <a:t>Øygarden er </a:t>
            </a:r>
            <a:r>
              <a:rPr lang="nb-NO" sz="7466" b="0" err="1">
                <a:solidFill>
                  <a:schemeClr val="tx1"/>
                </a:solidFill>
              </a:rPr>
              <a:t>ein</a:t>
            </a:r>
            <a:r>
              <a:rPr lang="nb-NO" sz="7466" b="0">
                <a:solidFill>
                  <a:schemeClr val="tx1"/>
                </a:solidFill>
              </a:rPr>
              <a:t> av </a:t>
            </a:r>
            <a:r>
              <a:rPr lang="nb-NO" sz="7466" b="0" err="1">
                <a:solidFill>
                  <a:schemeClr val="tx1"/>
                </a:solidFill>
              </a:rPr>
              <a:t>dei</a:t>
            </a:r>
            <a:r>
              <a:rPr lang="nb-NO" sz="7466" b="0">
                <a:solidFill>
                  <a:schemeClr val="tx1"/>
                </a:solidFill>
              </a:rPr>
              <a:t> mest </a:t>
            </a:r>
            <a:r>
              <a:rPr lang="nb-NO" sz="7466" b="0" err="1">
                <a:solidFill>
                  <a:schemeClr val="tx1"/>
                </a:solidFill>
              </a:rPr>
              <a:t>spennande</a:t>
            </a:r>
            <a:r>
              <a:rPr lang="nb-NO" sz="7466" b="0">
                <a:solidFill>
                  <a:schemeClr val="tx1"/>
                </a:solidFill>
              </a:rPr>
              <a:t> </a:t>
            </a:r>
            <a:r>
              <a:rPr lang="nb-NO" sz="7466" b="0" err="1">
                <a:solidFill>
                  <a:schemeClr val="tx1"/>
                </a:solidFill>
              </a:rPr>
              <a:t>regionane</a:t>
            </a:r>
            <a:r>
              <a:rPr lang="nb-NO" sz="7466" b="0">
                <a:solidFill>
                  <a:schemeClr val="tx1"/>
                </a:solidFill>
              </a:rPr>
              <a:t> for </a:t>
            </a:r>
            <a:r>
              <a:rPr lang="nb-NO" sz="7466" b="0" err="1">
                <a:solidFill>
                  <a:schemeClr val="tx1"/>
                </a:solidFill>
              </a:rPr>
              <a:t>grøn</a:t>
            </a:r>
            <a:r>
              <a:rPr lang="nb-NO" sz="7466" b="0">
                <a:solidFill>
                  <a:schemeClr val="tx1"/>
                </a:solidFill>
              </a:rPr>
              <a:t> vekst, med Northern </a:t>
            </a:r>
            <a:r>
              <a:rPr lang="nb-NO" sz="7466" b="0" err="1">
                <a:solidFill>
                  <a:schemeClr val="tx1"/>
                </a:solidFill>
              </a:rPr>
              <a:t>Lights</a:t>
            </a:r>
            <a:r>
              <a:rPr lang="nb-NO" sz="7466" b="0">
                <a:solidFill>
                  <a:schemeClr val="tx1"/>
                </a:solidFill>
              </a:rPr>
              <a:t> (CO2-lagring) og den første heilelektriske hamna i Europa.</a:t>
            </a:r>
          </a:p>
          <a:p>
            <a:pPr algn="l"/>
            <a:endParaRPr lang="nb-NO" sz="7466" b="0">
              <a:solidFill>
                <a:schemeClr val="tx1"/>
              </a:solidFill>
            </a:endParaRPr>
          </a:p>
          <a:p>
            <a:pPr algn="l"/>
            <a:r>
              <a:rPr lang="nb-NO" sz="7466" b="0">
                <a:solidFill>
                  <a:schemeClr val="tx1"/>
                </a:solidFill>
              </a:rPr>
              <a:t>Vi er i tillegg kommunen i </a:t>
            </a:r>
            <a:r>
              <a:rPr lang="nb-NO" sz="7466" b="0" err="1">
                <a:solidFill>
                  <a:schemeClr val="tx1"/>
                </a:solidFill>
              </a:rPr>
              <a:t>Vestland</a:t>
            </a:r>
            <a:r>
              <a:rPr lang="nb-NO" sz="7466" b="0">
                <a:solidFill>
                  <a:schemeClr val="tx1"/>
                </a:solidFill>
              </a:rPr>
              <a:t> fylke med lengst kystlinje for </a:t>
            </a:r>
            <a:r>
              <a:rPr lang="nb-NO" sz="7466" b="0" err="1">
                <a:solidFill>
                  <a:schemeClr val="tx1"/>
                </a:solidFill>
              </a:rPr>
              <a:t>grøn</a:t>
            </a:r>
            <a:r>
              <a:rPr lang="nb-NO" sz="7466" b="0">
                <a:solidFill>
                  <a:schemeClr val="tx1"/>
                </a:solidFill>
              </a:rPr>
              <a:t> marin utvikling.</a:t>
            </a:r>
          </a:p>
          <a:p>
            <a:pPr algn="l"/>
            <a:endParaRPr lang="nb-NO" sz="7466" b="0">
              <a:solidFill>
                <a:schemeClr val="tx1"/>
              </a:solidFill>
            </a:endParaRPr>
          </a:p>
          <a:p>
            <a:pPr marL="457189" indent="-457189" algn="l">
              <a:buFont typeface="Arial" panose="020B0604020202020204" pitchFamily="34" charset="0"/>
              <a:buChar char="•"/>
            </a:pPr>
            <a:endParaRPr lang="nn-NO" sz="7466" b="0">
              <a:solidFill>
                <a:schemeClr val="tx1"/>
              </a:solidFill>
            </a:endParaRPr>
          </a:p>
          <a:p>
            <a:pPr marL="457189" indent="-457189" algn="l">
              <a:buFont typeface="Arial" panose="020B0604020202020204" pitchFamily="34" charset="0"/>
              <a:buChar char="•"/>
            </a:pPr>
            <a:r>
              <a:rPr lang="nn-NO" sz="7466" b="0">
                <a:solidFill>
                  <a:schemeClr val="tx1"/>
                </a:solidFill>
              </a:rPr>
              <a:t>Ein god plass å bu</a:t>
            </a:r>
          </a:p>
          <a:p>
            <a:pPr marL="457189" indent="-457189" algn="l">
              <a:buFont typeface="Arial" panose="020B0604020202020204" pitchFamily="34" charset="0"/>
              <a:buChar char="•"/>
            </a:pPr>
            <a:r>
              <a:rPr lang="nn-NO" sz="7466" b="0">
                <a:solidFill>
                  <a:schemeClr val="tx1"/>
                </a:solidFill>
              </a:rPr>
              <a:t>G</a:t>
            </a:r>
            <a:r>
              <a:rPr lang="nb-NO" sz="7466" b="0" err="1">
                <a:solidFill>
                  <a:schemeClr val="tx1"/>
                </a:solidFill>
              </a:rPr>
              <a:t>røn</a:t>
            </a:r>
            <a:r>
              <a:rPr lang="nb-NO" sz="7466" b="0">
                <a:solidFill>
                  <a:schemeClr val="tx1"/>
                </a:solidFill>
              </a:rPr>
              <a:t> og </a:t>
            </a:r>
            <a:r>
              <a:rPr lang="nb-NO" sz="7466" b="0" err="1">
                <a:solidFill>
                  <a:schemeClr val="tx1"/>
                </a:solidFill>
              </a:rPr>
              <a:t>berekraftig</a:t>
            </a:r>
            <a:r>
              <a:rPr lang="nb-NO" sz="7466" b="0">
                <a:solidFill>
                  <a:schemeClr val="tx1"/>
                </a:solidFill>
              </a:rPr>
              <a:t> omstilling</a:t>
            </a:r>
          </a:p>
          <a:p>
            <a:pPr marL="457189" indent="-457189" algn="l">
              <a:buFont typeface="Arial" panose="020B0604020202020204" pitchFamily="34" charset="0"/>
              <a:buChar char="•"/>
            </a:pPr>
            <a:r>
              <a:rPr lang="nn-NO" sz="7466" b="0">
                <a:solidFill>
                  <a:schemeClr val="tx1"/>
                </a:solidFill>
              </a:rPr>
              <a:t>Gode rammevilkår for næringslivet</a:t>
            </a:r>
          </a:p>
          <a:p>
            <a:pPr marL="457189" indent="-457189" algn="l">
              <a:buFont typeface="Arial" panose="020B0604020202020204" pitchFamily="34" charset="0"/>
              <a:buChar char="•"/>
            </a:pPr>
            <a:r>
              <a:rPr lang="nn-NO" sz="7466" b="0">
                <a:solidFill>
                  <a:schemeClr val="tx1"/>
                </a:solidFill>
              </a:rPr>
              <a:t>God og framtidsretta utdanning og kompetanse</a:t>
            </a:r>
            <a:endParaRPr lang="nb-NO" sz="7466" b="0">
              <a:solidFill>
                <a:schemeClr val="tx1"/>
              </a:solidFill>
            </a:endParaRPr>
          </a:p>
          <a:p>
            <a:pPr algn="l"/>
            <a:endParaRPr lang="nn-NO" sz="7466">
              <a:solidFill>
                <a:schemeClr val="tx1"/>
              </a:solidFill>
            </a:endParaRPr>
          </a:p>
          <a:p>
            <a:pPr algn="l"/>
            <a:endParaRPr lang="nn-NO" sz="7466">
              <a:solidFill>
                <a:schemeClr val="tx1"/>
              </a:solidFill>
            </a:endParaRPr>
          </a:p>
          <a:p>
            <a:r>
              <a:rPr lang="nn-NO" sz="7466" b="0">
                <a:solidFill>
                  <a:schemeClr val="tx1"/>
                </a:solidFill>
              </a:rPr>
              <a:t>Saman skal vi bygga eit fyrtårn i vest!</a:t>
            </a:r>
            <a:endParaRPr lang="nn-NO" sz="7466">
              <a:solidFill>
                <a:schemeClr val="tx1"/>
              </a:solidFill>
            </a:endParaRPr>
          </a:p>
          <a:p>
            <a:pPr algn="l"/>
            <a:endParaRPr lang="nn-NO" sz="2933" b="0">
              <a:solidFill>
                <a:schemeClr val="tx1"/>
              </a:solidFill>
            </a:endParaRPr>
          </a:p>
          <a:p>
            <a:pPr algn="l"/>
            <a:endParaRPr lang="nb-NO" sz="2933" b="0">
              <a:solidFill>
                <a:schemeClr val="tx1"/>
              </a:solidFill>
            </a:endParaRPr>
          </a:p>
          <a:p>
            <a:pPr marL="457189" indent="-457189" algn="l">
              <a:buFont typeface="Arial" panose="020B0604020202020204" pitchFamily="34" charset="0"/>
              <a:buChar char="•"/>
            </a:pPr>
            <a:endParaRPr lang="nb-NO" sz="2667"/>
          </a:p>
        </p:txBody>
      </p:sp>
    </p:spTree>
    <p:extLst>
      <p:ext uri="{BB962C8B-B14F-4D97-AF65-F5344CB8AC3E}">
        <p14:creationId xmlns:p14="http://schemas.microsoft.com/office/powerpoint/2010/main" val="25995346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92421" y="261262"/>
            <a:ext cx="7886700" cy="674336"/>
          </a:xfrm>
        </p:spPr>
        <p:txBody>
          <a:bodyPr>
            <a:normAutofit/>
          </a:bodyPr>
          <a:lstStyle/>
          <a:p>
            <a:r>
              <a:rPr lang="en-US" sz="2800" err="1">
                <a:solidFill>
                  <a:srgbClr val="00305B"/>
                </a:solidFill>
                <a:latin typeface="Helvetica Neue Light"/>
                <a:ea typeface="Helvetica Neue Light" charset="0"/>
                <a:cs typeface="Helvetica Neue Light" charset="0"/>
              </a:rPr>
              <a:t>Oljeprisen</a:t>
            </a:r>
            <a:endParaRPr lang="en-US" sz="2800">
              <a:solidFill>
                <a:srgbClr val="00305B"/>
              </a:solidFill>
              <a:latin typeface="Helvetica Neue Light"/>
              <a:ea typeface="Helvetica Neue Light" charset="0"/>
              <a:cs typeface="Helvetica Neue Light" charset="0"/>
            </a:endParaRPr>
          </a:p>
        </p:txBody>
      </p:sp>
      <p:sp>
        <p:nvSpPr>
          <p:cNvPr id="4" name="TekstSylinder 3"/>
          <p:cNvSpPr txBox="1"/>
          <p:nvPr/>
        </p:nvSpPr>
        <p:spPr>
          <a:xfrm>
            <a:off x="254010" y="2679543"/>
            <a:ext cx="347102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37" marR="0" lvl="0" indent="-285737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00305B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Nivå mai 2020 ca. $ 30 pr. fat</a:t>
            </a:r>
          </a:p>
          <a:p>
            <a:pPr marL="285737" marR="0" lvl="0" indent="-285737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srgbClr val="00305B"/>
              </a:solidFill>
              <a:effectLst/>
              <a:uLnTx/>
              <a:uFillTx/>
              <a:latin typeface="Helvetica Neue Light"/>
              <a:ea typeface="+mn-ea"/>
              <a:cs typeface="+mn-cs"/>
            </a:endParaRPr>
          </a:p>
          <a:p>
            <a:pPr marL="285737" marR="0" lvl="0" indent="-285737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00305B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Nivå mai 2021 ca. $ 68 pr. fat</a:t>
            </a:r>
          </a:p>
          <a:p>
            <a:pPr marL="285737" marR="0" lvl="0" indent="-285737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srgbClr val="00305B"/>
              </a:solidFill>
              <a:effectLst/>
              <a:uLnTx/>
              <a:uFillTx/>
              <a:latin typeface="Helvetica Neue Light"/>
              <a:ea typeface="+mn-ea"/>
              <a:cs typeface="+mn-cs"/>
            </a:endParaRPr>
          </a:p>
          <a:p>
            <a:pPr marL="285737" marR="0" lvl="0" indent="-285737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00305B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Nivå mai 2022 ca. $ 107 pr. fat</a:t>
            </a:r>
          </a:p>
        </p:txBody>
      </p:sp>
      <p:cxnSp>
        <p:nvCxnSpPr>
          <p:cNvPr id="6" name="Straight Connector 16">
            <a:extLst>
              <a:ext uri="{FF2B5EF4-FFF2-40B4-BE49-F238E27FC236}">
                <a16:creationId xmlns:a16="http://schemas.microsoft.com/office/drawing/2014/main" id="{B0933EED-04BD-4E8D-8064-A63AC690F5D2}"/>
              </a:ext>
            </a:extLst>
          </p:cNvPr>
          <p:cNvCxnSpPr>
            <a:cxnSpLocks/>
          </p:cNvCxnSpPr>
          <p:nvPr/>
        </p:nvCxnSpPr>
        <p:spPr>
          <a:xfrm>
            <a:off x="1" y="1039290"/>
            <a:ext cx="12191999" cy="0"/>
          </a:xfrm>
          <a:prstGeom prst="line">
            <a:avLst/>
          </a:prstGeom>
          <a:noFill/>
          <a:ln w="6350" cap="flat" cmpd="sng" algn="ctr">
            <a:solidFill>
              <a:srgbClr val="002060"/>
            </a:solidFill>
            <a:prstDash val="solid"/>
            <a:miter lim="800000"/>
          </a:ln>
          <a:effectLst/>
        </p:spPr>
      </p:cxnSp>
      <p:cxnSp>
        <p:nvCxnSpPr>
          <p:cNvPr id="7" name="Straight Connector 16">
            <a:extLst>
              <a:ext uri="{FF2B5EF4-FFF2-40B4-BE49-F238E27FC236}">
                <a16:creationId xmlns:a16="http://schemas.microsoft.com/office/drawing/2014/main" id="{2B264980-3D66-4032-A749-B0C0E20B20CD}"/>
              </a:ext>
            </a:extLst>
          </p:cNvPr>
          <p:cNvCxnSpPr>
            <a:cxnSpLocks/>
          </p:cNvCxnSpPr>
          <p:nvPr/>
        </p:nvCxnSpPr>
        <p:spPr>
          <a:xfrm>
            <a:off x="0" y="6176963"/>
            <a:ext cx="12191999" cy="0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miter lim="800000"/>
          </a:ln>
          <a:effectLst/>
        </p:spPr>
      </p:cxnSp>
      <p:pic>
        <p:nvPicPr>
          <p:cNvPr id="8" name="Bilde 7">
            <a:extLst>
              <a:ext uri="{FF2B5EF4-FFF2-40B4-BE49-F238E27FC236}">
                <a16:creationId xmlns:a16="http://schemas.microsoft.com/office/drawing/2014/main" id="{6BBC4E06-0187-428A-A1C6-2C167B3A4A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43820" y="6267608"/>
            <a:ext cx="1045193" cy="519371"/>
          </a:xfrm>
          <a:prstGeom prst="rect">
            <a:avLst/>
          </a:prstGeom>
        </p:spPr>
      </p:pic>
      <p:pic>
        <p:nvPicPr>
          <p:cNvPr id="9" name="Bilde 8">
            <a:extLst>
              <a:ext uri="{FF2B5EF4-FFF2-40B4-BE49-F238E27FC236}">
                <a16:creationId xmlns:a16="http://schemas.microsoft.com/office/drawing/2014/main" id="{140F115A-454C-7C36-83A3-29F577BA3CC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6971" t="58370" r="14005" b="8609"/>
          <a:stretch/>
        </p:blipFill>
        <p:spPr>
          <a:xfrm>
            <a:off x="4010024" y="1343502"/>
            <a:ext cx="7938315" cy="4371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133225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lassholder for bilde 5" descr="VS: Næringseiendom 2022 - torsdag 5. mai / Øygarden Næringsutvikling - Melding (HTML)">
            <a:extLst>
              <a:ext uri="{FF2B5EF4-FFF2-40B4-BE49-F238E27FC236}">
                <a16:creationId xmlns:a16="http://schemas.microsoft.com/office/drawing/2014/main" id="{09052214-29AB-4405-ADFC-D49E165F7E9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-176891" y="0"/>
            <a:ext cx="12368892" cy="6849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81423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9C7B052-AC2A-49F4-A58F-B4CE844BBB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4761" y="515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9C7B052-AC2A-49F4-A58F-B4CE844BBB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761" y="515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>
            <a:extLst>
              <a:ext uri="{FF2B5EF4-FFF2-40B4-BE49-F238E27FC236}">
                <a16:creationId xmlns:a16="http://schemas.microsoft.com/office/drawing/2014/main" id="{92621CFF-E107-4F45-A992-1B22FA4209E5}"/>
              </a:ext>
            </a:extLst>
          </p:cNvPr>
          <p:cNvSpPr/>
          <p:nvPr/>
        </p:nvSpPr>
        <p:spPr>
          <a:xfrm>
            <a:off x="786" y="-3509"/>
            <a:ext cx="2487221" cy="3458128"/>
          </a:xfrm>
          <a:prstGeom prst="rect">
            <a:avLst/>
          </a:prstGeom>
          <a:solidFill>
            <a:schemeClr val="bg1">
              <a:alpha val="29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3007">
              <a:defRPr/>
            </a:pPr>
            <a:endParaRPr lang="nb-NO" sz="1197">
              <a:solidFill>
                <a:srgbClr val="000000"/>
              </a:solidFill>
              <a:latin typeface="EYInterstate Light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0776593-ED34-40BE-9361-876385760D56}"/>
              </a:ext>
            </a:extLst>
          </p:cNvPr>
          <p:cNvSpPr txBox="1"/>
          <p:nvPr/>
        </p:nvSpPr>
        <p:spPr>
          <a:xfrm>
            <a:off x="610410" y="1014830"/>
            <a:ext cx="1474071" cy="1215616"/>
          </a:xfrm>
          <a:prstGeom prst="rect">
            <a:avLst/>
          </a:prstGeom>
          <a:noFill/>
        </p:spPr>
        <p:txBody>
          <a:bodyPr wrap="square" lIns="0" tIns="36539" rIns="0" bIns="0" rtlCol="0">
            <a:spAutoFit/>
          </a:bodyPr>
          <a:lstStyle/>
          <a:p>
            <a:pPr algn="ctr" defTabSz="913464">
              <a:lnSpc>
                <a:spcPct val="85000"/>
              </a:lnSpc>
              <a:spcAft>
                <a:spcPts val="600"/>
              </a:spcAft>
              <a:buClr>
                <a:srgbClr val="27ACAA"/>
              </a:buClr>
              <a:buSzPct val="70000"/>
            </a:pPr>
            <a:r>
              <a:rPr lang="nb-NO" sz="1799">
                <a:solidFill>
                  <a:srgbClr val="000000"/>
                </a:solidFill>
                <a:latin typeface="EYInterstate Light"/>
              </a:rPr>
              <a:t>818 selskaper med to eller flere sysselsatte registrert i Øygarden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DAC7F607-2AD5-4781-ADBE-2BB02D84F470}"/>
              </a:ext>
            </a:extLst>
          </p:cNvPr>
          <p:cNvSpPr txBox="1"/>
          <p:nvPr/>
        </p:nvSpPr>
        <p:spPr>
          <a:xfrm>
            <a:off x="2737983" y="4409738"/>
            <a:ext cx="1856760" cy="980296"/>
          </a:xfrm>
          <a:prstGeom prst="rect">
            <a:avLst/>
          </a:prstGeom>
          <a:noFill/>
        </p:spPr>
        <p:txBody>
          <a:bodyPr wrap="square" lIns="0" tIns="36539" rIns="0" bIns="0" rtlCol="0">
            <a:spAutoFit/>
          </a:bodyPr>
          <a:lstStyle/>
          <a:p>
            <a:pPr algn="ctr" defTabSz="913464">
              <a:lnSpc>
                <a:spcPct val="85000"/>
              </a:lnSpc>
              <a:spcAft>
                <a:spcPts val="600"/>
              </a:spcAft>
              <a:buClr>
                <a:srgbClr val="27ACAA"/>
              </a:buClr>
              <a:buSzPct val="70000"/>
            </a:pPr>
            <a:r>
              <a:rPr lang="nb-NO" sz="1799">
                <a:solidFill>
                  <a:srgbClr val="000000"/>
                </a:solidFill>
                <a:latin typeface="EYInterstate Light"/>
              </a:rPr>
              <a:t>Havnæringene står for 41 % av verdiskapningen i kommunen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9DC8DCB-810E-4CA6-95A6-E273C5481787}"/>
              </a:ext>
            </a:extLst>
          </p:cNvPr>
          <p:cNvSpPr txBox="1"/>
          <p:nvPr/>
        </p:nvSpPr>
        <p:spPr>
          <a:xfrm>
            <a:off x="10078484" y="1167069"/>
            <a:ext cx="1762841" cy="980296"/>
          </a:xfrm>
          <a:prstGeom prst="rect">
            <a:avLst/>
          </a:prstGeom>
          <a:noFill/>
        </p:spPr>
        <p:txBody>
          <a:bodyPr wrap="square" lIns="0" tIns="36539" rIns="0" bIns="0" rtlCol="0">
            <a:spAutoFit/>
          </a:bodyPr>
          <a:lstStyle/>
          <a:p>
            <a:pPr algn="ctr" defTabSz="913464">
              <a:lnSpc>
                <a:spcPct val="85000"/>
              </a:lnSpc>
              <a:spcAft>
                <a:spcPts val="600"/>
              </a:spcAft>
              <a:buClr>
                <a:srgbClr val="27ACAA"/>
              </a:buClr>
              <a:buSzPct val="70000"/>
            </a:pPr>
            <a:r>
              <a:rPr lang="nb-NO" sz="1799">
                <a:solidFill>
                  <a:srgbClr val="000000"/>
                </a:solidFill>
                <a:latin typeface="EYInterstate Light"/>
              </a:rPr>
              <a:t>9 milliarder verdiskapning i privat sektor i 2019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1D232E1C-EB7D-4060-8C98-8F10737ABBE2}"/>
              </a:ext>
            </a:extLst>
          </p:cNvPr>
          <p:cNvSpPr txBox="1"/>
          <p:nvPr/>
        </p:nvSpPr>
        <p:spPr>
          <a:xfrm>
            <a:off x="5200817" y="1167070"/>
            <a:ext cx="1792353" cy="744975"/>
          </a:xfrm>
          <a:prstGeom prst="rect">
            <a:avLst/>
          </a:prstGeom>
          <a:noFill/>
        </p:spPr>
        <p:txBody>
          <a:bodyPr wrap="square" lIns="0" tIns="36539" rIns="0" bIns="0" rtlCol="0">
            <a:spAutoFit/>
          </a:bodyPr>
          <a:lstStyle/>
          <a:p>
            <a:pPr algn="ctr" defTabSz="913464">
              <a:lnSpc>
                <a:spcPct val="85000"/>
              </a:lnSpc>
              <a:spcAft>
                <a:spcPts val="600"/>
              </a:spcAft>
              <a:buClr>
                <a:srgbClr val="27ACAA"/>
              </a:buClr>
              <a:buSzPct val="70000"/>
            </a:pPr>
            <a:r>
              <a:rPr lang="nb-NO" sz="1799">
                <a:solidFill>
                  <a:srgbClr val="000000"/>
                </a:solidFill>
                <a:latin typeface="EYInterstate Light"/>
              </a:rPr>
              <a:t>12 400 sysselsatt i privat sektor i Øygarden</a:t>
            </a: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491DFD1B-0C7A-4390-B3D4-91FED1CA99B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4826" y="3454622"/>
            <a:ext cx="2372677" cy="3407303"/>
          </a:xfrm>
          <a:prstGeom prst="rect">
            <a:avLst/>
          </a:prstGeom>
        </p:spPr>
      </p:pic>
      <p:sp>
        <p:nvSpPr>
          <p:cNvPr id="55" name="TextBox 54">
            <a:extLst>
              <a:ext uri="{FF2B5EF4-FFF2-40B4-BE49-F238E27FC236}">
                <a16:creationId xmlns:a16="http://schemas.microsoft.com/office/drawing/2014/main" id="{169EAB1D-E5E0-41DB-A2F8-E9DFAEE2FC87}"/>
              </a:ext>
            </a:extLst>
          </p:cNvPr>
          <p:cNvSpPr txBox="1"/>
          <p:nvPr/>
        </p:nvSpPr>
        <p:spPr>
          <a:xfrm>
            <a:off x="7663673" y="4103991"/>
            <a:ext cx="1776864" cy="274333"/>
          </a:xfrm>
          <a:prstGeom prst="rect">
            <a:avLst/>
          </a:prstGeom>
          <a:noFill/>
        </p:spPr>
        <p:txBody>
          <a:bodyPr wrap="square" lIns="0" tIns="36539" rIns="0" bIns="0" rtlCol="0">
            <a:spAutoFit/>
          </a:bodyPr>
          <a:lstStyle/>
          <a:p>
            <a:pPr algn="ctr" defTabSz="913464">
              <a:lnSpc>
                <a:spcPct val="85000"/>
              </a:lnSpc>
              <a:spcAft>
                <a:spcPts val="600"/>
              </a:spcAft>
              <a:buClr>
                <a:srgbClr val="27ACAA"/>
              </a:buClr>
              <a:buSzPct val="70000"/>
            </a:pPr>
            <a:r>
              <a:rPr lang="nb-NO" sz="1799">
                <a:solidFill>
                  <a:srgbClr val="000000"/>
                </a:solidFill>
                <a:latin typeface="EYInterstate Light"/>
              </a:rPr>
              <a:t> </a:t>
            </a:r>
          </a:p>
        </p:txBody>
      </p:sp>
      <p:pic>
        <p:nvPicPr>
          <p:cNvPr id="49" name="Picture 48">
            <a:extLst>
              <a:ext uri="{FF2B5EF4-FFF2-40B4-BE49-F238E27FC236}">
                <a16:creationId xmlns:a16="http://schemas.microsoft.com/office/drawing/2014/main" id="{2A3D21FA-10B6-4A1D-A5CA-B2CC036D02FF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52"/>
          <a:stretch/>
        </p:blipFill>
        <p:spPr>
          <a:xfrm>
            <a:off x="-18240" y="3462113"/>
            <a:ext cx="2464415" cy="3399811"/>
          </a:xfrm>
          <a:prstGeom prst="rect">
            <a:avLst/>
          </a:prstGeom>
        </p:spPr>
      </p:pic>
      <p:sp>
        <p:nvSpPr>
          <p:cNvPr id="58" name="TextBox 57">
            <a:extLst>
              <a:ext uri="{FF2B5EF4-FFF2-40B4-BE49-F238E27FC236}">
                <a16:creationId xmlns:a16="http://schemas.microsoft.com/office/drawing/2014/main" id="{F8625064-7923-4D73-81FC-BAA0FAC2015B}"/>
              </a:ext>
            </a:extLst>
          </p:cNvPr>
          <p:cNvSpPr txBox="1"/>
          <p:nvPr/>
        </p:nvSpPr>
        <p:spPr>
          <a:xfrm>
            <a:off x="7607584" y="4376422"/>
            <a:ext cx="1776864" cy="1450937"/>
          </a:xfrm>
          <a:prstGeom prst="rect">
            <a:avLst/>
          </a:prstGeom>
          <a:noFill/>
        </p:spPr>
        <p:txBody>
          <a:bodyPr wrap="square" lIns="0" tIns="36539" rIns="0" bIns="0" rtlCol="0">
            <a:spAutoFit/>
          </a:bodyPr>
          <a:lstStyle/>
          <a:p>
            <a:pPr algn="ctr" defTabSz="913464">
              <a:lnSpc>
                <a:spcPct val="85000"/>
              </a:lnSpc>
              <a:spcAft>
                <a:spcPts val="600"/>
              </a:spcAft>
              <a:buClr>
                <a:srgbClr val="27ACAA"/>
              </a:buClr>
              <a:buSzPct val="70000"/>
            </a:pPr>
            <a:r>
              <a:rPr lang="nb-NO" sz="1799">
                <a:solidFill>
                  <a:srgbClr val="000000"/>
                </a:solidFill>
                <a:latin typeface="EYInterstate Light"/>
              </a:rPr>
              <a:t>Gjennomsnitts-selskapet omsetter for </a:t>
            </a:r>
            <a:br>
              <a:rPr lang="nb-NO" sz="1799">
                <a:solidFill>
                  <a:srgbClr val="000000"/>
                </a:solidFill>
                <a:latin typeface="EYInterstate Light"/>
              </a:rPr>
            </a:br>
            <a:r>
              <a:rPr lang="nb-NO" sz="1799">
                <a:solidFill>
                  <a:srgbClr val="000000"/>
                </a:solidFill>
                <a:latin typeface="EYInterstate Light"/>
              </a:rPr>
              <a:t>35 millioner kroner og har </a:t>
            </a:r>
            <a:br>
              <a:rPr lang="nb-NO" sz="1799">
                <a:solidFill>
                  <a:srgbClr val="000000"/>
                </a:solidFill>
                <a:latin typeface="EYInterstate Light"/>
              </a:rPr>
            </a:br>
            <a:r>
              <a:rPr lang="nb-NO" sz="1799">
                <a:solidFill>
                  <a:srgbClr val="000000"/>
                </a:solidFill>
                <a:latin typeface="EYInterstate Light"/>
              </a:rPr>
              <a:t>14 ansatte</a:t>
            </a:r>
          </a:p>
        </p:txBody>
      </p:sp>
      <p:pic>
        <p:nvPicPr>
          <p:cNvPr id="172032" name="Picture 172031">
            <a:extLst>
              <a:ext uri="{FF2B5EF4-FFF2-40B4-BE49-F238E27FC236}">
                <a16:creationId xmlns:a16="http://schemas.microsoft.com/office/drawing/2014/main" id="{49DE70C0-AB3A-4CDA-B5A6-F0470B8620EB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807" r="23651"/>
          <a:stretch/>
        </p:blipFill>
        <p:spPr>
          <a:xfrm>
            <a:off x="9784149" y="3452955"/>
            <a:ext cx="2408172" cy="3408767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17DF0FC0-D280-4D37-91DF-174F20DFC4E5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2817" y="6350596"/>
            <a:ext cx="303888" cy="310664"/>
          </a:xfrm>
          <a:prstGeom prst="rect">
            <a:avLst/>
          </a:prstGeom>
        </p:spPr>
      </p:pic>
      <p:pic>
        <p:nvPicPr>
          <p:cNvPr id="89092" name="Picture 4" descr="Gratis arkivbilde med altmuligmann, anonym, ansiktsløs">
            <a:extLst>
              <a:ext uri="{FF2B5EF4-FFF2-40B4-BE49-F238E27FC236}">
                <a16:creationId xmlns:a16="http://schemas.microsoft.com/office/drawing/2014/main" id="{EE79EA96-CF11-4D65-B5D4-62B82F32A4B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733"/>
          <a:stretch/>
        </p:blipFill>
        <p:spPr bwMode="auto">
          <a:xfrm>
            <a:off x="7287503" y="6741"/>
            <a:ext cx="2496647" cy="34553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4215" name="Picture 7">
            <a:extLst>
              <a:ext uri="{FF2B5EF4-FFF2-40B4-BE49-F238E27FC236}">
                <a16:creationId xmlns:a16="http://schemas.microsoft.com/office/drawing/2014/main" id="{82D58DE3-B2C5-4EDE-BE35-76DE423EE84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183" r="49170"/>
          <a:stretch/>
        </p:blipFill>
        <p:spPr bwMode="auto">
          <a:xfrm>
            <a:off x="2450410" y="-16672"/>
            <a:ext cx="2464415" cy="3484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13825266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51EE368-D82E-4F0A-A88C-921BE0ECD7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337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51EE368-D82E-4F0A-A88C-921BE0ECD7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337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DA0682-EED5-4F92-8C85-B8D5800A00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786"/>
            <a:ext cx="158668" cy="158668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 defTabSz="913889"/>
            <a:endParaRPr lang="nb-NO" sz="2399">
              <a:solidFill>
                <a:srgbClr val="FFFFFF"/>
              </a:solidFill>
              <a:latin typeface="EYInterstate Light" panose="02000506000000020004" pitchFamily="2" charset="0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66A083-5F10-4D93-8891-F9728117AB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nb-NO">
                <a:solidFill>
                  <a:srgbClr val="2E2E38"/>
                </a:solidFill>
              </a:rPr>
              <a:t>Side </a:t>
            </a:r>
            <a:fld id="{F1BC30E3-FFE5-4B91-AA19-87A149EBB9EE}" type="slidenum">
              <a:rPr lang="nb-NO">
                <a:solidFill>
                  <a:srgbClr val="2E2E38"/>
                </a:solidFill>
              </a:rPr>
              <a:pPr/>
              <a:t>52</a:t>
            </a:fld>
            <a:endParaRPr lang="nb-NO">
              <a:solidFill>
                <a:srgbClr val="2E2E38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DA437A-E75D-4DB3-AFDC-62059F373E36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85444" y="295320"/>
            <a:ext cx="10973435" cy="590243"/>
          </a:xfrm>
        </p:spPr>
        <p:txBody>
          <a:bodyPr vert="horz"/>
          <a:lstStyle/>
          <a:p>
            <a:r>
              <a:rPr lang="nb-NO"/>
              <a:t>Målt etter verdiskapning er olje og gass den største næringen i Øygarden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4BD0529-1F19-4B92-9F48-D9AEB6A6EE34}"/>
              </a:ext>
            </a:extLst>
          </p:cNvPr>
          <p:cNvCxnSpPr>
            <a:cxnSpLocks/>
          </p:cNvCxnSpPr>
          <p:nvPr/>
        </p:nvCxnSpPr>
        <p:spPr>
          <a:xfrm>
            <a:off x="6096000" y="1102175"/>
            <a:ext cx="0" cy="5208989"/>
          </a:xfrm>
          <a:prstGeom prst="line">
            <a:avLst/>
          </a:prstGeom>
          <a:ln w="9525">
            <a:solidFill>
              <a:schemeClr val="bg1">
                <a:lumMod val="20000"/>
                <a:lumOff val="8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9D4C2390-3903-4F50-BC64-5694BA371C49}"/>
              </a:ext>
            </a:extLst>
          </p:cNvPr>
          <p:cNvSpPr txBox="1"/>
          <p:nvPr/>
        </p:nvSpPr>
        <p:spPr>
          <a:xfrm>
            <a:off x="926133" y="1003073"/>
            <a:ext cx="4889627" cy="421506"/>
          </a:xfrm>
          <a:prstGeom prst="rect">
            <a:avLst/>
          </a:prstGeom>
          <a:noFill/>
        </p:spPr>
        <p:txBody>
          <a:bodyPr wrap="square" lIns="0" tIns="36557" rIns="0" bIns="0" rtlCol="0">
            <a:spAutoFit/>
          </a:bodyPr>
          <a:lstStyle/>
          <a:p>
            <a:pPr algn="ctr" defTabSz="913889">
              <a:defRPr sz="1400" b="0" i="0" u="none" strike="noStrike" kern="1200" spc="0" baseline="0">
                <a:solidFill>
                  <a:srgbClr val="2E2E38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nb-NO" sz="1399">
                <a:solidFill>
                  <a:srgbClr val="2E2E38"/>
                </a:solidFill>
                <a:latin typeface="EYInterstate Light"/>
              </a:rPr>
              <a:t>Total verdiskapning, 2019</a:t>
            </a:r>
            <a:br>
              <a:rPr lang="nb-NO" sz="1399">
                <a:solidFill>
                  <a:srgbClr val="2E2E38"/>
                </a:solidFill>
                <a:latin typeface="EYInterstate Light"/>
              </a:rPr>
            </a:br>
            <a:r>
              <a:rPr lang="nb-NO" sz="1100">
                <a:solidFill>
                  <a:srgbClr val="2E2E38"/>
                </a:solidFill>
                <a:latin typeface="EYInterstate Light"/>
              </a:rPr>
              <a:t>(i 1 000 NOK)</a:t>
            </a:r>
            <a:endParaRPr lang="nb-NO" sz="1399">
              <a:solidFill>
                <a:srgbClr val="2E2E38"/>
              </a:solidFill>
              <a:latin typeface="EYInterstate Light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C49B49F1-3408-4965-A958-FCDD14D6EE5C}"/>
              </a:ext>
            </a:extLst>
          </p:cNvPr>
          <p:cNvSpPr txBox="1"/>
          <p:nvPr/>
        </p:nvSpPr>
        <p:spPr>
          <a:xfrm>
            <a:off x="6747105" y="1003073"/>
            <a:ext cx="4429103" cy="252229"/>
          </a:xfrm>
          <a:prstGeom prst="rect">
            <a:avLst/>
          </a:prstGeom>
          <a:noFill/>
        </p:spPr>
        <p:txBody>
          <a:bodyPr wrap="square" lIns="0" tIns="36557" rIns="0" bIns="0" rtlCol="0">
            <a:spAutoFit/>
          </a:bodyPr>
          <a:lstStyle/>
          <a:p>
            <a:pPr algn="ctr" defTabSz="913889">
              <a:defRPr sz="1400" b="0" i="0" u="none" strike="noStrike" kern="1200" spc="0" baseline="0">
                <a:solidFill>
                  <a:srgbClr val="2E2E38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nb-NO" sz="1399">
                <a:solidFill>
                  <a:srgbClr val="2E2E38"/>
                </a:solidFill>
                <a:latin typeface="EYInterstate Light"/>
              </a:rPr>
              <a:t>Sysselsatte, 2019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6408F9F8-1A64-4F31-82C6-6DAAE5B5DED8}"/>
              </a:ext>
            </a:extLst>
          </p:cNvPr>
          <p:cNvSpPr/>
          <p:nvPr/>
        </p:nvSpPr>
        <p:spPr>
          <a:xfrm>
            <a:off x="1142405" y="6444597"/>
            <a:ext cx="10033803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3889">
              <a:spcBef>
                <a:spcPct val="20000"/>
              </a:spcBef>
              <a:buClr>
                <a:srgbClr val="FFE600"/>
              </a:buClr>
              <a:buSzPct val="110000"/>
            </a:pPr>
            <a:r>
              <a:rPr lang="nb-NO" sz="700" baseline="30000">
                <a:solidFill>
                  <a:srgbClr val="2E2E38"/>
                </a:solidFill>
                <a:highlight>
                  <a:srgbClr val="FFFFFF"/>
                </a:highlight>
                <a:latin typeface="EYInterstate Light" panose="02000506000000020004" pitchFamily="2" charset="0"/>
              </a:rPr>
              <a:t>1</a:t>
            </a:r>
            <a:r>
              <a:rPr lang="nb-NO" sz="700">
                <a:solidFill>
                  <a:srgbClr val="2E2E38"/>
                </a:solidFill>
                <a:highlight>
                  <a:srgbClr val="FFFFFF"/>
                </a:highlight>
                <a:latin typeface="EYInterstate Light" panose="02000506000000020004" pitchFamily="2" charset="0"/>
              </a:rPr>
              <a:t>Regnskap fra landbruket er mangelfulle i Proff, og verdiskapingen innen jordbruket er derfor hentet fra </a:t>
            </a:r>
            <a:r>
              <a:rPr lang="nb-NO" sz="700" err="1">
                <a:solidFill>
                  <a:srgbClr val="2E2E38"/>
                </a:solidFill>
                <a:highlight>
                  <a:srgbClr val="FFFFFF"/>
                </a:highlight>
                <a:latin typeface="EYInterstate Light" panose="02000506000000020004" pitchFamily="2" charset="0"/>
              </a:rPr>
              <a:t>NIBIOs</a:t>
            </a:r>
            <a:r>
              <a:rPr lang="nb-NO" sz="700">
                <a:solidFill>
                  <a:srgbClr val="2E2E38"/>
                </a:solidFill>
                <a:highlight>
                  <a:srgbClr val="FFFFFF"/>
                </a:highlight>
                <a:latin typeface="EYInterstate Light" panose="02000506000000020004" pitchFamily="2" charset="0"/>
              </a:rPr>
              <a:t> analyse fra 2016, </a:t>
            </a:r>
            <a:r>
              <a:rPr lang="nn-NO" sz="700">
                <a:solidFill>
                  <a:srgbClr val="2E2E38"/>
                </a:solidFill>
                <a:highlight>
                  <a:srgbClr val="FFFFFF"/>
                </a:highlight>
                <a:latin typeface="EYInterstate Light" panose="02000506000000020004" pitchFamily="2" charset="0"/>
              </a:rPr>
              <a:t>Verdiskaping  i  landbruk  og  landbruksbasert verksemd i Hordaland og Sogn og Fjordane</a:t>
            </a:r>
            <a:r>
              <a:rPr lang="nb-NO" sz="700">
                <a:solidFill>
                  <a:srgbClr val="2E2E38"/>
                </a:solidFill>
                <a:highlight>
                  <a:srgbClr val="FFFFFF"/>
                </a:highlight>
                <a:latin typeface="EYInterstate Light" panose="02000506000000020004" pitchFamily="2" charset="0"/>
              </a:rPr>
              <a:t>, justert for inflasjon og vekst i næringen. </a:t>
            </a:r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BF389364-6A6E-4862-997E-1B9CC276C7F8}"/>
              </a:ext>
            </a:extLst>
          </p:cNvPr>
          <p:cNvGraphicFramePr>
            <a:graphicFrameLocks/>
          </p:cNvGraphicFramePr>
          <p:nvPr/>
        </p:nvGraphicFramePr>
        <p:xfrm>
          <a:off x="6247578" y="1430183"/>
          <a:ext cx="5443409" cy="45689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AC785E25-573E-4654-BAAC-B3611D130BE9}"/>
              </a:ext>
            </a:extLst>
          </p:cNvPr>
          <p:cNvGraphicFramePr>
            <a:graphicFrameLocks/>
          </p:cNvGraphicFramePr>
          <p:nvPr/>
        </p:nvGraphicFramePr>
        <p:xfrm>
          <a:off x="609600" y="1459437"/>
          <a:ext cx="5334824" cy="46325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35608607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CCF58D02-D405-4242-90A5-E9299945E3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170"/>
            <a:fld id="{91F3E1FE-2A47-48E6-B1B6-995E0AE21E24}" type="datetime1">
              <a:rPr lang="nb-NO" sz="2400">
                <a:solidFill>
                  <a:srgbClr val="FFFFFF"/>
                </a:solidFill>
                <a:latin typeface="EYInterstate Light"/>
              </a:rPr>
              <a:pPr defTabSz="1219170"/>
              <a:t>04.05.2022</a:t>
            </a:fld>
            <a:endParaRPr lang="nb-NO" sz="2400">
              <a:solidFill>
                <a:srgbClr val="FFFFFF"/>
              </a:solidFill>
              <a:latin typeface="EYInterstate Light"/>
            </a:endParaRP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AE6225EF-88E4-49F1-A451-D8C5A54E2C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/>
            <a:endParaRPr lang="nb-NO" sz="2400">
              <a:solidFill>
                <a:srgbClr val="FFFFFF"/>
              </a:solidFill>
              <a:latin typeface="EYInterstate Light"/>
            </a:endParaRP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25A0E7EF-0E19-4AE7-8B92-AF34AC4C4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B51134-B8DA-43BE-AE50-56B302084479}" type="slidenum">
              <a:rPr lang="nb-NO">
                <a:solidFill>
                  <a:srgbClr val="2E2E38"/>
                </a:solidFill>
              </a:rPr>
              <a:pPr/>
              <a:t>53</a:t>
            </a:fld>
            <a:endParaRPr lang="nb-NO">
              <a:solidFill>
                <a:srgbClr val="2E2E38"/>
              </a:solidFill>
            </a:endParaRPr>
          </a:p>
        </p:txBody>
      </p:sp>
      <p:pic>
        <p:nvPicPr>
          <p:cNvPr id="5" name="Plassholder for bilde 5" descr="VS: Næringseiendom 2022 - torsdag 5. mai / Øygarden Næringsutvikling - Melding (HTML)">
            <a:extLst>
              <a:ext uri="{FF2B5EF4-FFF2-40B4-BE49-F238E27FC236}">
                <a16:creationId xmlns:a16="http://schemas.microsoft.com/office/drawing/2014/main" id="{7BA93B84-6559-4A77-AE1D-A55C1D82D54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-59513"/>
            <a:ext cx="12192000" cy="6844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7787926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B936261-A311-49D6-A4E8-62BD218595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170"/>
            <a:fld id="{CA4AEBC0-43EA-44BB-B2D3-86740D27ABD5}" type="datetime1">
              <a:rPr lang="nb-NO" sz="2400">
                <a:solidFill>
                  <a:srgbClr val="FFFFFF"/>
                </a:solidFill>
                <a:latin typeface="EYInterstate Light"/>
              </a:rPr>
              <a:pPr defTabSz="1219170"/>
              <a:t>04.05.2022</a:t>
            </a:fld>
            <a:endParaRPr lang="nb-NO" sz="2400">
              <a:solidFill>
                <a:srgbClr val="FFFFFF"/>
              </a:solidFill>
              <a:latin typeface="EYInterstate Light"/>
            </a:endParaRP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134895AA-34A0-438A-995F-62C96CA039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/>
            <a:endParaRPr lang="nb-NO" sz="2400">
              <a:solidFill>
                <a:srgbClr val="FFFFFF"/>
              </a:solidFill>
              <a:latin typeface="EYInterstate Light"/>
            </a:endParaRP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9C273219-9B23-46DF-ADB3-45A39B689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B51134-B8DA-43BE-AE50-56B302084479}" type="slidenum">
              <a:rPr lang="nb-NO">
                <a:solidFill>
                  <a:srgbClr val="2E2E38"/>
                </a:solidFill>
              </a:rPr>
              <a:pPr/>
              <a:t>54</a:t>
            </a:fld>
            <a:endParaRPr lang="nb-NO">
              <a:solidFill>
                <a:srgbClr val="2E2E38"/>
              </a:solidFill>
            </a:endParaRPr>
          </a:p>
        </p:txBody>
      </p:sp>
      <p:pic>
        <p:nvPicPr>
          <p:cNvPr id="5" name="Plassholder for bilde 5" descr="Øygarden kunnskapsgrunnlag - Adobe Acrobat Reader DC (32-bit)">
            <a:extLst>
              <a:ext uri="{FF2B5EF4-FFF2-40B4-BE49-F238E27FC236}">
                <a16:creationId xmlns:a16="http://schemas.microsoft.com/office/drawing/2014/main" id="{ADB3DA05-67C1-4FEF-8A76-64FCD56002A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66978" y="7117"/>
            <a:ext cx="11791532" cy="6798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1443334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lassholder for bilde 5" descr="Regional rapport bergensregionen">
            <a:extLst>
              <a:ext uri="{FF2B5EF4-FFF2-40B4-BE49-F238E27FC236}">
                <a16:creationId xmlns:a16="http://schemas.microsoft.com/office/drawing/2014/main" id="{34E4D922-9C41-4DCF-9999-101009CB81F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98358" y="567211"/>
            <a:ext cx="11076743" cy="6221424"/>
          </a:xfrm>
          <a:prstGeom prst="rect">
            <a:avLst/>
          </a:prstGeom>
        </p:spPr>
      </p:pic>
      <p:sp>
        <p:nvSpPr>
          <p:cNvPr id="4" name="TekstSylinder 3">
            <a:extLst>
              <a:ext uri="{FF2B5EF4-FFF2-40B4-BE49-F238E27FC236}">
                <a16:creationId xmlns:a16="http://schemas.microsoft.com/office/drawing/2014/main" id="{19088E3D-5B70-4E63-BCD6-361A1F70F2A9}"/>
              </a:ext>
            </a:extLst>
          </p:cNvPr>
          <p:cNvSpPr txBox="1"/>
          <p:nvPr/>
        </p:nvSpPr>
        <p:spPr>
          <a:xfrm>
            <a:off x="970021" y="169089"/>
            <a:ext cx="10605080" cy="398122"/>
          </a:xfrm>
          <a:prstGeom prst="rect">
            <a:avLst/>
          </a:prstGeom>
          <a:noFill/>
        </p:spPr>
        <p:txBody>
          <a:bodyPr wrap="square" lIns="0" tIns="48768" rIns="0" bIns="0" rtlCol="0">
            <a:spAutoFit/>
          </a:bodyPr>
          <a:lstStyle/>
          <a:p>
            <a:pPr algn="ctr" defTabSz="1219170">
              <a:lnSpc>
                <a:spcPct val="85000"/>
              </a:lnSpc>
              <a:spcAft>
                <a:spcPts val="800"/>
              </a:spcAft>
              <a:buClr>
                <a:srgbClr val="27ACAA"/>
              </a:buClr>
              <a:buSzPct val="70000"/>
            </a:pPr>
            <a:r>
              <a:rPr lang="nn-NO" sz="2667" b="1">
                <a:solidFill>
                  <a:srgbClr val="2E2E3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dentifiserte prosjekt for Øygarden</a:t>
            </a:r>
            <a:endParaRPr lang="nb-NO" sz="3733" b="1">
              <a:solidFill>
                <a:srgbClr val="2E2E38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268550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>
            <a:extLst>
              <a:ext uri="{FF2B5EF4-FFF2-40B4-BE49-F238E27FC236}">
                <a16:creationId xmlns:a16="http://schemas.microsoft.com/office/drawing/2014/main" id="{AC29C824-7B21-4DD7-BCC6-64D683AA6C8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16BCEB1C-9186-4657-B598-CC1F8FAD44AD}"/>
              </a:ext>
            </a:extLst>
          </p:cNvPr>
          <p:cNvSpPr txBox="1"/>
          <p:nvPr/>
        </p:nvSpPr>
        <p:spPr>
          <a:xfrm>
            <a:off x="6540501" y="595086"/>
            <a:ext cx="406800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nb-NO" sz="4000">
                <a:solidFill>
                  <a:prstClr val="black"/>
                </a:solidFill>
                <a:latin typeface="Abadi Extra Light" panose="020B0204020104020204" pitchFamily="34" charset="0"/>
              </a:rPr>
              <a:t>CCB Energipark </a:t>
            </a: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99ECD7E6-35AA-407B-BA70-3B0E2FE63AA1}"/>
              </a:ext>
            </a:extLst>
          </p:cNvPr>
          <p:cNvSpPr txBox="1"/>
          <p:nvPr/>
        </p:nvSpPr>
        <p:spPr>
          <a:xfrm>
            <a:off x="6581775" y="1302974"/>
            <a:ext cx="417331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nb-NO" sz="1600">
                <a:solidFill>
                  <a:prstClr val="black"/>
                </a:solidFill>
                <a:latin typeface="Calibri Light" panose="020F0302020204030204"/>
              </a:rPr>
              <a:t>Mangfoldige muligheter i en sirkulær, klimafokusert verdikjede</a:t>
            </a:r>
          </a:p>
        </p:txBody>
      </p:sp>
    </p:spTree>
    <p:extLst>
      <p:ext uri="{BB962C8B-B14F-4D97-AF65-F5344CB8AC3E}">
        <p14:creationId xmlns:p14="http://schemas.microsoft.com/office/powerpoint/2010/main" val="1046633334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>
            <a:extLst>
              <a:ext uri="{FF2B5EF4-FFF2-40B4-BE49-F238E27FC236}">
                <a16:creationId xmlns:a16="http://schemas.microsoft.com/office/drawing/2014/main" id="{674EC570-C7C6-4FB9-8A7B-A8A2F34E28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Rektangel 9">
            <a:extLst>
              <a:ext uri="{FF2B5EF4-FFF2-40B4-BE49-F238E27FC236}">
                <a16:creationId xmlns:a16="http://schemas.microsoft.com/office/drawing/2014/main" id="{A2864A4C-6D17-4619-B312-3C54F71BD012}"/>
              </a:ext>
            </a:extLst>
          </p:cNvPr>
          <p:cNvSpPr/>
          <p:nvPr/>
        </p:nvSpPr>
        <p:spPr>
          <a:xfrm>
            <a:off x="443228" y="497209"/>
            <a:ext cx="638108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ast Center Base AS</a:t>
            </a:r>
            <a:endParaRPr kumimoji="0" lang="en-US" sz="1800" b="0" i="1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1" name="object 63">
            <a:extLst>
              <a:ext uri="{FF2B5EF4-FFF2-40B4-BE49-F238E27FC236}">
                <a16:creationId xmlns:a16="http://schemas.microsoft.com/office/drawing/2014/main" id="{B80A5E9B-E502-4222-B2C2-134C5688510C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0663428" y="576072"/>
            <a:ext cx="900681" cy="606551"/>
          </a:xfrm>
          <a:prstGeom prst="rect">
            <a:avLst/>
          </a:prstGeom>
        </p:spPr>
      </p:pic>
      <p:sp>
        <p:nvSpPr>
          <p:cNvPr id="12" name="TekstSylinder 11">
            <a:extLst>
              <a:ext uri="{FF2B5EF4-FFF2-40B4-BE49-F238E27FC236}">
                <a16:creationId xmlns:a16="http://schemas.microsoft.com/office/drawing/2014/main" id="{DEFEF560-176A-4EA9-BD53-3C2D290957BE}"/>
              </a:ext>
            </a:extLst>
          </p:cNvPr>
          <p:cNvSpPr txBox="1"/>
          <p:nvPr/>
        </p:nvSpPr>
        <p:spPr>
          <a:xfrm>
            <a:off x="9942897" y="6097262"/>
            <a:ext cx="24640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ww.ccb.no</a:t>
            </a: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365EF9B3-3AE3-4A3E-B46A-7135DC41F921}"/>
              </a:ext>
            </a:extLst>
          </p:cNvPr>
          <p:cNvSpPr txBox="1"/>
          <p:nvPr/>
        </p:nvSpPr>
        <p:spPr>
          <a:xfrm>
            <a:off x="1" y="2005038"/>
            <a:ext cx="12192000" cy="3560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>
                <a:tab pos="457200" algn="l"/>
              </a:tabLst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CB forvalter og drifter over 103 000 kvm bygningsmasse på Ågotnes (i Øygarden kommune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>
                <a:tab pos="457200" algn="l"/>
              </a:tabLst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aseområdet har et samlet areal på 750 000 kvm med tankparker, utelager og operasjonsområder og over 1000 m kaifront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>
                <a:tab pos="457200" algn="l"/>
              </a:tabLst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62 leietakere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>
                <a:tab pos="457200" algn="l"/>
              </a:tabLst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6 500 kvm kontor</a:t>
            </a: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>
                <a:tab pos="457200" algn="l"/>
              </a:tabLst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77 000 kvm verksted og lager</a:t>
            </a: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>
                <a:tab pos="457200" algn="l"/>
              </a:tabLst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3 plasthaller</a:t>
            </a: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>
                <a:tab pos="457200" algn="l"/>
              </a:tabLst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sjekthotell med over 350 sengeplasser</a:t>
            </a: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>
                <a:tab pos="457200" algn="l"/>
              </a:tabLst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t er jevnt økende etterspørsel på lokaler og høyt aktivitetsnivå på havnetjenest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44050153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>
            <a:extLst>
              <a:ext uri="{FF2B5EF4-FFF2-40B4-BE49-F238E27FC236}">
                <a16:creationId xmlns:a16="http://schemas.microsoft.com/office/drawing/2014/main" id="{674EC570-C7C6-4FB9-8A7B-A8A2F34E28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object 63">
            <a:extLst>
              <a:ext uri="{FF2B5EF4-FFF2-40B4-BE49-F238E27FC236}">
                <a16:creationId xmlns:a16="http://schemas.microsoft.com/office/drawing/2014/main" id="{B80A5E9B-E502-4222-B2C2-134C5688510C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0663428" y="576072"/>
            <a:ext cx="900681" cy="606551"/>
          </a:xfrm>
          <a:prstGeom prst="rect">
            <a:avLst/>
          </a:prstGeom>
        </p:spPr>
      </p:pic>
      <p:sp>
        <p:nvSpPr>
          <p:cNvPr id="12" name="TekstSylinder 11">
            <a:extLst>
              <a:ext uri="{FF2B5EF4-FFF2-40B4-BE49-F238E27FC236}">
                <a16:creationId xmlns:a16="http://schemas.microsoft.com/office/drawing/2014/main" id="{DEFEF560-176A-4EA9-BD53-3C2D290957BE}"/>
              </a:ext>
            </a:extLst>
          </p:cNvPr>
          <p:cNvSpPr txBox="1"/>
          <p:nvPr/>
        </p:nvSpPr>
        <p:spPr>
          <a:xfrm>
            <a:off x="10290049" y="6097262"/>
            <a:ext cx="19019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ww.ccb.no</a:t>
            </a:r>
          </a:p>
        </p:txBody>
      </p:sp>
      <p:pic>
        <p:nvPicPr>
          <p:cNvPr id="2" name="Bilde 1">
            <a:extLst>
              <a:ext uri="{FF2B5EF4-FFF2-40B4-BE49-F238E27FC236}">
                <a16:creationId xmlns:a16="http://schemas.microsoft.com/office/drawing/2014/main" id="{B736825A-C04F-859B-F851-38ED6ADEB60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1029004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1962288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 descr="Et bilde som inneholder himmel, utendørs, vann, båt&#10;&#10;Automatisk generert beskrivelse">
            <a:extLst>
              <a:ext uri="{FF2B5EF4-FFF2-40B4-BE49-F238E27FC236}">
                <a16:creationId xmlns:a16="http://schemas.microsoft.com/office/drawing/2014/main" id="{BDFBDD92-A56E-A339-FAC9-2CAD4413C0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29578" y="0"/>
            <a:ext cx="9137276" cy="6858000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27DB1346-80FA-62DA-EB9D-4A073BE7126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-586581"/>
            <a:ext cx="9144000" cy="2387600"/>
          </a:xfrm>
        </p:spPr>
        <p:txBody>
          <a:bodyPr/>
          <a:lstStyle/>
          <a:p>
            <a:r>
              <a:rPr lang="nb-NO">
                <a:ln>
                  <a:solidFill>
                    <a:schemeClr val="bg1"/>
                  </a:solidFill>
                </a:ln>
              </a:rPr>
              <a:t>Sotrasambandet ferdig </a:t>
            </a:r>
            <a:br>
              <a:rPr lang="nb-NO">
                <a:ln>
                  <a:solidFill>
                    <a:schemeClr val="bg1"/>
                  </a:solidFill>
                </a:ln>
              </a:rPr>
            </a:br>
            <a:r>
              <a:rPr lang="nb-NO">
                <a:ln>
                  <a:solidFill>
                    <a:schemeClr val="bg1"/>
                  </a:solidFill>
                </a:ln>
              </a:rPr>
              <a:t>juni 2027</a:t>
            </a:r>
          </a:p>
        </p:txBody>
      </p:sp>
    </p:spTree>
    <p:extLst>
      <p:ext uri="{BB962C8B-B14F-4D97-AF65-F5344CB8AC3E}">
        <p14:creationId xmlns:p14="http://schemas.microsoft.com/office/powerpoint/2010/main" val="30506474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4AD69E1-2676-470A-A5D8-867E843F1B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4AD69E1-2676-470A-A5D8-867E843F1B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Straight Connector 16">
            <a:extLst>
              <a:ext uri="{FF2B5EF4-FFF2-40B4-BE49-F238E27FC236}">
                <a16:creationId xmlns:a16="http://schemas.microsoft.com/office/drawing/2014/main" id="{0034B79B-C2E9-482C-A43D-DB5EEFC52E7E}"/>
              </a:ext>
            </a:extLst>
          </p:cNvPr>
          <p:cNvCxnSpPr>
            <a:cxnSpLocks/>
          </p:cNvCxnSpPr>
          <p:nvPr/>
        </p:nvCxnSpPr>
        <p:spPr>
          <a:xfrm>
            <a:off x="1" y="1039290"/>
            <a:ext cx="12191999" cy="0"/>
          </a:xfrm>
          <a:prstGeom prst="line">
            <a:avLst/>
          </a:prstGeom>
          <a:noFill/>
          <a:ln w="6350" cap="flat" cmpd="sng" algn="ctr">
            <a:solidFill>
              <a:srgbClr val="002060"/>
            </a:solidFill>
            <a:prstDash val="solid"/>
            <a:miter lim="800000"/>
          </a:ln>
          <a:effectLst/>
        </p:spPr>
      </p:cxnSp>
      <p:cxnSp>
        <p:nvCxnSpPr>
          <p:cNvPr id="6" name="Straight Connector 16">
            <a:extLst>
              <a:ext uri="{FF2B5EF4-FFF2-40B4-BE49-F238E27FC236}">
                <a16:creationId xmlns:a16="http://schemas.microsoft.com/office/drawing/2014/main" id="{37ED2C45-8D75-4D86-8CF8-650E0FA32D4E}"/>
              </a:ext>
            </a:extLst>
          </p:cNvPr>
          <p:cNvCxnSpPr>
            <a:cxnSpLocks/>
          </p:cNvCxnSpPr>
          <p:nvPr/>
        </p:nvCxnSpPr>
        <p:spPr>
          <a:xfrm>
            <a:off x="0" y="6176963"/>
            <a:ext cx="12191999" cy="0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miter lim="800000"/>
          </a:ln>
          <a:effectLst/>
        </p:spPr>
      </p:cxnSp>
      <p:sp>
        <p:nvSpPr>
          <p:cNvPr id="22" name="Title 1">
            <a:extLst>
              <a:ext uri="{FF2B5EF4-FFF2-40B4-BE49-F238E27FC236}">
                <a16:creationId xmlns:a16="http://schemas.microsoft.com/office/drawing/2014/main" id="{E316BF56-2A87-42BD-8307-2EA6B45E5B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3158" y="310217"/>
            <a:ext cx="7886700" cy="674336"/>
          </a:xfrm>
        </p:spPr>
        <p:txBody>
          <a:bodyPr vert="horz">
            <a:normAutofit/>
          </a:bodyPr>
          <a:lstStyle/>
          <a:p>
            <a:r>
              <a:rPr lang="en-US" sz="2800" dirty="0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BNP – </a:t>
            </a:r>
            <a:r>
              <a:rPr lang="en-US" sz="2800" dirty="0" err="1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Fastlands</a:t>
            </a:r>
            <a:r>
              <a:rPr lang="en-US" sz="2800" dirty="0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-Norge</a:t>
            </a:r>
            <a:endParaRPr lang="en-US" sz="2800" dirty="0">
              <a:solidFill>
                <a:srgbClr val="00305B"/>
              </a:solidFill>
              <a:latin typeface="+mn-lt"/>
              <a:ea typeface="Helvetica Neue Light" charset="0"/>
              <a:cs typeface="Helvetica Neue Light" charset="0"/>
            </a:endParaRPr>
          </a:p>
        </p:txBody>
      </p:sp>
      <p:pic>
        <p:nvPicPr>
          <p:cNvPr id="93" name="Bilde 6">
            <a:extLst>
              <a:ext uri="{FF2B5EF4-FFF2-40B4-BE49-F238E27FC236}">
                <a16:creationId xmlns:a16="http://schemas.microsoft.com/office/drawing/2014/main" id="{8FFA2BFA-8AF9-42B6-BDAF-841814A0BBD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043820" y="6267608"/>
            <a:ext cx="1045193" cy="519371"/>
          </a:xfrm>
          <a:prstGeom prst="rect">
            <a:avLst/>
          </a:prstGeom>
        </p:spPr>
      </p:pic>
      <p:sp>
        <p:nvSpPr>
          <p:cNvPr id="101" name="Text Placeholder 3">
            <a:extLst>
              <a:ext uri="{FF2B5EF4-FFF2-40B4-BE49-F238E27FC236}">
                <a16:creationId xmlns:a16="http://schemas.microsoft.com/office/drawing/2014/main" id="{A941FDD9-0DCB-43D9-8020-08D1CAC8EFA1}"/>
              </a:ext>
            </a:extLst>
          </p:cNvPr>
          <p:cNvSpPr txBox="1">
            <a:spLocks/>
          </p:cNvSpPr>
          <p:nvPr/>
        </p:nvSpPr>
        <p:spPr>
          <a:xfrm>
            <a:off x="200472" y="6580758"/>
            <a:ext cx="7776864" cy="2326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b-NO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err="1"/>
              <a:t>Kilde</a:t>
            </a:r>
            <a:r>
              <a:rPr lang="en-GB"/>
              <a:t>: SSB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05EB7E7D-1322-CF8B-53D2-84A46EA6C56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5638" y="1388346"/>
            <a:ext cx="11425485" cy="3985301"/>
          </a:xfrm>
          <a:prstGeom prst="rect">
            <a:avLst/>
          </a:prstGeom>
        </p:spPr>
      </p:pic>
      <p:pic>
        <p:nvPicPr>
          <p:cNvPr id="3" name="Bilde 2">
            <a:extLst>
              <a:ext uri="{FF2B5EF4-FFF2-40B4-BE49-F238E27FC236}">
                <a16:creationId xmlns:a16="http://schemas.microsoft.com/office/drawing/2014/main" id="{C111AB1A-C2C4-205B-8224-5B01FD62958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89299" y="1787869"/>
            <a:ext cx="1381117" cy="800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1756349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D599478-7656-C1F0-0592-E6E77BFA25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88B1A911-78D4-3F81-49A3-78750839E3A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2371AB28-D0B8-6AB1-4A06-05C9C32A05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3742"/>
            <a:ext cx="12576720" cy="6851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2989755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601688A-E38C-ED8D-3CF8-06F104D2A4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Transformasjon Straume – pågår med trykk.</a:t>
            </a:r>
          </a:p>
        </p:txBody>
      </p:sp>
      <p:pic>
        <p:nvPicPr>
          <p:cNvPr id="5" name="Plassholder for innhold 4" descr="Et bilde som inneholder tekst, himmel, bilvei, utendørs&#10;&#10;Automatisk generert beskrivelse">
            <a:extLst>
              <a:ext uri="{FF2B5EF4-FFF2-40B4-BE49-F238E27FC236}">
                <a16:creationId xmlns:a16="http://schemas.microsoft.com/office/drawing/2014/main" id="{29E492AD-17BA-01BD-4FAB-97FE69B1E36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343301" y="3428999"/>
            <a:ext cx="4848699" cy="3429000"/>
          </a:xfrm>
        </p:spPr>
      </p:pic>
      <p:pic>
        <p:nvPicPr>
          <p:cNvPr id="7" name="Bilde 6" descr="Et bilde som inneholder himmel, utendørs, fjell, bilvei&#10;&#10;Automatisk generert beskrivelse">
            <a:extLst>
              <a:ext uri="{FF2B5EF4-FFF2-40B4-BE49-F238E27FC236}">
                <a16:creationId xmlns:a16="http://schemas.microsoft.com/office/drawing/2014/main" id="{BE8A0445-08B2-FB34-1472-2F1BFEF2ED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3509318"/>
            <a:ext cx="3348681" cy="3348681"/>
          </a:xfrm>
          <a:prstGeom prst="rect">
            <a:avLst/>
          </a:prstGeom>
        </p:spPr>
      </p:pic>
      <p:pic>
        <p:nvPicPr>
          <p:cNvPr id="11" name="Bilde 10" descr="Et bilde som inneholder himmel, utendørs, leiegård, by&#10;&#10;Automatisk generert beskrivelse">
            <a:extLst>
              <a:ext uri="{FF2B5EF4-FFF2-40B4-BE49-F238E27FC236}">
                <a16:creationId xmlns:a16="http://schemas.microsoft.com/office/drawing/2014/main" id="{A0699509-55A4-126B-A906-38CEE14A96B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48680" y="3429000"/>
            <a:ext cx="4583938" cy="3429000"/>
          </a:xfrm>
          <a:prstGeom prst="rect">
            <a:avLst/>
          </a:prstGeom>
        </p:spPr>
      </p:pic>
      <p:pic>
        <p:nvPicPr>
          <p:cNvPr id="9" name="Bilde 8" descr="Et bilde som inneholder himmel, utendørs, bakke, strand&#10;&#10;Automatisk generert beskrivelse">
            <a:extLst>
              <a:ext uri="{FF2B5EF4-FFF2-40B4-BE49-F238E27FC236}">
                <a16:creationId xmlns:a16="http://schemas.microsoft.com/office/drawing/2014/main" id="{CAF3AED0-2EB0-F05F-F320-7D0D4B4B5DD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340571"/>
            <a:ext cx="3906238" cy="2179270"/>
          </a:xfrm>
          <a:prstGeom prst="rect">
            <a:avLst/>
          </a:prstGeom>
        </p:spPr>
      </p:pic>
      <p:pic>
        <p:nvPicPr>
          <p:cNvPr id="13" name="Bilde 12" descr="Et bilde som inneholder tekst&#10;&#10;Automatisk generert beskrivelse">
            <a:extLst>
              <a:ext uri="{FF2B5EF4-FFF2-40B4-BE49-F238E27FC236}">
                <a16:creationId xmlns:a16="http://schemas.microsoft.com/office/drawing/2014/main" id="{4658D234-F05F-CFAA-A5B4-7F831661F4F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73470" y="1336878"/>
            <a:ext cx="5818530" cy="2172440"/>
          </a:xfrm>
          <a:prstGeom prst="rect">
            <a:avLst/>
          </a:prstGeom>
        </p:spPr>
      </p:pic>
      <p:pic>
        <p:nvPicPr>
          <p:cNvPr id="15" name="Bilde 14" descr="Et bilde som inneholder himmel, utendørs, leiegård, bygning&#10;&#10;Automatisk generert beskrivelse">
            <a:extLst>
              <a:ext uri="{FF2B5EF4-FFF2-40B4-BE49-F238E27FC236}">
                <a16:creationId xmlns:a16="http://schemas.microsoft.com/office/drawing/2014/main" id="{188F0DC5-6CA5-C905-0FBE-CAA10C34262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11032" y="1336878"/>
            <a:ext cx="2862437" cy="2200409"/>
          </a:xfrm>
          <a:prstGeom prst="rect">
            <a:avLst/>
          </a:prstGeom>
        </p:spPr>
      </p:pic>
      <p:sp>
        <p:nvSpPr>
          <p:cNvPr id="16" name="TekstSylinder 15">
            <a:extLst>
              <a:ext uri="{FF2B5EF4-FFF2-40B4-BE49-F238E27FC236}">
                <a16:creationId xmlns:a16="http://schemas.microsoft.com/office/drawing/2014/main" id="{A9278D73-3B6E-7895-3434-231A21D989DF}"/>
              </a:ext>
            </a:extLst>
          </p:cNvPr>
          <p:cNvSpPr txBox="1"/>
          <p:nvPr/>
        </p:nvSpPr>
        <p:spPr>
          <a:xfrm>
            <a:off x="2351000" y="1401674"/>
            <a:ext cx="34351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>
                  <a:outerShdw blurRad="50800" dist="50800" dir="5400000" algn="ctr" rotWithShape="0">
                    <a:srgbClr val="000000"/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Straumekvarteret</a:t>
            </a: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50800" dist="50800" dir="5400000" algn="ctr" rotWithShape="0">
                  <a:srgbClr val="000000"/>
                </a:outerShdw>
              </a:effectLs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TekstSylinder 16">
            <a:extLst>
              <a:ext uri="{FF2B5EF4-FFF2-40B4-BE49-F238E27FC236}">
                <a16:creationId xmlns:a16="http://schemas.microsoft.com/office/drawing/2014/main" id="{130066AC-FD51-38DE-4DDB-62602873D8E6}"/>
              </a:ext>
            </a:extLst>
          </p:cNvPr>
          <p:cNvSpPr txBox="1"/>
          <p:nvPr/>
        </p:nvSpPr>
        <p:spPr>
          <a:xfrm>
            <a:off x="6603227" y="1361515"/>
            <a:ext cx="34351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>
                  <a:outerShdw blurRad="50800" dist="50800" dir="5400000" algn="ctr" rotWithShape="0">
                    <a:srgbClr val="000000"/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Solsio</a:t>
            </a: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>
                  <a:outerShdw blurRad="50800" dist="50800" dir="5400000" algn="ctr" rotWithShape="0">
                    <a:srgbClr val="000000"/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 – bolig</a:t>
            </a:r>
          </a:p>
        </p:txBody>
      </p:sp>
      <p:sp>
        <p:nvSpPr>
          <p:cNvPr id="18" name="TekstSylinder 17">
            <a:extLst>
              <a:ext uri="{FF2B5EF4-FFF2-40B4-BE49-F238E27FC236}">
                <a16:creationId xmlns:a16="http://schemas.microsoft.com/office/drawing/2014/main" id="{80FD6DC5-30AD-2380-2E47-B0FD4C28B065}"/>
              </a:ext>
            </a:extLst>
          </p:cNvPr>
          <p:cNvSpPr txBox="1"/>
          <p:nvPr/>
        </p:nvSpPr>
        <p:spPr>
          <a:xfrm>
            <a:off x="8050061" y="3598143"/>
            <a:ext cx="34351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>
                  <a:outerShdw blurRad="50800" dist="50800" dir="5400000" algn="ctr" rotWithShape="0">
                    <a:srgbClr val="000000"/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Solsio</a:t>
            </a: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>
                  <a:outerShdw blurRad="50800" dist="50800" dir="5400000" algn="ctr" rotWithShape="0">
                    <a:srgbClr val="000000"/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 – næring</a:t>
            </a:r>
          </a:p>
        </p:txBody>
      </p:sp>
      <p:sp>
        <p:nvSpPr>
          <p:cNvPr id="19" name="TekstSylinder 18">
            <a:extLst>
              <a:ext uri="{FF2B5EF4-FFF2-40B4-BE49-F238E27FC236}">
                <a16:creationId xmlns:a16="http://schemas.microsoft.com/office/drawing/2014/main" id="{2FAF6C51-7F6C-3525-B964-D0074D6A7D40}"/>
              </a:ext>
            </a:extLst>
          </p:cNvPr>
          <p:cNvSpPr txBox="1"/>
          <p:nvPr/>
        </p:nvSpPr>
        <p:spPr>
          <a:xfrm>
            <a:off x="493667" y="3743223"/>
            <a:ext cx="34351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>
                  <a:outerShdw blurRad="50800" dist="50800" dir="5400000" algn="ctr" rotWithShape="0">
                    <a:srgbClr val="000000"/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Kysthagen</a:t>
            </a:r>
          </a:p>
        </p:txBody>
      </p:sp>
      <p:sp>
        <p:nvSpPr>
          <p:cNvPr id="20" name="TekstSylinder 19">
            <a:extLst>
              <a:ext uri="{FF2B5EF4-FFF2-40B4-BE49-F238E27FC236}">
                <a16:creationId xmlns:a16="http://schemas.microsoft.com/office/drawing/2014/main" id="{C78E8CF1-1CF7-A742-101D-D9102AC637CE}"/>
              </a:ext>
            </a:extLst>
          </p:cNvPr>
          <p:cNvSpPr txBox="1"/>
          <p:nvPr/>
        </p:nvSpPr>
        <p:spPr>
          <a:xfrm>
            <a:off x="3466124" y="3784317"/>
            <a:ext cx="34351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>
                  <a:outerShdw blurRad="50800" dist="50800" dir="5400000" algn="ctr" rotWithShape="0">
                    <a:srgbClr val="000000"/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Grønakvartalet</a:t>
            </a: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50800" dist="50800" dir="5400000" algn="ctr" rotWithShape="0">
                  <a:srgbClr val="000000"/>
                </a:outerShdw>
              </a:effectLs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8792635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tel 1"/>
          <p:cNvSpPr>
            <a:spLocks noGrp="1"/>
          </p:cNvSpPr>
          <p:nvPr>
            <p:ph type="title"/>
          </p:nvPr>
        </p:nvSpPr>
        <p:spPr>
          <a:xfrm>
            <a:off x="0" y="-10503"/>
            <a:ext cx="12192000" cy="1143000"/>
          </a:xfrm>
        </p:spPr>
        <p:txBody>
          <a:bodyPr>
            <a:normAutofit/>
          </a:bodyPr>
          <a:lstStyle/>
          <a:p>
            <a:pPr algn="ctr"/>
            <a:r>
              <a:rPr lang="nb-NO" sz="2800" spc="300" dirty="0">
                <a:latin typeface="Helvetica Neue UltraLight" charset="0"/>
                <a:ea typeface="Helvetica Neue UltraLight" charset="0"/>
                <a:cs typeface="Helvetica Neue UltraLight" charset="0"/>
              </a:rPr>
              <a:t>Visjonen om Bildetangen – </a:t>
            </a:r>
            <a:r>
              <a:rPr lang="nb-NO" sz="2800" spc="300" dirty="0" err="1">
                <a:latin typeface="Helvetica Neue UltraLight" charset="0"/>
                <a:ea typeface="Helvetica Neue UltraLight" charset="0"/>
                <a:cs typeface="Helvetica Neue UltraLight" charset="0"/>
              </a:rPr>
              <a:t>Ein</a:t>
            </a:r>
            <a:r>
              <a:rPr lang="nb-NO" sz="2800" spc="300" dirty="0">
                <a:latin typeface="Helvetica Neue UltraLight" charset="0"/>
                <a:ea typeface="Helvetica Neue UltraLight" charset="0"/>
                <a:cs typeface="Helvetica Neue UltraLight" charset="0"/>
              </a:rPr>
              <a:t> bydel i Sotra Kystby</a:t>
            </a:r>
          </a:p>
        </p:txBody>
      </p:sp>
      <p:pic>
        <p:nvPicPr>
          <p:cNvPr id="6" name="Bild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336" y="1098696"/>
            <a:ext cx="8640960" cy="5201808"/>
          </a:xfrm>
          <a:prstGeom prst="rect">
            <a:avLst/>
          </a:prstGeom>
          <a:ln w="19050">
            <a:noFill/>
          </a:ln>
        </p:spPr>
      </p:pic>
      <p:sp>
        <p:nvSpPr>
          <p:cNvPr id="2" name="Rectangle 1"/>
          <p:cNvSpPr/>
          <p:nvPr/>
        </p:nvSpPr>
        <p:spPr>
          <a:xfrm>
            <a:off x="9192344" y="1800162"/>
            <a:ext cx="2514678" cy="1143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mrådeplan i sluttfasen. Oppstart infrastruktur 2025.</a:t>
            </a:r>
          </a:p>
        </p:txBody>
      </p:sp>
      <p:sp>
        <p:nvSpPr>
          <p:cNvPr id="9" name="Rectangle 8"/>
          <p:cNvSpPr/>
          <p:nvPr/>
        </p:nvSpPr>
        <p:spPr>
          <a:xfrm>
            <a:off x="8832304" y="3309528"/>
            <a:ext cx="2514678" cy="1008112"/>
          </a:xfrm>
          <a:prstGeom prst="rect">
            <a:avLst/>
          </a:prstGeom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-4.000 husstander</a:t>
            </a:r>
          </a:p>
        </p:txBody>
      </p:sp>
      <p:sp>
        <p:nvSpPr>
          <p:cNvPr id="10" name="Rectangle 9"/>
          <p:cNvSpPr/>
          <p:nvPr/>
        </p:nvSpPr>
        <p:spPr>
          <a:xfrm>
            <a:off x="9469965" y="4791581"/>
            <a:ext cx="2482710" cy="100811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-2.000 arbeidsplasser</a:t>
            </a:r>
          </a:p>
        </p:txBody>
      </p:sp>
      <p:pic>
        <p:nvPicPr>
          <p:cNvPr id="11" name="Bild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07148" y="6273634"/>
            <a:ext cx="760852" cy="584366"/>
          </a:xfrm>
          <a:prstGeom prst="rect">
            <a:avLst/>
          </a:prstGeom>
        </p:spPr>
      </p:pic>
      <p:pic>
        <p:nvPicPr>
          <p:cNvPr id="12" name="Bilde 11" descr="Liegruppen logo - stor.jpg"/>
          <p:cNvPicPr>
            <a:picLocks noChangeAspect="1"/>
          </p:cNvPicPr>
          <p:nvPr/>
        </p:nvPicPr>
        <p:blipFill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8836" y="6304948"/>
            <a:ext cx="1996539" cy="55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5538589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lassholder for innhold 3">
            <a:extLst>
              <a:ext uri="{FF2B5EF4-FFF2-40B4-BE49-F238E27FC236}">
                <a16:creationId xmlns:a16="http://schemas.microsoft.com/office/drawing/2014/main" id="{CA7CC173-D381-61AE-8339-5EE185FF6B2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 rot="5400000">
            <a:off x="2678290" y="-2207824"/>
            <a:ext cx="6835420" cy="11251069"/>
          </a:xfr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1FC1E417-D6E6-91D1-04DA-596DA90380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6400" y="352769"/>
            <a:ext cx="10515600" cy="1325563"/>
          </a:xfrm>
        </p:spPr>
        <p:txBody>
          <a:bodyPr/>
          <a:lstStyle/>
          <a:p>
            <a:r>
              <a:rPr lang="nb-NO"/>
              <a:t>Straume næringspark – nesten fullt.</a:t>
            </a:r>
          </a:p>
        </p:txBody>
      </p:sp>
    </p:spTree>
    <p:extLst>
      <p:ext uri="{BB962C8B-B14F-4D97-AF65-F5344CB8AC3E}">
        <p14:creationId xmlns:p14="http://schemas.microsoft.com/office/powerpoint/2010/main" val="4149794970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>
            <a:extLst>
              <a:ext uri="{FF2B5EF4-FFF2-40B4-BE49-F238E27FC236}">
                <a16:creationId xmlns:a16="http://schemas.microsoft.com/office/drawing/2014/main" id="{D85E8624-9C1A-44FA-8AC3-AB2AD4392D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90442" y="2985039"/>
            <a:ext cx="7011116" cy="887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7188055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FF56DA22-3C5D-439C-9660-31D5353FE8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FF56DA22-3C5D-439C-9660-31D5353FE8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Straight Connector 16">
            <a:extLst>
              <a:ext uri="{FF2B5EF4-FFF2-40B4-BE49-F238E27FC236}">
                <a16:creationId xmlns:a16="http://schemas.microsoft.com/office/drawing/2014/main" id="{CD5AF9D3-603D-4A95-B9CF-80505660CDD5}"/>
              </a:ext>
            </a:extLst>
          </p:cNvPr>
          <p:cNvCxnSpPr>
            <a:cxnSpLocks/>
          </p:cNvCxnSpPr>
          <p:nvPr/>
        </p:nvCxnSpPr>
        <p:spPr>
          <a:xfrm>
            <a:off x="1" y="1039290"/>
            <a:ext cx="12191999" cy="0"/>
          </a:xfrm>
          <a:prstGeom prst="line">
            <a:avLst/>
          </a:prstGeom>
          <a:noFill/>
          <a:ln w="6350" cap="flat" cmpd="sng" algn="ctr">
            <a:solidFill>
              <a:srgbClr val="00305B"/>
            </a:solidFill>
            <a:prstDash val="solid"/>
            <a:miter lim="800000"/>
          </a:ln>
          <a:effectLst/>
        </p:spPr>
      </p:cxnSp>
      <p:cxnSp>
        <p:nvCxnSpPr>
          <p:cNvPr id="5" name="Straight Connector 16">
            <a:extLst>
              <a:ext uri="{FF2B5EF4-FFF2-40B4-BE49-F238E27FC236}">
                <a16:creationId xmlns:a16="http://schemas.microsoft.com/office/drawing/2014/main" id="{97EAC974-6DDA-4214-9FC2-9E7FAE7773F3}"/>
              </a:ext>
            </a:extLst>
          </p:cNvPr>
          <p:cNvCxnSpPr>
            <a:cxnSpLocks/>
          </p:cNvCxnSpPr>
          <p:nvPr/>
        </p:nvCxnSpPr>
        <p:spPr>
          <a:xfrm>
            <a:off x="0" y="6176963"/>
            <a:ext cx="12191999" cy="0"/>
          </a:xfrm>
          <a:prstGeom prst="line">
            <a:avLst/>
          </a:prstGeom>
          <a:noFill/>
          <a:ln w="19050" cap="flat" cmpd="sng" algn="ctr">
            <a:solidFill>
              <a:srgbClr val="00305B"/>
            </a:solidFill>
            <a:prstDash val="solid"/>
            <a:miter lim="800000"/>
          </a:ln>
          <a:effectLst/>
        </p:spPr>
      </p:cxnSp>
      <p:pic>
        <p:nvPicPr>
          <p:cNvPr id="6" name="Bilde 5">
            <a:extLst>
              <a:ext uri="{FF2B5EF4-FFF2-40B4-BE49-F238E27FC236}">
                <a16:creationId xmlns:a16="http://schemas.microsoft.com/office/drawing/2014/main" id="{D2F19C8C-E5E8-43DE-8879-F51361D129D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043820" y="6267608"/>
            <a:ext cx="1045193" cy="519371"/>
          </a:xfrm>
          <a:prstGeom prst="rect">
            <a:avLst/>
          </a:prstGeom>
        </p:spPr>
      </p:pic>
      <p:sp>
        <p:nvSpPr>
          <p:cNvPr id="3" name="AutoShape 4" descr="Vil endre Nyborg i Åsane fra asfaltørken til småby">
            <a:extLst>
              <a:ext uri="{FF2B5EF4-FFF2-40B4-BE49-F238E27FC236}">
                <a16:creationId xmlns:a16="http://schemas.microsoft.com/office/drawing/2014/main" id="{B7337835-791C-4A25-8CEC-3CC79B1EAB8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845CB05-84CB-4EE9-B17E-C579181EB0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3158" y="310217"/>
            <a:ext cx="7886700" cy="674336"/>
          </a:xfrm>
        </p:spPr>
        <p:txBody>
          <a:bodyPr vert="horz">
            <a:normAutofit/>
          </a:bodyPr>
          <a:lstStyle/>
          <a:p>
            <a:r>
              <a:rPr lang="en-US" sz="2800" dirty="0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RÅDAL - SVEGATJØRN</a:t>
            </a:r>
            <a:endParaRPr lang="en-US" sz="2800" dirty="0">
              <a:solidFill>
                <a:srgbClr val="00305B"/>
              </a:solidFill>
              <a:latin typeface="+mn-lt"/>
              <a:ea typeface="Helvetica Neue Light" charset="0"/>
              <a:cs typeface="Helvetica Neue Light" charset="0"/>
            </a:endParaRPr>
          </a:p>
        </p:txBody>
      </p:sp>
      <p:pic>
        <p:nvPicPr>
          <p:cNvPr id="4104" name="Picture 8" descr="Nå blir det ny vei til Os">
            <a:extLst>
              <a:ext uri="{FF2B5EF4-FFF2-40B4-BE49-F238E27FC236}">
                <a16:creationId xmlns:a16="http://schemas.microsoft.com/office/drawing/2014/main" id="{D190361B-BB68-48B6-BF5D-45DB308D83E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3" b="1369"/>
          <a:stretch/>
        </p:blipFill>
        <p:spPr bwMode="auto">
          <a:xfrm>
            <a:off x="1771779" y="1231198"/>
            <a:ext cx="2757739" cy="4154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 descr="An aerial view of a city&#10;&#10;Description automatically generated with low confidence">
            <a:extLst>
              <a:ext uri="{FF2B5EF4-FFF2-40B4-BE49-F238E27FC236}">
                <a16:creationId xmlns:a16="http://schemas.microsoft.com/office/drawing/2014/main" id="{9032909C-D15D-4BDD-8D91-523E6C06053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8150" y="1231199"/>
            <a:ext cx="5782706" cy="4154399"/>
          </a:xfrm>
          <a:prstGeom prst="rect">
            <a:avLst/>
          </a:prstGeom>
        </p:spPr>
      </p:pic>
      <p:sp>
        <p:nvSpPr>
          <p:cNvPr id="14" name="TekstSylinder 2">
            <a:extLst>
              <a:ext uri="{FF2B5EF4-FFF2-40B4-BE49-F238E27FC236}">
                <a16:creationId xmlns:a16="http://schemas.microsoft.com/office/drawing/2014/main" id="{3EDB2635-6514-4C5C-88D0-2515FB3503A5}"/>
              </a:ext>
            </a:extLst>
          </p:cNvPr>
          <p:cNvSpPr txBox="1"/>
          <p:nvPr/>
        </p:nvSpPr>
        <p:spPr>
          <a:xfrm>
            <a:off x="1792799" y="5605197"/>
            <a:ext cx="945577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Ny motorvei fra Rådal til Os høst 2022. Nytt industriområdet Lyseparken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«Ny» vei til Flesland, </a:t>
            </a:r>
            <a:r>
              <a:rPr kumimoji="0" lang="nb-NO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dvs</a:t>
            </a: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- fra Nordås til Skeievannet.</a:t>
            </a:r>
          </a:p>
        </p:txBody>
      </p:sp>
    </p:spTree>
    <p:extLst>
      <p:ext uri="{BB962C8B-B14F-4D97-AF65-F5344CB8AC3E}">
        <p14:creationId xmlns:p14="http://schemas.microsoft.com/office/powerpoint/2010/main" val="4122810837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>
            <a:extLst>
              <a:ext uri="{FF2B5EF4-FFF2-40B4-BE49-F238E27FC236}">
                <a16:creationId xmlns:a16="http://schemas.microsoft.com/office/drawing/2014/main" id="{E037DE5B-5B74-4C55-935C-B783ED1120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799005"/>
          </a:xfrm>
          <a:prstGeom prst="rect">
            <a:avLst/>
          </a:prstGeom>
        </p:spPr>
      </p:pic>
      <p:sp>
        <p:nvSpPr>
          <p:cNvPr id="3" name="TekstSylinder 2">
            <a:extLst>
              <a:ext uri="{FF2B5EF4-FFF2-40B4-BE49-F238E27FC236}">
                <a16:creationId xmlns:a16="http://schemas.microsoft.com/office/drawing/2014/main" id="{65BEFE83-56BD-8753-44E8-FF2CCFCCED63}"/>
              </a:ext>
            </a:extLst>
          </p:cNvPr>
          <p:cNvSpPr txBox="1"/>
          <p:nvPr/>
        </p:nvSpPr>
        <p:spPr>
          <a:xfrm>
            <a:off x="0" y="192024"/>
            <a:ext cx="12192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2800" b="1" dirty="0">
                <a:solidFill>
                  <a:schemeClr val="bg1"/>
                </a:solidFill>
                <a:latin typeface="Helvetica Neue Light" panose="02000403000000020004"/>
              </a:rPr>
              <a:t>LYSEPARKEN</a:t>
            </a:r>
          </a:p>
        </p:txBody>
      </p:sp>
    </p:spTree>
    <p:extLst>
      <p:ext uri="{BB962C8B-B14F-4D97-AF65-F5344CB8AC3E}">
        <p14:creationId xmlns:p14="http://schemas.microsoft.com/office/powerpoint/2010/main" val="61339853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fallOver"/>
      </p:transition>
    </mc:Choice>
    <mc:Fallback xmlns="">
      <p:transition spd="slow">
        <p:fade/>
      </p:transition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FB37B245-142B-405C-AB8E-A64506DDD4F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D0CE7FA7-CFD1-4B4A-BE11-69873ED9F7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1811" y="0"/>
            <a:ext cx="4622906" cy="6858000"/>
          </a:xfrm>
          <a:prstGeom prst="rect">
            <a:avLst/>
          </a:prstGeom>
        </p:spPr>
      </p:pic>
      <p:sp>
        <p:nvSpPr>
          <p:cNvPr id="2" name="TekstSylinder 1">
            <a:extLst>
              <a:ext uri="{FF2B5EF4-FFF2-40B4-BE49-F238E27FC236}">
                <a16:creationId xmlns:a16="http://schemas.microsoft.com/office/drawing/2014/main" id="{F928B3C2-0DB0-4E47-9CC7-A4904D16FBB1}"/>
              </a:ext>
            </a:extLst>
          </p:cNvPr>
          <p:cNvSpPr txBox="1"/>
          <p:nvPr/>
        </p:nvSpPr>
        <p:spPr>
          <a:xfrm rot="5400000">
            <a:off x="-895726" y="2687038"/>
            <a:ext cx="603547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LYSEPARKEN</a:t>
            </a: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E1BDA10F-FFDB-4B84-9F33-146BA976A59E}"/>
              </a:ext>
            </a:extLst>
          </p:cNvPr>
          <p:cNvSpPr txBox="1"/>
          <p:nvPr/>
        </p:nvSpPr>
        <p:spPr>
          <a:xfrm rot="16200000">
            <a:off x="7116099" y="2224152"/>
            <a:ext cx="6105832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LYSEPARKEN</a:t>
            </a:r>
          </a:p>
        </p:txBody>
      </p:sp>
    </p:spTree>
    <p:extLst>
      <p:ext uri="{BB962C8B-B14F-4D97-AF65-F5344CB8AC3E}">
        <p14:creationId xmlns:p14="http://schemas.microsoft.com/office/powerpoint/2010/main" val="32400235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drape"/>
      </p:transition>
    </mc:Choice>
    <mc:Fallback xmlns="">
      <p:transition spd="slow">
        <p:fade/>
      </p:transition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CABA82C-B59B-4420-94F5-0E5F15D329B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7B42E493-BC8E-4EE0-BDE9-A136CEA5E2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036552" cy="6861831"/>
          </a:xfrm>
          <a:prstGeom prst="rect">
            <a:avLst/>
          </a:prstGeom>
        </p:spPr>
      </p:pic>
      <p:sp>
        <p:nvSpPr>
          <p:cNvPr id="3" name="TekstSylinder 2">
            <a:extLst>
              <a:ext uri="{FF2B5EF4-FFF2-40B4-BE49-F238E27FC236}">
                <a16:creationId xmlns:a16="http://schemas.microsoft.com/office/drawing/2014/main" id="{37CB5C0A-E085-E58D-6CDE-A6095D3A8749}"/>
              </a:ext>
            </a:extLst>
          </p:cNvPr>
          <p:cNvSpPr txBox="1"/>
          <p:nvPr/>
        </p:nvSpPr>
        <p:spPr>
          <a:xfrm>
            <a:off x="0" y="118872"/>
            <a:ext cx="3703320" cy="769441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nb-NO" sz="2200" dirty="0">
                <a:solidFill>
                  <a:schemeClr val="bg1"/>
                </a:solidFill>
                <a:latin typeface="Helvetica Neue Light" panose="02000403000000020004"/>
              </a:rPr>
              <a:t>Planområde totalt 700 daa</a:t>
            </a:r>
          </a:p>
          <a:p>
            <a:r>
              <a:rPr lang="nb-NO" sz="2200" dirty="0">
                <a:solidFill>
                  <a:schemeClr val="bg1"/>
                </a:solidFill>
                <a:latin typeface="Helvetica Neue Light" panose="02000403000000020004"/>
              </a:rPr>
              <a:t>For utbygging ca. 500 daa</a:t>
            </a: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719B59BC-03DE-CBF6-4CA8-54D927FF805D}"/>
              </a:ext>
            </a:extLst>
          </p:cNvPr>
          <p:cNvSpPr txBox="1"/>
          <p:nvPr/>
        </p:nvSpPr>
        <p:spPr>
          <a:xfrm>
            <a:off x="7927848" y="118871"/>
            <a:ext cx="4108704" cy="769441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nb-NO" sz="2200" dirty="0">
                <a:solidFill>
                  <a:schemeClr val="bg1"/>
                </a:solidFill>
                <a:latin typeface="Helvetica Neue Light" panose="02000403000000020004"/>
              </a:rPr>
              <a:t>Godkjent BRA – 700.000 m² inkludert parkering (100.000 m²)</a:t>
            </a:r>
          </a:p>
        </p:txBody>
      </p:sp>
    </p:spTree>
    <p:extLst>
      <p:ext uri="{BB962C8B-B14F-4D97-AF65-F5344CB8AC3E}">
        <p14:creationId xmlns:p14="http://schemas.microsoft.com/office/powerpoint/2010/main" val="69894307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fallOver"/>
      </p:transition>
    </mc:Choice>
    <mc:Fallback xmlns="">
      <p:transition spd="slow">
        <p:fade/>
      </p:transition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>
            <a:extLst>
              <a:ext uri="{FF2B5EF4-FFF2-40B4-BE49-F238E27FC236}">
                <a16:creationId xmlns:a16="http://schemas.microsoft.com/office/drawing/2014/main" id="{B71FB934-4B6E-4E1C-94D9-B39C86F457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"/>
            <a:ext cx="1219199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70960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3158" y="310217"/>
            <a:ext cx="10292584" cy="674336"/>
          </a:xfrm>
        </p:spPr>
        <p:txBody>
          <a:bodyPr>
            <a:normAutofit/>
          </a:bodyPr>
          <a:lstStyle/>
          <a:p>
            <a:r>
              <a:rPr lang="en-US" sz="2800" dirty="0" err="1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Arbeidsledighet</a:t>
            </a:r>
            <a:r>
              <a:rPr lang="en-US" sz="2800" dirty="0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 </a:t>
            </a:r>
            <a:r>
              <a:rPr lang="en-US" sz="2800" dirty="0" err="1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Vestland</a:t>
            </a:r>
            <a:r>
              <a:rPr lang="en-US" sz="2800" dirty="0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 – </a:t>
            </a:r>
            <a:r>
              <a:rPr lang="en-US" sz="2800" dirty="0" err="1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laveste</a:t>
            </a:r>
            <a:r>
              <a:rPr lang="en-US" sz="2800" dirty="0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 </a:t>
            </a:r>
            <a:r>
              <a:rPr lang="en-US" sz="2800" dirty="0" err="1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ledighet</a:t>
            </a:r>
            <a:r>
              <a:rPr lang="en-US" sz="2800" dirty="0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 </a:t>
            </a:r>
            <a:r>
              <a:rPr lang="en-US" sz="2800" dirty="0" err="1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på</a:t>
            </a:r>
            <a:r>
              <a:rPr lang="en-US" sz="2800" dirty="0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 14 </a:t>
            </a:r>
            <a:r>
              <a:rPr lang="en-US" sz="2800" dirty="0" err="1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år</a:t>
            </a:r>
            <a:endParaRPr lang="en-US" sz="2800" dirty="0">
              <a:solidFill>
                <a:srgbClr val="00305B"/>
              </a:solidFill>
              <a:latin typeface="+mn-lt"/>
              <a:ea typeface="Helvetica Neue Light" charset="0"/>
              <a:cs typeface="Helvetica Neue Light" charset="0"/>
            </a:endParaRPr>
          </a:p>
        </p:txBody>
      </p:sp>
      <p:graphicFrame>
        <p:nvGraphicFramePr>
          <p:cNvPr id="11" name="Plassholder for innhold 6"/>
          <p:cNvGraphicFramePr>
            <a:graphicFrameLocks noGrp="1"/>
          </p:cNvGraphicFramePr>
          <p:nvPr>
            <p:ph idx="1"/>
          </p:nvPr>
        </p:nvGraphicFramePr>
        <p:xfrm>
          <a:off x="725865" y="1184097"/>
          <a:ext cx="10668966" cy="41726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kstSylinder 2"/>
          <p:cNvSpPr txBox="1"/>
          <p:nvPr/>
        </p:nvSpPr>
        <p:spPr>
          <a:xfrm>
            <a:off x="716517" y="5591254"/>
            <a:ext cx="85366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37" marR="0" lvl="0" indent="-285737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kun 1,9 % av arbeidsstyrken er arbeidsledig per mars 2022.</a:t>
            </a:r>
          </a:p>
        </p:txBody>
      </p:sp>
      <p:cxnSp>
        <p:nvCxnSpPr>
          <p:cNvPr id="5" name="Straight Connector 16">
            <a:extLst>
              <a:ext uri="{FF2B5EF4-FFF2-40B4-BE49-F238E27FC236}">
                <a16:creationId xmlns:a16="http://schemas.microsoft.com/office/drawing/2014/main" id="{0034B79B-C2E9-482C-A43D-DB5EEFC52E7E}"/>
              </a:ext>
            </a:extLst>
          </p:cNvPr>
          <p:cNvCxnSpPr>
            <a:cxnSpLocks/>
          </p:cNvCxnSpPr>
          <p:nvPr/>
        </p:nvCxnSpPr>
        <p:spPr>
          <a:xfrm>
            <a:off x="1" y="1039290"/>
            <a:ext cx="12191999" cy="0"/>
          </a:xfrm>
          <a:prstGeom prst="line">
            <a:avLst/>
          </a:prstGeom>
          <a:noFill/>
          <a:ln w="6350" cap="flat" cmpd="sng" algn="ctr">
            <a:solidFill>
              <a:srgbClr val="002060"/>
            </a:solidFill>
            <a:prstDash val="solid"/>
            <a:miter lim="800000"/>
          </a:ln>
          <a:effectLst/>
        </p:spPr>
      </p:cxnSp>
      <p:cxnSp>
        <p:nvCxnSpPr>
          <p:cNvPr id="6" name="Straight Connector 16">
            <a:extLst>
              <a:ext uri="{FF2B5EF4-FFF2-40B4-BE49-F238E27FC236}">
                <a16:creationId xmlns:a16="http://schemas.microsoft.com/office/drawing/2014/main" id="{37ED2C45-8D75-4D86-8CF8-650E0FA32D4E}"/>
              </a:ext>
            </a:extLst>
          </p:cNvPr>
          <p:cNvCxnSpPr>
            <a:cxnSpLocks/>
          </p:cNvCxnSpPr>
          <p:nvPr/>
        </p:nvCxnSpPr>
        <p:spPr>
          <a:xfrm>
            <a:off x="0" y="6176963"/>
            <a:ext cx="12191999" cy="0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miter lim="800000"/>
          </a:ln>
          <a:effectLst/>
        </p:spPr>
      </p:cxnSp>
      <p:pic>
        <p:nvPicPr>
          <p:cNvPr id="7" name="Bilde 6">
            <a:extLst>
              <a:ext uri="{FF2B5EF4-FFF2-40B4-BE49-F238E27FC236}">
                <a16:creationId xmlns:a16="http://schemas.microsoft.com/office/drawing/2014/main" id="{1D8F4DA5-1E84-4A50-8F85-BA33BDDFEB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43820" y="6267608"/>
            <a:ext cx="1045193" cy="519371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A330776B-F64C-4D6F-906C-4602E8E393DE}"/>
              </a:ext>
            </a:extLst>
          </p:cNvPr>
          <p:cNvSpPr txBox="1">
            <a:spLocks/>
          </p:cNvSpPr>
          <p:nvPr/>
        </p:nvSpPr>
        <p:spPr>
          <a:xfrm>
            <a:off x="200472" y="6580758"/>
            <a:ext cx="7776864" cy="2326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b-NO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ilde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SSB</a:t>
            </a:r>
          </a:p>
        </p:txBody>
      </p:sp>
      <p:sp>
        <p:nvSpPr>
          <p:cNvPr id="10" name="Snakkeboble: oval 9">
            <a:extLst>
              <a:ext uri="{FF2B5EF4-FFF2-40B4-BE49-F238E27FC236}">
                <a16:creationId xmlns:a16="http://schemas.microsoft.com/office/drawing/2014/main" id="{BB355196-F804-9099-1DA0-18B7D13A4920}"/>
              </a:ext>
            </a:extLst>
          </p:cNvPr>
          <p:cNvSpPr/>
          <p:nvPr/>
        </p:nvSpPr>
        <p:spPr>
          <a:xfrm>
            <a:off x="9253192" y="5393733"/>
            <a:ext cx="1427967" cy="680197"/>
          </a:xfrm>
          <a:prstGeom prst="wedgeEllipseCallout">
            <a:avLst>
              <a:gd name="adj1" fmla="val 26526"/>
              <a:gd name="adj2" fmla="val -11534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.9 %</a:t>
            </a:r>
          </a:p>
        </p:txBody>
      </p:sp>
    </p:spTree>
    <p:extLst>
      <p:ext uri="{BB962C8B-B14F-4D97-AF65-F5344CB8AC3E}">
        <p14:creationId xmlns:p14="http://schemas.microsoft.com/office/powerpoint/2010/main" val="2461878183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8E1D63FB-EA93-4C8D-9ACC-7F81818986C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25730" y="0"/>
            <a:ext cx="11940539" cy="1182143"/>
          </a:xfrm>
        </p:spPr>
        <p:txBody>
          <a:bodyPr>
            <a:normAutofit/>
          </a:bodyPr>
          <a:lstStyle/>
          <a:p>
            <a:r>
              <a:rPr lang="nb-NO" sz="3600">
                <a:solidFill>
                  <a:srgbClr val="92D050"/>
                </a:solidFill>
              </a:rPr>
              <a:t>OM IKKE I LYSEPARKEN, SÅ I BJØRNAFJORDEN !</a:t>
            </a:r>
            <a:endParaRPr lang="en-US" sz="3600">
              <a:solidFill>
                <a:srgbClr val="92D050"/>
              </a:solidFill>
            </a:endParaRP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830580" y="1182143"/>
            <a:ext cx="5524500" cy="5249137"/>
          </a:xfrm>
        </p:spPr>
        <p:txBody>
          <a:bodyPr>
            <a:normAutofit fontScale="92500" lnSpcReduction="20000"/>
          </a:bodyPr>
          <a:lstStyle/>
          <a:p>
            <a:pPr>
              <a:buClr>
                <a:srgbClr val="92D050"/>
              </a:buClr>
              <a:buFont typeface="Wingdings" panose="05000000000000000000" pitchFamily="2" charset="2"/>
              <a:buChar char="Ø"/>
            </a:pPr>
            <a:r>
              <a:rPr lang="nb-NO" sz="2600">
                <a:latin typeface="Book Antiqua" panose="02040602050305030304" pitchFamily="18" charset="0"/>
              </a:rPr>
              <a:t>Samnøy</a:t>
            </a:r>
          </a:p>
          <a:p>
            <a:pPr>
              <a:buClr>
                <a:srgbClr val="92D050"/>
              </a:buClr>
              <a:buFont typeface="Wingdings" panose="05000000000000000000" pitchFamily="2" charset="2"/>
              <a:buChar char="Ø"/>
            </a:pPr>
            <a:r>
              <a:rPr lang="nb-NO" sz="2600" err="1">
                <a:latin typeface="Book Antiqua" panose="02040602050305030304" pitchFamily="18" charset="0"/>
              </a:rPr>
              <a:t>Ådnadalen</a:t>
            </a:r>
            <a:endParaRPr lang="nb-NO" sz="2600">
              <a:latin typeface="Book Antiqua" panose="02040602050305030304" pitchFamily="18" charset="0"/>
            </a:endParaRPr>
          </a:p>
          <a:p>
            <a:pPr>
              <a:buClr>
                <a:srgbClr val="92D050"/>
              </a:buClr>
              <a:buFont typeface="Wingdings" panose="05000000000000000000" pitchFamily="2" charset="2"/>
              <a:buChar char="Ø"/>
            </a:pPr>
            <a:r>
              <a:rPr lang="nb-NO" sz="2600" err="1">
                <a:latin typeface="Book Antiqua" panose="02040602050305030304" pitchFamily="18" charset="0"/>
              </a:rPr>
              <a:t>Kloppamyra</a:t>
            </a:r>
            <a:endParaRPr lang="nb-NO" sz="2600">
              <a:latin typeface="Book Antiqua" panose="02040602050305030304" pitchFamily="18" charset="0"/>
            </a:endParaRPr>
          </a:p>
          <a:p>
            <a:pPr>
              <a:buClr>
                <a:srgbClr val="92D050"/>
              </a:buClr>
              <a:buFont typeface="Wingdings" panose="05000000000000000000" pitchFamily="2" charset="2"/>
              <a:buChar char="Ø"/>
            </a:pPr>
            <a:r>
              <a:rPr lang="nb-NO" sz="2600">
                <a:latin typeface="Book Antiqua" panose="02040602050305030304" pitchFamily="18" charset="0"/>
              </a:rPr>
              <a:t>Kolskogen</a:t>
            </a:r>
          </a:p>
          <a:p>
            <a:pPr>
              <a:buClr>
                <a:srgbClr val="92D050"/>
              </a:buClr>
              <a:buFont typeface="Wingdings" panose="05000000000000000000" pitchFamily="2" charset="2"/>
              <a:buChar char="Ø"/>
            </a:pPr>
            <a:r>
              <a:rPr lang="nb-NO" sz="2600">
                <a:latin typeface="Book Antiqua" panose="02040602050305030304" pitchFamily="18" charset="0"/>
              </a:rPr>
              <a:t>Åsen</a:t>
            </a:r>
          </a:p>
          <a:p>
            <a:pPr>
              <a:buClr>
                <a:srgbClr val="92D050"/>
              </a:buClr>
              <a:buFont typeface="Wingdings" panose="05000000000000000000" pitchFamily="2" charset="2"/>
              <a:buChar char="Ø"/>
            </a:pPr>
            <a:r>
              <a:rPr lang="nb-NO" sz="2600">
                <a:latin typeface="Book Antiqua" panose="02040602050305030304" pitchFamily="18" charset="0"/>
              </a:rPr>
              <a:t>Hegglandsdalen</a:t>
            </a:r>
          </a:p>
          <a:p>
            <a:pPr>
              <a:buClr>
                <a:srgbClr val="92D050"/>
              </a:buClr>
              <a:buFont typeface="Wingdings" panose="05000000000000000000" pitchFamily="2" charset="2"/>
              <a:buChar char="Ø"/>
            </a:pPr>
            <a:r>
              <a:rPr lang="nb-NO" sz="2600" err="1">
                <a:latin typeface="Book Antiqua" panose="02040602050305030304" pitchFamily="18" charset="0"/>
              </a:rPr>
              <a:t>Sørstrøno</a:t>
            </a:r>
            <a:endParaRPr lang="nb-NO" sz="2600">
              <a:latin typeface="Book Antiqua" panose="02040602050305030304" pitchFamily="18" charset="0"/>
            </a:endParaRPr>
          </a:p>
          <a:p>
            <a:pPr>
              <a:buClr>
                <a:srgbClr val="92D050"/>
              </a:buClr>
              <a:buFont typeface="Wingdings" panose="05000000000000000000" pitchFamily="2" charset="2"/>
              <a:buChar char="Ø"/>
            </a:pPr>
            <a:r>
              <a:rPr lang="nb-NO" sz="2600">
                <a:latin typeface="Book Antiqua" panose="02040602050305030304" pitchFamily="18" charset="0"/>
              </a:rPr>
              <a:t>Holmefjord</a:t>
            </a:r>
          </a:p>
          <a:p>
            <a:pPr>
              <a:buClr>
                <a:srgbClr val="92D050"/>
              </a:buClr>
              <a:buFont typeface="Wingdings" panose="05000000000000000000" pitchFamily="2" charset="2"/>
              <a:buChar char="Ø"/>
            </a:pPr>
            <a:r>
              <a:rPr lang="nb-NO" sz="2600">
                <a:latin typeface="Book Antiqua" panose="02040602050305030304" pitchFamily="18" charset="0"/>
              </a:rPr>
              <a:t>Lauvfjellet</a:t>
            </a:r>
          </a:p>
          <a:p>
            <a:pPr>
              <a:buClr>
                <a:srgbClr val="92D050"/>
              </a:buClr>
              <a:buFont typeface="Wingdings" panose="05000000000000000000" pitchFamily="2" charset="2"/>
              <a:buChar char="Ø"/>
            </a:pPr>
            <a:r>
              <a:rPr lang="nb-NO" sz="2600" err="1">
                <a:latin typeface="Book Antiqua" panose="02040602050305030304" pitchFamily="18" charset="0"/>
              </a:rPr>
              <a:t>Hafskor</a:t>
            </a:r>
            <a:endParaRPr lang="nb-NO" sz="2600">
              <a:latin typeface="Book Antiqua" panose="02040602050305030304" pitchFamily="18" charset="0"/>
            </a:endParaRPr>
          </a:p>
          <a:p>
            <a:pPr>
              <a:buClr>
                <a:srgbClr val="92D050"/>
              </a:buClr>
              <a:buFont typeface="Wingdings" panose="05000000000000000000" pitchFamily="2" charset="2"/>
              <a:buChar char="Ø"/>
            </a:pPr>
            <a:r>
              <a:rPr lang="nb-NO" sz="2600" err="1">
                <a:latin typeface="Book Antiqua" panose="02040602050305030304" pitchFamily="18" charset="0"/>
              </a:rPr>
              <a:t>Eikelandsheiane</a:t>
            </a:r>
            <a:endParaRPr lang="nb-NO" sz="2600">
              <a:latin typeface="Book Antiqua" panose="02040602050305030304" pitchFamily="18" charset="0"/>
            </a:endParaRPr>
          </a:p>
          <a:p>
            <a:pPr>
              <a:buClr>
                <a:srgbClr val="92D050"/>
              </a:buClr>
              <a:buFont typeface="Wingdings" panose="05000000000000000000" pitchFamily="2" charset="2"/>
              <a:buChar char="Ø"/>
            </a:pPr>
            <a:r>
              <a:rPr lang="nb-NO" sz="2600" err="1">
                <a:latin typeface="Book Antiqua" panose="02040602050305030304" pitchFamily="18" charset="0"/>
              </a:rPr>
              <a:t>Engjavik</a:t>
            </a:r>
            <a:endParaRPr lang="nb-NO" sz="2600">
              <a:latin typeface="Book Antiqua" panose="02040602050305030304" pitchFamily="18" charset="0"/>
            </a:endParaRPr>
          </a:p>
          <a:p>
            <a:pPr>
              <a:buClr>
                <a:srgbClr val="92D050"/>
              </a:buClr>
              <a:buFont typeface="Wingdings" panose="05000000000000000000" pitchFamily="2" charset="2"/>
              <a:buChar char="Ø"/>
            </a:pPr>
            <a:r>
              <a:rPr lang="nb-NO" sz="2600">
                <a:latin typeface="Book Antiqua" panose="02040602050305030304" pitchFamily="18" charset="0"/>
              </a:rPr>
              <a:t>K&amp;F</a:t>
            </a:r>
          </a:p>
          <a:p>
            <a:pPr lvl="6"/>
            <a:r>
              <a:rPr lang="nb-NO"/>
              <a:t>SS</a:t>
            </a:r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2FA7DCA7-B850-4BB1-B865-B4E9C959C5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74534" y="1032921"/>
            <a:ext cx="6148125" cy="5010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5310168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16">
            <a:extLst>
              <a:ext uri="{FF2B5EF4-FFF2-40B4-BE49-F238E27FC236}">
                <a16:creationId xmlns:a16="http://schemas.microsoft.com/office/drawing/2014/main" id="{CD5AF9D3-603D-4A95-B9CF-80505660CDD5}"/>
              </a:ext>
            </a:extLst>
          </p:cNvPr>
          <p:cNvCxnSpPr>
            <a:cxnSpLocks/>
          </p:cNvCxnSpPr>
          <p:nvPr/>
        </p:nvCxnSpPr>
        <p:spPr>
          <a:xfrm>
            <a:off x="1" y="1039290"/>
            <a:ext cx="12191999" cy="0"/>
          </a:xfrm>
          <a:prstGeom prst="line">
            <a:avLst/>
          </a:prstGeom>
          <a:noFill/>
          <a:ln w="6350" cap="flat" cmpd="sng" algn="ctr">
            <a:solidFill>
              <a:srgbClr val="00305B"/>
            </a:solidFill>
            <a:prstDash val="solid"/>
            <a:miter lim="800000"/>
          </a:ln>
          <a:effectLst/>
        </p:spPr>
      </p:cxnSp>
      <p:cxnSp>
        <p:nvCxnSpPr>
          <p:cNvPr id="5" name="Straight Connector 16">
            <a:extLst>
              <a:ext uri="{FF2B5EF4-FFF2-40B4-BE49-F238E27FC236}">
                <a16:creationId xmlns:a16="http://schemas.microsoft.com/office/drawing/2014/main" id="{97EAC974-6DDA-4214-9FC2-9E7FAE7773F3}"/>
              </a:ext>
            </a:extLst>
          </p:cNvPr>
          <p:cNvCxnSpPr>
            <a:cxnSpLocks/>
          </p:cNvCxnSpPr>
          <p:nvPr/>
        </p:nvCxnSpPr>
        <p:spPr>
          <a:xfrm>
            <a:off x="0" y="6176963"/>
            <a:ext cx="12191999" cy="0"/>
          </a:xfrm>
          <a:prstGeom prst="line">
            <a:avLst/>
          </a:prstGeom>
          <a:noFill/>
          <a:ln w="19050" cap="flat" cmpd="sng" algn="ctr">
            <a:solidFill>
              <a:srgbClr val="00305B"/>
            </a:solidFill>
            <a:prstDash val="solid"/>
            <a:miter lim="800000"/>
          </a:ln>
          <a:effectLst/>
        </p:spPr>
      </p:cxnSp>
      <p:pic>
        <p:nvPicPr>
          <p:cNvPr id="6" name="Bilde 5">
            <a:extLst>
              <a:ext uri="{FF2B5EF4-FFF2-40B4-BE49-F238E27FC236}">
                <a16:creationId xmlns:a16="http://schemas.microsoft.com/office/drawing/2014/main" id="{D2F19C8C-E5E8-43DE-8879-F51361D129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43820" y="6267608"/>
            <a:ext cx="1045193" cy="519371"/>
          </a:xfrm>
          <a:prstGeom prst="rect">
            <a:avLst/>
          </a:prstGeom>
        </p:spPr>
      </p:pic>
      <p:pic>
        <p:nvPicPr>
          <p:cNvPr id="2" name="Bilde 1">
            <a:extLst>
              <a:ext uri="{FF2B5EF4-FFF2-40B4-BE49-F238E27FC236}">
                <a16:creationId xmlns:a16="http://schemas.microsoft.com/office/drawing/2014/main" id="{58918B9B-E689-3A5B-DFBD-94CB1DBB98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683151"/>
            <a:ext cx="4953000" cy="1809750"/>
          </a:xfrm>
          <a:prstGeom prst="rect">
            <a:avLst/>
          </a:prstGeom>
        </p:spPr>
      </p:pic>
      <p:pic>
        <p:nvPicPr>
          <p:cNvPr id="3" name="Bilde 2">
            <a:extLst>
              <a:ext uri="{FF2B5EF4-FFF2-40B4-BE49-F238E27FC236}">
                <a16:creationId xmlns:a16="http://schemas.microsoft.com/office/drawing/2014/main" id="{1ED5C11B-1780-C05C-584A-830D4C88D90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10373" y="1505545"/>
            <a:ext cx="7681626" cy="3846909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B98195FC-53DF-9B3D-3877-437702F2536D}"/>
              </a:ext>
            </a:extLst>
          </p:cNvPr>
          <p:cNvSpPr txBox="1">
            <a:spLocks/>
          </p:cNvSpPr>
          <p:nvPr/>
        </p:nvSpPr>
        <p:spPr>
          <a:xfrm>
            <a:off x="893158" y="310217"/>
            <a:ext cx="9140190" cy="6743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err="1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Blir</a:t>
            </a:r>
            <a:r>
              <a:rPr lang="en-US" sz="2800" dirty="0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 vi mange </a:t>
            </a:r>
            <a:r>
              <a:rPr lang="en-US" sz="2800" dirty="0" err="1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nok</a:t>
            </a:r>
            <a:r>
              <a:rPr lang="en-US" sz="2800" dirty="0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?</a:t>
            </a:r>
            <a:endParaRPr lang="en-US" sz="2800" dirty="0">
              <a:solidFill>
                <a:srgbClr val="00305B"/>
              </a:solidFill>
              <a:latin typeface="+mn-lt"/>
              <a:ea typeface="Helvetica Neue Light" charset="0"/>
              <a:cs typeface="Helvetica Neue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3447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16">
            <a:extLst>
              <a:ext uri="{FF2B5EF4-FFF2-40B4-BE49-F238E27FC236}">
                <a16:creationId xmlns:a16="http://schemas.microsoft.com/office/drawing/2014/main" id="{CD5AF9D3-603D-4A95-B9CF-80505660CDD5}"/>
              </a:ext>
            </a:extLst>
          </p:cNvPr>
          <p:cNvCxnSpPr>
            <a:cxnSpLocks/>
          </p:cNvCxnSpPr>
          <p:nvPr/>
        </p:nvCxnSpPr>
        <p:spPr>
          <a:xfrm>
            <a:off x="1" y="1039290"/>
            <a:ext cx="12191999" cy="0"/>
          </a:xfrm>
          <a:prstGeom prst="line">
            <a:avLst/>
          </a:prstGeom>
          <a:noFill/>
          <a:ln w="6350" cap="flat" cmpd="sng" algn="ctr">
            <a:solidFill>
              <a:srgbClr val="00305B"/>
            </a:solidFill>
            <a:prstDash val="solid"/>
            <a:miter lim="800000"/>
          </a:ln>
          <a:effectLst/>
        </p:spPr>
      </p:cxnSp>
      <p:cxnSp>
        <p:nvCxnSpPr>
          <p:cNvPr id="5" name="Straight Connector 16">
            <a:extLst>
              <a:ext uri="{FF2B5EF4-FFF2-40B4-BE49-F238E27FC236}">
                <a16:creationId xmlns:a16="http://schemas.microsoft.com/office/drawing/2014/main" id="{97EAC974-6DDA-4214-9FC2-9E7FAE7773F3}"/>
              </a:ext>
            </a:extLst>
          </p:cNvPr>
          <p:cNvCxnSpPr>
            <a:cxnSpLocks/>
          </p:cNvCxnSpPr>
          <p:nvPr/>
        </p:nvCxnSpPr>
        <p:spPr>
          <a:xfrm>
            <a:off x="0" y="6176963"/>
            <a:ext cx="12191999" cy="0"/>
          </a:xfrm>
          <a:prstGeom prst="line">
            <a:avLst/>
          </a:prstGeom>
          <a:noFill/>
          <a:ln w="19050" cap="flat" cmpd="sng" algn="ctr">
            <a:solidFill>
              <a:srgbClr val="00305B"/>
            </a:solidFill>
            <a:prstDash val="solid"/>
            <a:miter lim="800000"/>
          </a:ln>
          <a:effectLst/>
        </p:spPr>
      </p:cxnSp>
      <p:pic>
        <p:nvPicPr>
          <p:cNvPr id="6" name="Bilde 5">
            <a:extLst>
              <a:ext uri="{FF2B5EF4-FFF2-40B4-BE49-F238E27FC236}">
                <a16:creationId xmlns:a16="http://schemas.microsoft.com/office/drawing/2014/main" id="{D2F19C8C-E5E8-43DE-8879-F51361D129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43820" y="6267608"/>
            <a:ext cx="1045193" cy="519371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B98195FC-53DF-9B3D-3877-437702F2536D}"/>
              </a:ext>
            </a:extLst>
          </p:cNvPr>
          <p:cNvSpPr txBox="1">
            <a:spLocks/>
          </p:cNvSpPr>
          <p:nvPr/>
        </p:nvSpPr>
        <p:spPr>
          <a:xfrm>
            <a:off x="893158" y="310217"/>
            <a:ext cx="9140190" cy="6743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err="1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Blir</a:t>
            </a:r>
            <a:r>
              <a:rPr lang="en-US" sz="2800" dirty="0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 vi mange </a:t>
            </a:r>
            <a:r>
              <a:rPr lang="en-US" sz="2800" dirty="0" err="1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nok</a:t>
            </a:r>
            <a:r>
              <a:rPr lang="en-US" sz="2800" dirty="0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?</a:t>
            </a:r>
            <a:endParaRPr lang="en-US" sz="2800" dirty="0">
              <a:solidFill>
                <a:srgbClr val="00305B"/>
              </a:solidFill>
              <a:latin typeface="+mn-lt"/>
              <a:ea typeface="Helvetica Neue Light" charset="0"/>
              <a:cs typeface="Helvetica Neue Light" charset="0"/>
            </a:endParaRP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FC259B5F-2C78-8CCC-3908-4E2E1CD12D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73646" y="2249426"/>
            <a:ext cx="3680714" cy="2061200"/>
          </a:xfrm>
          <a:prstGeom prst="rect">
            <a:avLst/>
          </a:prstGeom>
        </p:spPr>
      </p:pic>
      <p:pic>
        <p:nvPicPr>
          <p:cNvPr id="12" name="Bilde 11">
            <a:extLst>
              <a:ext uri="{FF2B5EF4-FFF2-40B4-BE49-F238E27FC236}">
                <a16:creationId xmlns:a16="http://schemas.microsoft.com/office/drawing/2014/main" id="{E83E4330-36A4-171F-9C8D-783832149F8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17701" y="2249427"/>
            <a:ext cx="4122400" cy="2061200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86E5A131-8083-2D4D-059C-1E778D485D17}"/>
              </a:ext>
            </a:extLst>
          </p:cNvPr>
          <p:cNvSpPr txBox="1">
            <a:spLocks/>
          </p:cNvSpPr>
          <p:nvPr/>
        </p:nvSpPr>
        <p:spPr>
          <a:xfrm>
            <a:off x="0" y="5071193"/>
            <a:ext cx="12191999" cy="6743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800" dirty="0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Da </a:t>
            </a:r>
            <a:r>
              <a:rPr lang="en-US" sz="2800" dirty="0" err="1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kreves</a:t>
            </a:r>
            <a:r>
              <a:rPr lang="en-US" sz="2800" dirty="0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 det handling……………</a:t>
            </a:r>
            <a:r>
              <a:rPr lang="en-US" sz="2800" dirty="0" err="1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tilflytting</a:t>
            </a:r>
            <a:r>
              <a:rPr lang="en-US" sz="2800" dirty="0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 </a:t>
            </a:r>
            <a:r>
              <a:rPr lang="en-US" sz="2800" dirty="0" err="1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løser</a:t>
            </a:r>
            <a:r>
              <a:rPr lang="en-US" sz="2800" dirty="0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 </a:t>
            </a:r>
            <a:r>
              <a:rPr lang="en-US" sz="2800" dirty="0" err="1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ikke</a:t>
            </a:r>
            <a:r>
              <a:rPr lang="en-US" sz="2800" dirty="0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 alt!!</a:t>
            </a:r>
            <a:endParaRPr lang="en-US" sz="2800" dirty="0">
              <a:solidFill>
                <a:srgbClr val="00305B"/>
              </a:solidFill>
              <a:latin typeface="+mn-lt"/>
              <a:ea typeface="Helvetica Neue Light" charset="0"/>
              <a:cs typeface="Helvetica Neue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7688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7D40AD5F-CE38-4E2D-819B-31B648A122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83563" y="2025281"/>
            <a:ext cx="2824873" cy="1403719"/>
          </a:xfrm>
          <a:prstGeom prst="rect">
            <a:avLst/>
          </a:prstGeom>
        </p:spPr>
      </p:pic>
      <p:cxnSp>
        <p:nvCxnSpPr>
          <p:cNvPr id="5" name="Straight Connector 16">
            <a:extLst>
              <a:ext uri="{FF2B5EF4-FFF2-40B4-BE49-F238E27FC236}">
                <a16:creationId xmlns:a16="http://schemas.microsoft.com/office/drawing/2014/main" id="{B974A97C-DA6B-426E-92B1-AC5AF0892067}"/>
              </a:ext>
            </a:extLst>
          </p:cNvPr>
          <p:cNvCxnSpPr>
            <a:cxnSpLocks/>
          </p:cNvCxnSpPr>
          <p:nvPr/>
        </p:nvCxnSpPr>
        <p:spPr>
          <a:xfrm>
            <a:off x="0" y="667902"/>
            <a:ext cx="12191999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16">
            <a:extLst>
              <a:ext uri="{FF2B5EF4-FFF2-40B4-BE49-F238E27FC236}">
                <a16:creationId xmlns:a16="http://schemas.microsoft.com/office/drawing/2014/main" id="{B3EB18F0-5329-40B5-97F3-7A344799E524}"/>
              </a:ext>
            </a:extLst>
          </p:cNvPr>
          <p:cNvCxnSpPr>
            <a:cxnSpLocks/>
          </p:cNvCxnSpPr>
          <p:nvPr/>
        </p:nvCxnSpPr>
        <p:spPr>
          <a:xfrm>
            <a:off x="0" y="6176963"/>
            <a:ext cx="12191999" cy="0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kstSylinder 6">
            <a:extLst>
              <a:ext uri="{FF2B5EF4-FFF2-40B4-BE49-F238E27FC236}">
                <a16:creationId xmlns:a16="http://schemas.microsoft.com/office/drawing/2014/main" id="{685C7C9F-C0C1-439A-8485-DED8E6492E5C}"/>
              </a:ext>
            </a:extLst>
          </p:cNvPr>
          <p:cNvSpPr txBox="1"/>
          <p:nvPr/>
        </p:nvSpPr>
        <p:spPr>
          <a:xfrm>
            <a:off x="5111281" y="4226630"/>
            <a:ext cx="196943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Kanalveien 7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5068 BERGE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 Ligh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Tlf. 55 99 19 0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 Ligh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www.kyte.no</a:t>
            </a:r>
          </a:p>
        </p:txBody>
      </p:sp>
    </p:spTree>
    <p:extLst>
      <p:ext uri="{BB962C8B-B14F-4D97-AF65-F5344CB8AC3E}">
        <p14:creationId xmlns:p14="http://schemas.microsoft.com/office/powerpoint/2010/main" val="198187644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e 12">
            <a:extLst>
              <a:ext uri="{FF2B5EF4-FFF2-40B4-BE49-F238E27FC236}">
                <a16:creationId xmlns:a16="http://schemas.microsoft.com/office/drawing/2014/main" id="{EDDE60E4-F58C-2069-9CA6-32C4A144EB7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043" t="-110" r="1610" b="2710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844174D8-A73D-51DD-E49A-4776A30C2D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15113" y="1000481"/>
            <a:ext cx="6913595" cy="1324708"/>
          </a:xfrm>
        </p:spPr>
        <p:txBody>
          <a:bodyPr anchor="t">
            <a:normAutofit/>
          </a:bodyPr>
          <a:lstStyle/>
          <a:p>
            <a:pPr algn="l">
              <a:lnSpc>
                <a:spcPct val="100000"/>
              </a:lnSpc>
            </a:pPr>
            <a:r>
              <a:rPr lang="nb-NO" sz="3500" dirty="0">
                <a:solidFill>
                  <a:schemeClr val="bg1"/>
                </a:solidFill>
                <a:latin typeface="Setimo Light" panose="020B0503020204030204" pitchFamily="34" charset="77"/>
                <a:cs typeface="Setimo Light" panose="020B0503020204030204" pitchFamily="34" charset="77"/>
              </a:rPr>
              <a:t>VI SPESIALISERER OSS PÅ </a:t>
            </a:r>
            <a:br>
              <a:rPr lang="nb-NO" sz="3500" dirty="0">
                <a:solidFill>
                  <a:schemeClr val="bg1"/>
                </a:solidFill>
                <a:latin typeface="Setimo Light" panose="020B0503020204030204" pitchFamily="34" charset="77"/>
                <a:cs typeface="Setimo Light" panose="020B0503020204030204" pitchFamily="34" charset="77"/>
              </a:rPr>
            </a:br>
            <a:r>
              <a:rPr lang="nb-NO" sz="3500" dirty="0">
                <a:solidFill>
                  <a:schemeClr val="bg1"/>
                </a:solidFill>
                <a:latin typeface="Setimo Light" panose="020B0503020204030204" pitchFamily="34" charset="77"/>
                <a:cs typeface="Setimo Light" panose="020B0503020204030204" pitchFamily="34" charset="77"/>
              </a:rPr>
              <a:t>UTLEIE AV NÆRINGSLOKALER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645E9398-E101-7DF6-6D71-07CD640F9F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800" y="4977034"/>
            <a:ext cx="4192451" cy="1870623"/>
          </a:xfrm>
          <a:prstGeom prst="rect">
            <a:avLst/>
          </a:prstGeom>
        </p:spPr>
      </p:pic>
      <p:pic>
        <p:nvPicPr>
          <p:cNvPr id="9" name="Bilde 8">
            <a:extLst>
              <a:ext uri="{FF2B5EF4-FFF2-40B4-BE49-F238E27FC236}">
                <a16:creationId xmlns:a16="http://schemas.microsoft.com/office/drawing/2014/main" id="{BACBC0E6-4BD7-82A2-D29C-DD43F8436F1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88683" y="2325189"/>
            <a:ext cx="1013553" cy="440675"/>
          </a:xfrm>
          <a:prstGeom prst="rect">
            <a:avLst/>
          </a:prstGeom>
        </p:spPr>
      </p:pic>
      <p:pic>
        <p:nvPicPr>
          <p:cNvPr id="10" name="Bilde 9">
            <a:extLst>
              <a:ext uri="{FF2B5EF4-FFF2-40B4-BE49-F238E27FC236}">
                <a16:creationId xmlns:a16="http://schemas.microsoft.com/office/drawing/2014/main" id="{B8E6B718-D5E0-6982-D21F-D1100A559B3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28489" y="824923"/>
            <a:ext cx="1148398" cy="1007325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BFD81791-B3FB-ABD5-1A80-3B454B48D5A5}"/>
              </a:ext>
            </a:extLst>
          </p:cNvPr>
          <p:cNvSpPr txBox="1">
            <a:spLocks/>
          </p:cNvSpPr>
          <p:nvPr/>
        </p:nvSpPr>
        <p:spPr>
          <a:xfrm>
            <a:off x="745211" y="345803"/>
            <a:ext cx="9144000" cy="61395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srgbClr val="B47A67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Setimo" panose="020B0603020204030204" pitchFamily="34" charset="77"/>
                <a:ea typeface="+mj-ea"/>
                <a:cs typeface="Setimo" panose="020B0603020204030204" pitchFamily="34" charset="77"/>
              </a:rPr>
              <a:t>KVADRAT NÆRINGSUTLEIE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E573110D-9472-370B-FF61-AED065F2E6F7}"/>
              </a:ext>
            </a:extLst>
          </p:cNvPr>
          <p:cNvSpPr txBox="1"/>
          <p:nvPr/>
        </p:nvSpPr>
        <p:spPr>
          <a:xfrm>
            <a:off x="9173326" y="5712290"/>
            <a:ext cx="25868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ww.kvadratutleie.no</a:t>
            </a:r>
          </a:p>
        </p:txBody>
      </p:sp>
    </p:spTree>
    <p:extLst>
      <p:ext uri="{BB962C8B-B14F-4D97-AF65-F5344CB8AC3E}">
        <p14:creationId xmlns:p14="http://schemas.microsoft.com/office/powerpoint/2010/main" val="27770245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4AD69E1-2676-470A-A5D8-867E843F1B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4AD69E1-2676-470A-A5D8-867E843F1B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8" name="Oval 77">
            <a:extLst>
              <a:ext uri="{FF2B5EF4-FFF2-40B4-BE49-F238E27FC236}">
                <a16:creationId xmlns:a16="http://schemas.microsoft.com/office/drawing/2014/main" id="{BF567245-64A5-4B45-AEF1-38E2A429B57D}"/>
              </a:ext>
            </a:extLst>
          </p:cNvPr>
          <p:cNvSpPr/>
          <p:nvPr/>
        </p:nvSpPr>
        <p:spPr bwMode="auto">
          <a:xfrm>
            <a:off x="4498453" y="1630801"/>
            <a:ext cx="771734" cy="727032"/>
          </a:xfrm>
          <a:prstGeom prst="ellipse">
            <a:avLst/>
          </a:prstGeom>
          <a:solidFill>
            <a:schemeClr val="bg1"/>
          </a:solidFill>
          <a:ln w="222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7AED3F25-1935-4B73-A084-E91FB77A9CB1}"/>
              </a:ext>
            </a:extLst>
          </p:cNvPr>
          <p:cNvSpPr/>
          <p:nvPr/>
        </p:nvSpPr>
        <p:spPr bwMode="auto">
          <a:xfrm>
            <a:off x="2593189" y="1642050"/>
            <a:ext cx="771734" cy="727032"/>
          </a:xfrm>
          <a:prstGeom prst="ellipse">
            <a:avLst/>
          </a:prstGeom>
          <a:solidFill>
            <a:schemeClr val="bg1"/>
          </a:solidFill>
          <a:ln w="222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0E260935-29E6-4759-A77C-ADC0C28EFBC8}"/>
              </a:ext>
            </a:extLst>
          </p:cNvPr>
          <p:cNvSpPr/>
          <p:nvPr/>
        </p:nvSpPr>
        <p:spPr bwMode="auto">
          <a:xfrm>
            <a:off x="568346" y="1584987"/>
            <a:ext cx="771734" cy="727032"/>
          </a:xfrm>
          <a:prstGeom prst="ellipse">
            <a:avLst/>
          </a:prstGeom>
          <a:solidFill>
            <a:schemeClr val="bg1"/>
          </a:solidFill>
          <a:ln w="222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cxnSp>
        <p:nvCxnSpPr>
          <p:cNvPr id="5" name="Straight Connector 16">
            <a:extLst>
              <a:ext uri="{FF2B5EF4-FFF2-40B4-BE49-F238E27FC236}">
                <a16:creationId xmlns:a16="http://schemas.microsoft.com/office/drawing/2014/main" id="{0034B79B-C2E9-482C-A43D-DB5EEFC52E7E}"/>
              </a:ext>
            </a:extLst>
          </p:cNvPr>
          <p:cNvCxnSpPr>
            <a:cxnSpLocks/>
          </p:cNvCxnSpPr>
          <p:nvPr/>
        </p:nvCxnSpPr>
        <p:spPr>
          <a:xfrm>
            <a:off x="1" y="1039290"/>
            <a:ext cx="12191999" cy="0"/>
          </a:xfrm>
          <a:prstGeom prst="line">
            <a:avLst/>
          </a:prstGeom>
          <a:noFill/>
          <a:ln w="6350" cap="flat" cmpd="sng" algn="ctr">
            <a:solidFill>
              <a:srgbClr val="002060"/>
            </a:solidFill>
            <a:prstDash val="solid"/>
            <a:miter lim="800000"/>
          </a:ln>
          <a:effectLst/>
        </p:spPr>
      </p:cxnSp>
      <p:cxnSp>
        <p:nvCxnSpPr>
          <p:cNvPr id="6" name="Straight Connector 16">
            <a:extLst>
              <a:ext uri="{FF2B5EF4-FFF2-40B4-BE49-F238E27FC236}">
                <a16:creationId xmlns:a16="http://schemas.microsoft.com/office/drawing/2014/main" id="{37ED2C45-8D75-4D86-8CF8-650E0FA32D4E}"/>
              </a:ext>
            </a:extLst>
          </p:cNvPr>
          <p:cNvCxnSpPr>
            <a:cxnSpLocks/>
          </p:cNvCxnSpPr>
          <p:nvPr/>
        </p:nvCxnSpPr>
        <p:spPr>
          <a:xfrm>
            <a:off x="0" y="6176963"/>
            <a:ext cx="12191999" cy="0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miter lim="800000"/>
          </a:ln>
          <a:effectLst/>
        </p:spPr>
      </p:cxnSp>
      <p:sp>
        <p:nvSpPr>
          <p:cNvPr id="22" name="Title 1">
            <a:extLst>
              <a:ext uri="{FF2B5EF4-FFF2-40B4-BE49-F238E27FC236}">
                <a16:creationId xmlns:a16="http://schemas.microsoft.com/office/drawing/2014/main" id="{E316BF56-2A87-42BD-8307-2EA6B45E5B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3158" y="310217"/>
            <a:ext cx="7886700" cy="674336"/>
          </a:xfrm>
        </p:spPr>
        <p:txBody>
          <a:bodyPr vert="horz">
            <a:normAutofit/>
          </a:bodyPr>
          <a:lstStyle/>
          <a:p>
            <a:r>
              <a:rPr lang="en-US" sz="2800" err="1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Befolkningsutvikling</a:t>
            </a:r>
            <a:r>
              <a:rPr lang="en-US" sz="2800">
                <a:solidFill>
                  <a:srgbClr val="00305B"/>
                </a:solidFill>
                <a:latin typeface="Helvetica Neue Light" panose="02000403000000020004"/>
                <a:ea typeface="Helvetica Neue Light" charset="0"/>
                <a:cs typeface="Helvetica Neue Light" charset="0"/>
              </a:rPr>
              <a:t> Bergen</a:t>
            </a:r>
            <a:endParaRPr lang="en-US" sz="2800">
              <a:solidFill>
                <a:srgbClr val="00305B"/>
              </a:solidFill>
              <a:latin typeface="+mn-lt"/>
              <a:ea typeface="Helvetica Neue Light" charset="0"/>
              <a:cs typeface="Helvetica Neue Light" charset="0"/>
            </a:endParaRPr>
          </a:p>
        </p:txBody>
      </p:sp>
      <p:pic>
        <p:nvPicPr>
          <p:cNvPr id="53" name="Picture 52">
            <a:extLst>
              <a:ext uri="{FF2B5EF4-FFF2-40B4-BE49-F238E27FC236}">
                <a16:creationId xmlns:a16="http://schemas.microsoft.com/office/drawing/2014/main" id="{31811B80-4110-487B-A02F-C4C55D1D064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>
                        <a14:foregroundMark x1="35172" y1="46617" x2="35172" y2="46617"/>
                        <a14:foregroundMark x1="49655" y1="79699" x2="49655" y2="79699"/>
                        <a14:foregroundMark x1="81379" y1="57895" x2="81379" y2="57895"/>
                        <a14:foregroundMark x1="51724" y1="61654" x2="51724" y2="61654"/>
                        <a14:foregroundMark x1="51724" y1="10526" x2="51724" y2="10526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35099" y="1689473"/>
            <a:ext cx="619039" cy="567808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C953CC46-1259-46A2-B42F-348599040F7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10000" b="90000" l="10000" r="90000">
                        <a14:foregroundMark x1="31081" y1="74820" x2="31081" y2="74820"/>
                        <a14:foregroundMark x1="20946" y1="56835" x2="20946" y2="56835"/>
                        <a14:foregroundMark x1="77027" y1="46043" x2="77027" y2="46043"/>
                        <a14:foregroundMark x1="51351" y1="25899" x2="51351" y2="25899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708992" y="1740676"/>
            <a:ext cx="540129" cy="507283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E5056F1F-0082-43F9-9245-50446838697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618033" y="1767682"/>
            <a:ext cx="532575" cy="471812"/>
          </a:xfrm>
          <a:prstGeom prst="rect">
            <a:avLst/>
          </a:prstGeom>
        </p:spPr>
      </p:pic>
      <p:sp>
        <p:nvSpPr>
          <p:cNvPr id="62" name="TextBox 61">
            <a:extLst>
              <a:ext uri="{FF2B5EF4-FFF2-40B4-BE49-F238E27FC236}">
                <a16:creationId xmlns:a16="http://schemas.microsoft.com/office/drawing/2014/main" id="{A53A95DF-8F07-47F4-8D7F-F31B84FFA00B}"/>
              </a:ext>
            </a:extLst>
          </p:cNvPr>
          <p:cNvSpPr txBox="1"/>
          <p:nvPr/>
        </p:nvSpPr>
        <p:spPr>
          <a:xfrm>
            <a:off x="170487" y="2369849"/>
            <a:ext cx="167985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~600 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personer</a:t>
            </a: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nettoflyttet 2020</a:t>
            </a: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 Neue Light" panose="02000403000000020004"/>
              <a:ea typeface="+mn-ea"/>
              <a:cs typeface="+mn-cs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D85C42A1-B34A-4605-AADD-227D5C2C692A}"/>
              </a:ext>
            </a:extLst>
          </p:cNvPr>
          <p:cNvSpPr txBox="1"/>
          <p:nvPr/>
        </p:nvSpPr>
        <p:spPr>
          <a:xfrm>
            <a:off x="2139126" y="2394068"/>
            <a:ext cx="1679859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~1000 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personer</a:t>
            </a: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 Neue Light" panose="020004030000000200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vekst i befolkning 2020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EC5F1702-0421-4D60-830E-0954E4C90901}"/>
              </a:ext>
            </a:extLst>
          </p:cNvPr>
          <p:cNvSpPr txBox="1"/>
          <p:nvPr/>
        </p:nvSpPr>
        <p:spPr>
          <a:xfrm>
            <a:off x="3889184" y="2394068"/>
            <a:ext cx="1984248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~287 000 </a:t>
            </a: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innbyggere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 Q1 22</a:t>
            </a:r>
          </a:p>
        </p:txBody>
      </p:sp>
      <p:graphicFrame>
        <p:nvGraphicFramePr>
          <p:cNvPr id="75" name="Content Placeholder 74">
            <a:extLst>
              <a:ext uri="{FF2B5EF4-FFF2-40B4-BE49-F238E27FC236}">
                <a16:creationId xmlns:a16="http://schemas.microsoft.com/office/drawing/2014/main" id="{62AB483E-6B56-4F03-B12A-A327C49338ED}"/>
              </a:ext>
            </a:extLst>
          </p:cNvPr>
          <p:cNvGraphicFramePr>
            <a:graphicFrameLocks noGrp="1"/>
          </p:cNvGraphicFramePr>
          <p:nvPr>
            <p:ph sz="half" idx="1"/>
          </p:nvPr>
        </p:nvGraphicFramePr>
        <p:xfrm>
          <a:off x="363852" y="3726330"/>
          <a:ext cx="5253358" cy="25439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cxnSp>
        <p:nvCxnSpPr>
          <p:cNvPr id="83" name="Straight Connector 16">
            <a:extLst>
              <a:ext uri="{FF2B5EF4-FFF2-40B4-BE49-F238E27FC236}">
                <a16:creationId xmlns:a16="http://schemas.microsoft.com/office/drawing/2014/main" id="{44A9B87D-0115-48FF-BD92-7DC25242BB39}"/>
              </a:ext>
            </a:extLst>
          </p:cNvPr>
          <p:cNvCxnSpPr>
            <a:cxnSpLocks/>
          </p:cNvCxnSpPr>
          <p:nvPr/>
        </p:nvCxnSpPr>
        <p:spPr>
          <a:xfrm>
            <a:off x="316862" y="1414930"/>
            <a:ext cx="5400000" cy="0"/>
          </a:xfrm>
          <a:prstGeom prst="line">
            <a:avLst/>
          </a:prstGeom>
          <a:noFill/>
          <a:ln w="6350" cap="flat" cmpd="sng" algn="ctr">
            <a:solidFill>
              <a:srgbClr val="002060">
                <a:alpha val="50000"/>
              </a:srgbClr>
            </a:solidFill>
            <a:prstDash val="solid"/>
            <a:miter lim="800000"/>
          </a:ln>
          <a:effectLst/>
        </p:spPr>
      </p:cxnSp>
      <p:sp>
        <p:nvSpPr>
          <p:cNvPr id="88" name="TextBox 87">
            <a:extLst>
              <a:ext uri="{FF2B5EF4-FFF2-40B4-BE49-F238E27FC236}">
                <a16:creationId xmlns:a16="http://schemas.microsoft.com/office/drawing/2014/main" id="{20FC68A7-53D3-44B8-8229-CF8DD9BAC4ED}"/>
              </a:ext>
            </a:extLst>
          </p:cNvPr>
          <p:cNvSpPr txBox="1"/>
          <p:nvPr/>
        </p:nvSpPr>
        <p:spPr>
          <a:xfrm>
            <a:off x="281022" y="1117887"/>
            <a:ext cx="54358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NØKKELTALL BERGEN</a:t>
            </a:r>
          </a:p>
        </p:txBody>
      </p:sp>
      <p:pic>
        <p:nvPicPr>
          <p:cNvPr id="93" name="Bilde 6">
            <a:extLst>
              <a:ext uri="{FF2B5EF4-FFF2-40B4-BE49-F238E27FC236}">
                <a16:creationId xmlns:a16="http://schemas.microsoft.com/office/drawing/2014/main" id="{8FFA2BFA-8AF9-42B6-BDAF-841814A0BBD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1043820" y="6267608"/>
            <a:ext cx="1045193" cy="519371"/>
          </a:xfrm>
          <a:prstGeom prst="rect">
            <a:avLst/>
          </a:prstGeom>
        </p:spPr>
      </p:pic>
      <p:cxnSp>
        <p:nvCxnSpPr>
          <p:cNvPr id="98" name="Straight Connector 16">
            <a:extLst>
              <a:ext uri="{FF2B5EF4-FFF2-40B4-BE49-F238E27FC236}">
                <a16:creationId xmlns:a16="http://schemas.microsoft.com/office/drawing/2014/main" id="{FC0CA525-2377-4A9B-8346-35614AE97B08}"/>
              </a:ext>
            </a:extLst>
          </p:cNvPr>
          <p:cNvCxnSpPr>
            <a:cxnSpLocks/>
          </p:cNvCxnSpPr>
          <p:nvPr/>
        </p:nvCxnSpPr>
        <p:spPr>
          <a:xfrm>
            <a:off x="352702" y="3548311"/>
            <a:ext cx="5400000" cy="0"/>
          </a:xfrm>
          <a:prstGeom prst="line">
            <a:avLst/>
          </a:prstGeom>
          <a:noFill/>
          <a:ln w="6350" cap="flat" cmpd="sng" algn="ctr">
            <a:solidFill>
              <a:srgbClr val="002060">
                <a:alpha val="50000"/>
              </a:srgbClr>
            </a:solidFill>
            <a:prstDash val="solid"/>
            <a:miter lim="800000"/>
          </a:ln>
          <a:effectLst/>
        </p:spPr>
      </p:cxnSp>
      <p:sp>
        <p:nvSpPr>
          <p:cNvPr id="99" name="TextBox 98">
            <a:extLst>
              <a:ext uri="{FF2B5EF4-FFF2-40B4-BE49-F238E27FC236}">
                <a16:creationId xmlns:a16="http://schemas.microsoft.com/office/drawing/2014/main" id="{2B38937E-64FD-4879-A481-C7167ADE26C6}"/>
              </a:ext>
            </a:extLst>
          </p:cNvPr>
          <p:cNvSpPr txBox="1"/>
          <p:nvPr/>
        </p:nvSpPr>
        <p:spPr>
          <a:xfrm>
            <a:off x="281022" y="3161594"/>
            <a:ext cx="54358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NEDGANG I ANTALL FØDTE- </a:t>
            </a:r>
            <a:r>
              <a:rPr kumimoji="0" lang="nb-NO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Fødselrate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 1.5</a:t>
            </a:r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 Neue Light" panose="02000403000000020004"/>
              <a:ea typeface="+mn-ea"/>
              <a:cs typeface="+mn-cs"/>
            </a:endParaRPr>
          </a:p>
        </p:txBody>
      </p:sp>
      <p:pic>
        <p:nvPicPr>
          <p:cNvPr id="1028" name="Picture 4" descr="88 Feet Sticking Out Of Bed Stock Photos, Pictures &amp;amp; Royalty-Free Images -  iStock">
            <a:extLst>
              <a:ext uri="{FF2B5EF4-FFF2-40B4-BE49-F238E27FC236}">
                <a16:creationId xmlns:a16="http://schemas.microsoft.com/office/drawing/2014/main" id="{5E64D30D-C407-49D7-88D1-09B5614081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0584" y="3530926"/>
            <a:ext cx="5829300" cy="2287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1" name="Text Placeholder 3">
            <a:extLst>
              <a:ext uri="{FF2B5EF4-FFF2-40B4-BE49-F238E27FC236}">
                <a16:creationId xmlns:a16="http://schemas.microsoft.com/office/drawing/2014/main" id="{A941FDD9-0DCB-43D9-8020-08D1CAC8EFA1}"/>
              </a:ext>
            </a:extLst>
          </p:cNvPr>
          <p:cNvSpPr txBox="1">
            <a:spLocks/>
          </p:cNvSpPr>
          <p:nvPr/>
        </p:nvSpPr>
        <p:spPr>
          <a:xfrm>
            <a:off x="200472" y="6580758"/>
            <a:ext cx="7776864" cy="2326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b-NO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ilde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SSB</a:t>
            </a:r>
          </a:p>
        </p:txBody>
      </p:sp>
      <p:cxnSp>
        <p:nvCxnSpPr>
          <p:cNvPr id="25" name="Straight Connector 16">
            <a:extLst>
              <a:ext uri="{FF2B5EF4-FFF2-40B4-BE49-F238E27FC236}">
                <a16:creationId xmlns:a16="http://schemas.microsoft.com/office/drawing/2014/main" id="{183EA26F-0784-4C4C-AD5D-E021CBE6A485}"/>
              </a:ext>
            </a:extLst>
          </p:cNvPr>
          <p:cNvCxnSpPr>
            <a:cxnSpLocks/>
          </p:cNvCxnSpPr>
          <p:nvPr/>
        </p:nvCxnSpPr>
        <p:spPr>
          <a:xfrm>
            <a:off x="6131840" y="1418483"/>
            <a:ext cx="5400000" cy="0"/>
          </a:xfrm>
          <a:prstGeom prst="line">
            <a:avLst/>
          </a:prstGeom>
          <a:noFill/>
          <a:ln w="6350" cap="flat" cmpd="sng" algn="ctr">
            <a:solidFill>
              <a:srgbClr val="002060">
                <a:alpha val="50000"/>
              </a:srgbClr>
            </a:solidFill>
            <a:prstDash val="solid"/>
            <a:miter lim="800000"/>
          </a:ln>
          <a:effectLst/>
        </p:spPr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8F9B0E5F-4AD4-492B-AD44-514F41B69678}"/>
              </a:ext>
            </a:extLst>
          </p:cNvPr>
          <p:cNvSpPr txBox="1"/>
          <p:nvPr/>
        </p:nvSpPr>
        <p:spPr>
          <a:xfrm>
            <a:off x="6095999" y="1117887"/>
            <a:ext cx="54358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PROGNOSE BEFOLKNINGSUTVIKLING BERGEN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E6EB9324-839B-4BAC-B6E9-FBA7F822751F}"/>
              </a:ext>
            </a:extLst>
          </p:cNvPr>
          <p:cNvGraphicFramePr/>
          <p:nvPr/>
        </p:nvGraphicFramePr>
        <p:xfrm>
          <a:off x="6157315" y="1445730"/>
          <a:ext cx="5435839" cy="21025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27" name="Speech Bubble: Rectangle with Corners Rounded 26">
            <a:extLst>
              <a:ext uri="{FF2B5EF4-FFF2-40B4-BE49-F238E27FC236}">
                <a16:creationId xmlns:a16="http://schemas.microsoft.com/office/drawing/2014/main" id="{827ECAC4-50AF-4AF7-AB92-6D7F8ED9FC0C}"/>
              </a:ext>
            </a:extLst>
          </p:cNvPr>
          <p:cNvSpPr/>
          <p:nvPr/>
        </p:nvSpPr>
        <p:spPr bwMode="auto">
          <a:xfrm>
            <a:off x="4618033" y="3906565"/>
            <a:ext cx="1134669" cy="455111"/>
          </a:xfrm>
          <a:prstGeom prst="wedgeRoundRectCallout">
            <a:avLst>
              <a:gd name="adj1" fmla="val 3046"/>
              <a:gd name="adj2" fmla="val 89754"/>
              <a:gd name="adj3" fmla="val 16667"/>
            </a:avLst>
          </a:prstGeom>
          <a:solidFill>
            <a:srgbClr val="FFFFFF"/>
          </a:solidFill>
          <a:ln w="12700" cap="flat" cmpd="sng" algn="ctr">
            <a:solidFill>
              <a:schemeClr val="accent5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Vi så en mini baby-boom i 2021, men fødselsraten er generelt lav men oppadgående</a:t>
            </a:r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DF5F7E0C-B02D-0DCC-34FB-9AE9BEF1F665}"/>
              </a:ext>
            </a:extLst>
          </p:cNvPr>
          <p:cNvSpPr txBox="1"/>
          <p:nvPr/>
        </p:nvSpPr>
        <p:spPr>
          <a:xfrm>
            <a:off x="6034686" y="5818710"/>
            <a:ext cx="58293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Blir ikke endring i befolkningsutviklingskurven her….</a:t>
            </a:r>
          </a:p>
        </p:txBody>
      </p:sp>
    </p:spTree>
    <p:extLst>
      <p:ext uri="{BB962C8B-B14F-4D97-AF65-F5344CB8AC3E}">
        <p14:creationId xmlns:p14="http://schemas.microsoft.com/office/powerpoint/2010/main" val="31706468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5006" y="352743"/>
            <a:ext cx="7061639" cy="674336"/>
          </a:xfrm>
        </p:spPr>
        <p:txBody>
          <a:bodyPr>
            <a:normAutofit/>
          </a:bodyPr>
          <a:lstStyle/>
          <a:p>
            <a:r>
              <a:rPr lang="en-US" sz="2800" err="1">
                <a:solidFill>
                  <a:srgbClr val="00305B"/>
                </a:solidFill>
                <a:latin typeface="Helvetica Neue Light"/>
                <a:ea typeface="Helvetica Neue Light" charset="0"/>
                <a:cs typeface="Helvetica Neue Light" charset="0"/>
              </a:rPr>
              <a:t>Arealtilførsel</a:t>
            </a:r>
            <a:endParaRPr lang="en-US" sz="2800">
              <a:solidFill>
                <a:srgbClr val="00305B"/>
              </a:solidFill>
              <a:latin typeface="Helvetica Neue Light"/>
              <a:ea typeface="Helvetica Neue Light" charset="0"/>
              <a:cs typeface="Helvetica Neue Light" charset="0"/>
            </a:endParaRPr>
          </a:p>
        </p:txBody>
      </p:sp>
      <p:cxnSp>
        <p:nvCxnSpPr>
          <p:cNvPr id="5" name="Straight Connector 16">
            <a:extLst>
              <a:ext uri="{FF2B5EF4-FFF2-40B4-BE49-F238E27FC236}">
                <a16:creationId xmlns:a16="http://schemas.microsoft.com/office/drawing/2014/main" id="{5A322F84-6702-49CA-A993-321C29603B4B}"/>
              </a:ext>
            </a:extLst>
          </p:cNvPr>
          <p:cNvCxnSpPr>
            <a:cxnSpLocks/>
          </p:cNvCxnSpPr>
          <p:nvPr/>
        </p:nvCxnSpPr>
        <p:spPr>
          <a:xfrm>
            <a:off x="1" y="1077390"/>
            <a:ext cx="12191999" cy="0"/>
          </a:xfrm>
          <a:prstGeom prst="line">
            <a:avLst/>
          </a:prstGeom>
          <a:noFill/>
          <a:ln w="6350" cap="flat" cmpd="sng" algn="ctr">
            <a:solidFill>
              <a:srgbClr val="002060"/>
            </a:solidFill>
            <a:prstDash val="solid"/>
            <a:miter lim="800000"/>
          </a:ln>
          <a:effectLst/>
        </p:spPr>
      </p:cxnSp>
      <p:cxnSp>
        <p:nvCxnSpPr>
          <p:cNvPr id="6" name="Straight Connector 16">
            <a:extLst>
              <a:ext uri="{FF2B5EF4-FFF2-40B4-BE49-F238E27FC236}">
                <a16:creationId xmlns:a16="http://schemas.microsoft.com/office/drawing/2014/main" id="{0933FF27-CF42-4457-8C6F-21D8875F612D}"/>
              </a:ext>
            </a:extLst>
          </p:cNvPr>
          <p:cNvCxnSpPr>
            <a:cxnSpLocks/>
          </p:cNvCxnSpPr>
          <p:nvPr/>
        </p:nvCxnSpPr>
        <p:spPr>
          <a:xfrm>
            <a:off x="0" y="6176963"/>
            <a:ext cx="12191999" cy="0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miter lim="800000"/>
          </a:ln>
          <a:effectLst/>
        </p:spPr>
      </p:cxnSp>
      <p:pic>
        <p:nvPicPr>
          <p:cNvPr id="7" name="Bilde 6">
            <a:extLst>
              <a:ext uri="{FF2B5EF4-FFF2-40B4-BE49-F238E27FC236}">
                <a16:creationId xmlns:a16="http://schemas.microsoft.com/office/drawing/2014/main" id="{AC1EE452-AD3A-4184-A06B-A7A58F3F82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43820" y="6267608"/>
            <a:ext cx="1045193" cy="519371"/>
          </a:xfrm>
          <a:prstGeom prst="rect">
            <a:avLst/>
          </a:prstGeom>
        </p:spPr>
      </p:pic>
      <p:sp>
        <p:nvSpPr>
          <p:cNvPr id="10" name="TekstSylinder 9">
            <a:extLst>
              <a:ext uri="{FF2B5EF4-FFF2-40B4-BE49-F238E27FC236}">
                <a16:creationId xmlns:a16="http://schemas.microsoft.com/office/drawing/2014/main" id="{95352A1E-1227-4A8F-B8F5-6C6D95B5F596}"/>
              </a:ext>
            </a:extLst>
          </p:cNvPr>
          <p:cNvSpPr txBox="1"/>
          <p:nvPr/>
        </p:nvSpPr>
        <p:spPr>
          <a:xfrm>
            <a:off x="1803662" y="5460956"/>
            <a:ext cx="8584676" cy="104430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>
                <a:ln>
                  <a:noFill/>
                </a:ln>
                <a:solidFill>
                  <a:srgbClr val="00305B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2022</a:t>
            </a: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84D720D1-69E0-4BEF-B4DB-6B64A0C02C3F}"/>
              </a:ext>
            </a:extLst>
          </p:cNvPr>
          <p:cNvSpPr txBox="1"/>
          <p:nvPr/>
        </p:nvSpPr>
        <p:spPr>
          <a:xfrm>
            <a:off x="1422493" y="4438905"/>
            <a:ext cx="194545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00305B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Olav Kyrres gate 2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00305B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9.500 m²</a:t>
            </a:r>
          </a:p>
        </p:txBody>
      </p:sp>
      <p:sp>
        <p:nvSpPr>
          <p:cNvPr id="15" name="TekstSylinder 14">
            <a:extLst>
              <a:ext uri="{FF2B5EF4-FFF2-40B4-BE49-F238E27FC236}">
                <a16:creationId xmlns:a16="http://schemas.microsoft.com/office/drawing/2014/main" id="{B0CA9EBC-3B46-4011-866E-5AD089A5DFD3}"/>
              </a:ext>
            </a:extLst>
          </p:cNvPr>
          <p:cNvSpPr txBox="1"/>
          <p:nvPr/>
        </p:nvSpPr>
        <p:spPr>
          <a:xfrm>
            <a:off x="5051926" y="4449470"/>
            <a:ext cx="2145714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00305B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Lungegårdskaien 4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00305B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6.000 m²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kstSylinder 15">
            <a:extLst>
              <a:ext uri="{FF2B5EF4-FFF2-40B4-BE49-F238E27FC236}">
                <a16:creationId xmlns:a16="http://schemas.microsoft.com/office/drawing/2014/main" id="{2D1D493A-897B-479D-9355-4A91EF9E3C10}"/>
              </a:ext>
            </a:extLst>
          </p:cNvPr>
          <p:cNvSpPr txBox="1"/>
          <p:nvPr/>
        </p:nvSpPr>
        <p:spPr>
          <a:xfrm>
            <a:off x="8881616" y="4440638"/>
            <a:ext cx="1858297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00305B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Bue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00305B"/>
                </a:solidFill>
                <a:effectLst/>
                <a:uLnTx/>
                <a:uFillTx/>
                <a:latin typeface="Helvetica Neue Light" panose="02000403000000020004"/>
                <a:ea typeface="+mn-ea"/>
                <a:cs typeface="+mn-cs"/>
              </a:rPr>
              <a:t>14.500 m²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4C767A11-35C7-4813-87A6-C6C3A016C1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760" r="14760"/>
          <a:stretch/>
        </p:blipFill>
        <p:spPr bwMode="auto">
          <a:xfrm>
            <a:off x="875006" y="1378194"/>
            <a:ext cx="2971800" cy="2971800"/>
          </a:xfrm>
          <a:custGeom>
            <a:avLst/>
            <a:gdLst/>
            <a:ahLst/>
            <a:cxnLst/>
            <a:rect l="l" t="t" r="r" b="b"/>
            <a:pathLst>
              <a:path w="2971800" h="2971800">
                <a:moveTo>
                  <a:pt x="1485900" y="0"/>
                </a:moveTo>
                <a:cubicBezTo>
                  <a:pt x="2306540" y="0"/>
                  <a:pt x="2971800" y="665260"/>
                  <a:pt x="2971800" y="1485900"/>
                </a:cubicBezTo>
                <a:cubicBezTo>
                  <a:pt x="2971800" y="2306540"/>
                  <a:pt x="2306540" y="2971800"/>
                  <a:pt x="1485900" y="2971800"/>
                </a:cubicBezTo>
                <a:cubicBezTo>
                  <a:pt x="665260" y="2971800"/>
                  <a:pt x="0" y="2306540"/>
                  <a:pt x="0" y="1485900"/>
                </a:cubicBezTo>
                <a:cubicBezTo>
                  <a:pt x="0" y="665260"/>
                  <a:pt x="665260" y="0"/>
                  <a:pt x="1485900" y="0"/>
                </a:cubicBezTo>
                <a:close/>
              </a:path>
            </a:pathLst>
          </a:cu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Bilde 17">
            <a:extLst>
              <a:ext uri="{FF2B5EF4-FFF2-40B4-BE49-F238E27FC236}">
                <a16:creationId xmlns:a16="http://schemas.microsoft.com/office/drawing/2014/main" id="{951AD105-1970-4EC3-9C24-6282532EE26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98" r="18598"/>
          <a:stretch/>
        </p:blipFill>
        <p:spPr>
          <a:xfrm>
            <a:off x="4589771" y="1378194"/>
            <a:ext cx="2971800" cy="2971800"/>
          </a:xfrm>
          <a:custGeom>
            <a:avLst/>
            <a:gdLst/>
            <a:ahLst/>
            <a:cxnLst/>
            <a:rect l="l" t="t" r="r" b="b"/>
            <a:pathLst>
              <a:path w="2971800" h="2971800">
                <a:moveTo>
                  <a:pt x="1485900" y="0"/>
                </a:moveTo>
                <a:cubicBezTo>
                  <a:pt x="2306540" y="0"/>
                  <a:pt x="2971800" y="665260"/>
                  <a:pt x="2971800" y="1485900"/>
                </a:cubicBezTo>
                <a:cubicBezTo>
                  <a:pt x="2971800" y="2306540"/>
                  <a:pt x="2306540" y="2971800"/>
                  <a:pt x="1485900" y="2971800"/>
                </a:cubicBezTo>
                <a:cubicBezTo>
                  <a:pt x="665260" y="2971800"/>
                  <a:pt x="0" y="2306540"/>
                  <a:pt x="0" y="1485900"/>
                </a:cubicBezTo>
                <a:cubicBezTo>
                  <a:pt x="0" y="665260"/>
                  <a:pt x="665260" y="0"/>
                  <a:pt x="1485900" y="0"/>
                </a:cubicBezTo>
                <a:close/>
              </a:path>
            </a:pathLst>
          </a:custGeom>
        </p:spPr>
      </p:pic>
      <p:pic>
        <p:nvPicPr>
          <p:cNvPr id="19" name="Bilde 18">
            <a:extLst>
              <a:ext uri="{FF2B5EF4-FFF2-40B4-BE49-F238E27FC236}">
                <a16:creationId xmlns:a16="http://schemas.microsoft.com/office/drawing/2014/main" id="{47D0F4E8-F293-434F-89FF-E30334B2DDCD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23" r="16723"/>
          <a:stretch/>
        </p:blipFill>
        <p:spPr>
          <a:xfrm>
            <a:off x="8304535" y="1378194"/>
            <a:ext cx="2971800" cy="2971800"/>
          </a:xfrm>
          <a:custGeom>
            <a:avLst/>
            <a:gdLst/>
            <a:ahLst/>
            <a:cxnLst/>
            <a:rect l="l" t="t" r="r" b="b"/>
            <a:pathLst>
              <a:path w="2971800" h="2971800">
                <a:moveTo>
                  <a:pt x="1485900" y="0"/>
                </a:moveTo>
                <a:cubicBezTo>
                  <a:pt x="2306540" y="0"/>
                  <a:pt x="2971800" y="665260"/>
                  <a:pt x="2971800" y="1485900"/>
                </a:cubicBezTo>
                <a:cubicBezTo>
                  <a:pt x="2971800" y="2306540"/>
                  <a:pt x="2306540" y="2971800"/>
                  <a:pt x="1485900" y="2971800"/>
                </a:cubicBezTo>
                <a:cubicBezTo>
                  <a:pt x="665260" y="2971800"/>
                  <a:pt x="0" y="2306540"/>
                  <a:pt x="0" y="1485900"/>
                </a:cubicBezTo>
                <a:cubicBezTo>
                  <a:pt x="0" y="665260"/>
                  <a:pt x="665260" y="0"/>
                  <a:pt x="1485900" y="0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6249042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0h4EvSmm0vZuu7Y1zrW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rqGVvOlGmOBgbkchs.Q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9imlABMuxMixeS9ShBR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9imlABMuxMixeS9ShBR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9imlABMuxMixeS9ShBR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gKVatleNBobMKRPCVJ8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0h4EvSmm0vZuu7Y1zrW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rqGVvOlGmOBgbkchs.Q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9imlABMuxMixeS9ShB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9imlABMuxMixeS9ShBR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9imlABMuxMixeS9ShBR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gKVatleNBobMKRPCVJ8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0h4EvSmm0vZuu7Y1zrW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rqGVvOlGmOBgbkchs.Q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9imlABMuxMixeS9ShBR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9imlABMuxMixeS9ShBR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9imlABMuxMixeS9ShBR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9imlABMuxMixeS9ShB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gKVatleNBobMKRPCVJ8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0h4EvSmm0vZuu7Y1zrW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rqGVvOlGmOBgbkchs.Q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9imlABMuxMixeS9ShBR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9imlABMuxMixeS9ShBR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9imlABMuxMixeS9ShBR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B7z1HEKrp2lQFCUuAYK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PPSHAPETYPE" val="HighlightBox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PPSHAPETYPE" val="HighlightBox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PPSHAPETYPE" val="HighlightBox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PPSHAPETYPE" val="HighlightBox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1mNu1H0FaKYMrrB8SfI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gKVatleNBobMKRPCVJ8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B7z1HEKrp2lQFCUuAYK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22.xml.rels><?xml version="1.0" encoding="UTF-8" standalone="yes"?>
<Relationships xmlns="http://schemas.openxmlformats.org/package/2006/relationships"><Relationship Id="rId1" Type="http://schemas.openxmlformats.org/officeDocument/2006/relationships/image" Target="../media/image55.jpeg"/></Relationships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4_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5_Office-tema">
  <a:themeElements>
    <a:clrScheme name="Askøy kommune">
      <a:dk1>
        <a:sysClr val="windowText" lastClr="000000"/>
      </a:dk1>
      <a:lt1>
        <a:sysClr val="window" lastClr="FFFFFF"/>
      </a:lt1>
      <a:dk2>
        <a:srgbClr val="1B2320"/>
      </a:dk2>
      <a:lt2>
        <a:srgbClr val="E6F2F2"/>
      </a:lt2>
      <a:accent1>
        <a:srgbClr val="008E84"/>
      </a:accent1>
      <a:accent2>
        <a:srgbClr val="70BBB7"/>
      </a:accent2>
      <a:accent3>
        <a:srgbClr val="016592"/>
      </a:accent3>
      <a:accent4>
        <a:srgbClr val="EB4765"/>
      </a:accent4>
      <a:accent5>
        <a:srgbClr val="657363"/>
      </a:accent5>
      <a:accent6>
        <a:srgbClr val="4AA9BB"/>
      </a:accent6>
      <a:hlink>
        <a:srgbClr val="0563C1"/>
      </a:hlink>
      <a:folHlink>
        <a:srgbClr val="954F72"/>
      </a:folHlink>
    </a:clrScheme>
    <a:fontScheme name="Askøy kommune">
      <a:majorFont>
        <a:latin typeface="Verdana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mal_AskøyKommune.potx" id="{09097A71-CB44-4B71-A57D-292BC5A72D35}" vid="{51024F8E-4E1E-4AD7-8D2D-8AE288F78ECE}"/>
    </a:ext>
  </a:extLst>
</a:theme>
</file>

<file path=ppt/theme/theme12.xml><?xml version="1.0" encoding="utf-8"?>
<a:theme xmlns:a="http://schemas.openxmlformats.org/drawingml/2006/main" name="1_EY light background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13.xml><?xml version="1.0" encoding="utf-8"?>
<a:theme xmlns:a="http://schemas.openxmlformats.org/drawingml/2006/main" name="3_EY light background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14.xml><?xml version="1.0" encoding="utf-8"?>
<a:theme xmlns:a="http://schemas.openxmlformats.org/drawingml/2006/main" name="5_EY light background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15.xml><?xml version="1.0" encoding="utf-8"?>
<a:theme xmlns:a="http://schemas.openxmlformats.org/drawingml/2006/main" name="PPT">
  <a:themeElements>
    <a:clrScheme name="Alven">
      <a:dk1>
        <a:sysClr val="windowText" lastClr="000000"/>
      </a:dk1>
      <a:lt1>
        <a:sysClr val="window" lastClr="FFFFFF"/>
      </a:lt1>
      <a:dk2>
        <a:srgbClr val="222D82"/>
      </a:dk2>
      <a:lt2>
        <a:srgbClr val="E7E6E6"/>
      </a:lt2>
      <a:accent1>
        <a:srgbClr val="222D82"/>
      </a:accent1>
      <a:accent2>
        <a:srgbClr val="3E246C"/>
      </a:accent2>
      <a:accent3>
        <a:srgbClr val="64123D"/>
      </a:accent3>
      <a:accent4>
        <a:srgbClr val="64123D"/>
      </a:accent4>
      <a:accent5>
        <a:srgbClr val="F34F02"/>
      </a:accent5>
      <a:accent6>
        <a:srgbClr val="C3B001"/>
      </a:accent6>
      <a:hlink>
        <a:srgbClr val="0563C1"/>
      </a:hlink>
      <a:folHlink>
        <a:srgbClr val="954F72"/>
      </a:folHlink>
    </a:clrScheme>
    <a:fontScheme name="Alver kommune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.potx" id="{C58A4507-DC0B-449D-9A63-61173954A955}" vid="{850282D3-1C6F-408D-B5AF-15DB4D4D8D7A}"/>
    </a:ext>
  </a:extLst>
</a:theme>
</file>

<file path=ppt/theme/theme16.xml><?xml version="1.0" encoding="utf-8"?>
<a:theme xmlns:a="http://schemas.openxmlformats.org/drawingml/2006/main" name="6_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Hvilebilde med logo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sjon1" id="{598993E8-F25D-4205-8D4F-513E7FCBB3D1}" vid="{D4EC12FF-4ADA-41E2-ACCA-F45F45015D24}"/>
    </a:ext>
  </a:extLst>
</a:theme>
</file>

<file path=ppt/theme/theme18.xml><?xml version="1.0" encoding="utf-8"?>
<a:theme xmlns:a="http://schemas.openxmlformats.org/drawingml/2006/main" name="Presentasjonsmal_Øygarden_kommune_4_3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sjon1" id="{598993E8-F25D-4205-8D4F-513E7FCBB3D1}" vid="{244D202E-CB1D-4A65-A667-483584A02FE8}"/>
    </a:ext>
  </a:extLst>
</a:theme>
</file>

<file path=ppt/theme/theme19.xml><?xml version="1.0" encoding="utf-8"?>
<a:theme xmlns:a="http://schemas.openxmlformats.org/drawingml/2006/main" name="7_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-tema">
  <a:themeElements>
    <a:clrScheme name="Office-tem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-tema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0.xml><?xml version="1.0" encoding="utf-8"?>
<a:theme xmlns:a="http://schemas.openxmlformats.org/drawingml/2006/main" name="2_EY light background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21.xml><?xml version="1.0" encoding="utf-8"?>
<a:theme xmlns:a="http://schemas.openxmlformats.org/drawingml/2006/main" name="8_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2.xml><?xml version="1.0" encoding="utf-8"?>
<a:theme xmlns:a="http://schemas.openxmlformats.org/drawingml/2006/main" name="Ion">
  <a:themeElements>
    <a:clrScheme name="Ion">
      <a:dk1>
        <a:sysClr val="windowText" lastClr="000000"/>
      </a:dk1>
      <a:lt1>
        <a:sysClr val="window" lastClr="FFFFFF"/>
      </a:lt1>
      <a:dk2>
        <a:srgbClr val="1E5155"/>
      </a:dk2>
      <a:lt2>
        <a:srgbClr val="EBEBEB"/>
      </a:lt2>
      <a:accent1>
        <a:srgbClr val="B01513"/>
      </a:accent1>
      <a:accent2>
        <a:srgbClr val="EA6312"/>
      </a:accent2>
      <a:accent3>
        <a:srgbClr val="E6B729"/>
      </a:accent3>
      <a:accent4>
        <a:srgbClr val="6AAC90"/>
      </a:accent4>
      <a:accent5>
        <a:srgbClr val="54849A"/>
      </a:accent5>
      <a:accent6>
        <a:srgbClr val="9E5E9B"/>
      </a:accent6>
      <a:hlink>
        <a:srgbClr val="58C1BA"/>
      </a:hlink>
      <a:folHlink>
        <a:srgbClr val="9DFFCB"/>
      </a:folHlink>
    </a:clrScheme>
    <a:fontScheme name="Ion">
      <a:maj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Ion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7000"/>
                <a:hueMod val="88000"/>
                <a:satMod val="130000"/>
                <a:lumMod val="124000"/>
              </a:schemeClr>
            </a:gs>
            <a:gs pos="100000">
              <a:schemeClr val="phClr">
                <a:tint val="96000"/>
                <a:shade val="88000"/>
                <a:hueMod val="108000"/>
                <a:satMod val="164000"/>
                <a:lumMod val="7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9000"/>
                <a:hueMod val="108000"/>
                <a:satMod val="164000"/>
                <a:lumMod val="74000"/>
              </a:schemeClr>
              <a:schemeClr val="phClr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on" id="{B8441ADB-2E43-4AF7-B97A-BD870242C6A8}" vid="{292E63A9-BB86-4E3D-B92A-7223C6510D2E}"/>
    </a:ext>
  </a:extLst>
</a:theme>
</file>

<file path=ppt/theme/theme23.xml><?xml version="1.0" encoding="utf-8"?>
<a:theme xmlns:a="http://schemas.openxmlformats.org/drawingml/2006/main" name="1_Bergen-T3">
  <a:themeElements>
    <a:clrScheme name="AVINOR">
      <a:dk1>
        <a:srgbClr val="1D1D1D"/>
      </a:dk1>
      <a:lt1>
        <a:sysClr val="window" lastClr="FFFFFF"/>
      </a:lt1>
      <a:dk2>
        <a:srgbClr val="84236B"/>
      </a:dk2>
      <a:lt2>
        <a:srgbClr val="6BDBD0"/>
      </a:lt2>
      <a:accent1>
        <a:srgbClr val="471C59"/>
      </a:accent1>
      <a:accent2>
        <a:srgbClr val="FBB034"/>
      </a:accent2>
      <a:accent3>
        <a:srgbClr val="3F3F3F"/>
      </a:accent3>
      <a:accent4>
        <a:srgbClr val="7F7F7F"/>
      </a:accent4>
      <a:accent5>
        <a:srgbClr val="A5A5A5"/>
      </a:accent5>
      <a:accent6>
        <a:srgbClr val="D8D8D8"/>
      </a:accent6>
      <a:hlink>
        <a:srgbClr val="000000"/>
      </a:hlink>
      <a:folHlink>
        <a:srgbClr val="000000"/>
      </a:folHlink>
    </a:clrScheme>
    <a:fontScheme name="AVINO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odul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47500"/>
                <a:satMod val="137000"/>
              </a:schemeClr>
            </a:gs>
            <a:gs pos="55000">
              <a:schemeClr val="phClr">
                <a:shade val="69000"/>
                <a:satMod val="137000"/>
              </a:schemeClr>
            </a:gs>
            <a:gs pos="100000">
              <a:schemeClr val="phClr">
                <a:shade val="98000"/>
                <a:satMod val="137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48000" cap="flat" cmpd="thickThin" algn="ctr">
          <a:solidFill>
            <a:schemeClr val="phClr"/>
          </a:solidFill>
          <a:prstDash val="solid"/>
        </a:ln>
        <a:ln w="48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5000" dist="25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39000" dist="254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39000" dist="25400" dir="5400000" rotWithShape="0">
              <a:srgbClr val="000000">
                <a:alpha val="38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1800000"/>
            </a:lightRig>
          </a:scene3d>
          <a:sp3d prstMaterial="matte">
            <a:bevelT h="200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4.xml><?xml version="1.0" encoding="utf-8"?>
<a:theme xmlns:a="http://schemas.openxmlformats.org/drawingml/2006/main" name="9_Office-tema">
  <a:themeElements>
    <a:clrScheme name="KYTE FARGEPALETT">
      <a:dk1>
        <a:srgbClr val="000000"/>
      </a:dk1>
      <a:lt1>
        <a:srgbClr val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556B77"/>
      </a:accent6>
      <a:hlink>
        <a:srgbClr val="43627C"/>
      </a:hlink>
      <a:folHlink>
        <a:srgbClr val="2A3B46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lassisk template 2" id="{F66094FA-4586-BE48-AF53-C0AFC4BB6EF9}" vid="{AB715DFE-9E38-B34E-AF33-763551C53748}"/>
    </a:ext>
  </a:extLst>
</a:theme>
</file>

<file path=ppt/theme/theme25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Blank">
  <a:themeElements>
    <a:clrScheme name="Ramboll">
      <a:dk1>
        <a:srgbClr val="333333"/>
      </a:dk1>
      <a:lt1>
        <a:srgbClr val="FFFFFF"/>
      </a:lt1>
      <a:dk2>
        <a:srgbClr val="009DF0"/>
      </a:dk2>
      <a:lt2>
        <a:srgbClr val="797766"/>
      </a:lt2>
      <a:accent1>
        <a:srgbClr val="ADDDFF"/>
      </a:accent1>
      <a:accent2>
        <a:srgbClr val="3AA551"/>
      </a:accent2>
      <a:accent3>
        <a:srgbClr val="A8D100"/>
      </a:accent3>
      <a:accent4>
        <a:srgbClr val="C40079"/>
      </a:accent4>
      <a:accent5>
        <a:srgbClr val="C63418"/>
      </a:accent5>
      <a:accent6>
        <a:srgbClr val="D0CFC9"/>
      </a:accent6>
      <a:hlink>
        <a:srgbClr val="009DF0"/>
      </a:hlink>
      <a:folHlink>
        <a:srgbClr val="ADDDFF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  <a:effectLst/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R="0" algn="l" defTabSz="457200" rtl="0" eaLnBrk="0" fontAlgn="base" latinLnBrk="0" hangingPunct="0">
          <a:spcBef>
            <a:spcPct val="0"/>
          </a:spcBef>
          <a:buClrTx/>
          <a:buSzTx/>
          <a:tabLst/>
          <a:defRPr kumimoji="0" sz="1800" b="0" i="0" u="none" strike="noStrike" kern="1200" cap="none" spc="0" normalizeH="0" baseline="0" noProof="0" dirty="0" err="1" smtClean="0">
            <a:ln>
              <a:noFill/>
            </a:ln>
            <a:solidFill>
              <a:schemeClr val="tx1"/>
            </a:solidFill>
            <a:effectLst/>
            <a:uLnTx/>
            <a:uFillTx/>
            <a:latin typeface="Verdana"/>
            <a:ea typeface="Verdana" pitchFamily="34" charset="0"/>
            <a:cs typeface="Verdana" pitchFamily="34" charset="0"/>
          </a:defRPr>
        </a:defPPr>
      </a:lstStyle>
    </a:txDef>
  </a:objectDefaults>
  <a:extraClrSchemeLst/>
  <a:custClrLst>
    <a:custClr name="Black">
      <a:srgbClr val="333333"/>
    </a:custClr>
    <a:custClr name="Dark Grey">
      <a:srgbClr val="797766"/>
    </a:custClr>
    <a:custClr name="Cyan">
      <a:srgbClr val="009DF0"/>
    </a:custClr>
    <a:custClr name="Light Blue">
      <a:srgbClr val="ADDDFF"/>
    </a:custClr>
    <a:custClr name="Green">
      <a:srgbClr val="3AA551"/>
    </a:custClr>
    <a:custClr name="Lime Green">
      <a:srgbClr val="A8D100"/>
    </a:custClr>
    <a:custClr name="Magenta">
      <a:srgbClr val="C40079"/>
    </a:custClr>
    <a:custClr name="Warm Red">
      <a:srgbClr val="C63418"/>
    </a:custClr>
    <a:custClr name="Light Grey">
      <a:srgbClr val="D0CFC9"/>
    </a:custClr>
    <a:custClr name="Dark Blue">
      <a:srgbClr val="006FAD"/>
    </a:custClr>
    <a:custClr name="White">
      <a:srgbClr val="FFFFFF"/>
    </a:custClr>
    <a:custClr name="65% Dark Grey">
      <a:srgbClr val="A8A69B"/>
    </a:custClr>
    <a:custClr name="65% Cyan">
      <a:srgbClr val="59BFF5"/>
    </a:custClr>
    <a:custClr name="65% Light Blue">
      <a:srgbClr val="CAE9FF"/>
    </a:custClr>
    <a:custClr name="65% Green">
      <a:srgbClr val="7FC48E"/>
    </a:custClr>
    <a:custClr name="65% Lime Green">
      <a:srgbClr val="C6E159"/>
    </a:custClr>
    <a:custClr name="65% Magenta">
      <a:srgbClr val="D959A8"/>
    </a:custClr>
    <a:custClr name="65% Warm Red">
      <a:srgbClr val="DA7B69"/>
    </a:custClr>
    <a:custClr name="65% Light Grey">
      <a:srgbClr val="E0E0DC"/>
    </a:custClr>
    <a:custClr name="65% Dark Blue">
      <a:srgbClr val="59A1CA"/>
    </a:custClr>
    <a:custClr name="White">
      <a:srgbClr val="FFFFFF"/>
    </a:custClr>
    <a:custClr name="30% Dark Grey">
      <a:srgbClr val="D7D6D1"/>
    </a:custClr>
    <a:custClr name="30% Cyan">
      <a:srgbClr val="B2E1FA"/>
    </a:custClr>
    <a:custClr name="30% Light Blue">
      <a:srgbClr val="E6F5FF"/>
    </a:custClr>
    <a:custClr name="30% Green">
      <a:srgbClr val="C4E4CA"/>
    </a:custClr>
    <a:custClr name="30% Lime Green">
      <a:srgbClr val="E5F1B2"/>
    </a:custClr>
    <a:custClr name="30% Magenta">
      <a:srgbClr val="EDB2D7"/>
    </a:custClr>
    <a:custClr name="30% Warm Red">
      <a:srgbClr val="EEC2B9"/>
    </a:custClr>
    <a:custClr name="30% Light Grey">
      <a:srgbClr val="F6F6F4"/>
    </a:custClr>
    <a:custClr name="30% Dark Blue">
      <a:srgbClr val="B2D4E6"/>
    </a:custClr>
  </a:custClrLst>
  <a:extLst>
    <a:ext uri="{05A4C25C-085E-4340-85A3-A5531E510DB2}">
      <thm15:themeFamily xmlns:thm15="http://schemas.microsoft.com/office/thememl/2012/main" name="Blank.potx" id="{CC34BEB4-56BE-4C35-B3C1-ED2770E08490}" vid="{5E58AF69-3E00-4BE6-9424-5697BE04CE91}"/>
    </a:ext>
  </a:extLst>
</a:theme>
</file>

<file path=ppt/theme/theme4.xml><?xml version="1.0" encoding="utf-8"?>
<a:theme xmlns:a="http://schemas.openxmlformats.org/drawingml/2006/main" name="Office Theme">
  <a:themeElements>
    <a:clrScheme name="KYTE FARGEPALETT">
      <a:dk1>
        <a:srgbClr val="000000"/>
      </a:dk1>
      <a:lt1>
        <a:srgbClr val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556B77"/>
      </a:accent6>
      <a:hlink>
        <a:srgbClr val="43627C"/>
      </a:hlink>
      <a:folHlink>
        <a:srgbClr val="2A3B46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1" id="{F2C0CD49-563C-2B44-92F7-2DB27AD9B0B8}" vid="{22E48207-6199-6F4D-B5AA-9875CEDF5889}"/>
    </a:ext>
  </a:extLst>
</a:theme>
</file>

<file path=ppt/theme/theme5.xml><?xml version="1.0" encoding="utf-8"?>
<a:theme xmlns:a="http://schemas.openxmlformats.org/drawingml/2006/main" name="DNB_PRESENTASJONSMAL">
  <a:themeElements>
    <a:clrScheme name="DNB CB">
      <a:dk1>
        <a:srgbClr val="000000"/>
      </a:dk1>
      <a:lt1>
        <a:srgbClr val="FFFFFF"/>
      </a:lt1>
      <a:dk2>
        <a:srgbClr val="145559"/>
      </a:dk2>
      <a:lt2>
        <a:srgbClr val="A5E1D2"/>
      </a:lt2>
      <a:accent1>
        <a:srgbClr val="A5E1D2"/>
      </a:accent1>
      <a:accent2>
        <a:srgbClr val="007171"/>
      </a:accent2>
      <a:accent3>
        <a:srgbClr val="007171"/>
      </a:accent3>
      <a:accent4>
        <a:srgbClr val="145559"/>
      </a:accent4>
      <a:accent5>
        <a:srgbClr val="00343E"/>
      </a:accent5>
      <a:accent6>
        <a:srgbClr val="00AF80"/>
      </a:accent6>
      <a:hlink>
        <a:srgbClr val="FFFFFF"/>
      </a:hlink>
      <a:folHlink>
        <a:srgbClr val="FFFFFF"/>
      </a:folHlink>
    </a:clrScheme>
    <a:fontScheme name="DNB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White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254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0" i="0" u="none" strike="noStrike" cap="none" normalizeH="0" baseline="0" dirty="0" err="1">
            <a:ln>
              <a:noFill/>
            </a:ln>
            <a:solidFill>
              <a:schemeClr val="accent2"/>
            </a:solidFill>
            <a:effectLst/>
            <a:latin typeface="Segoe UI"/>
            <a:ea typeface="ヒラギノ角ゴ ProN W3" charset="0"/>
            <a:cs typeface="Segoe UI"/>
            <a:sym typeface="segoe UI" charset="0"/>
          </a:defRPr>
        </a:defPPr>
      </a:lst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</a:spPr>
      <a:bodyPr wrap="square" lIns="0" tIns="0" rIns="0" bIns="0" rtlCol="0">
        <a:spAutoFit/>
      </a:bodyPr>
      <a:lstStyle>
        <a:defPPr marL="216000" indent="-180000" algn="l" defTabSz="914400" eaLnBrk="0" hangingPunct="0">
          <a:spcBef>
            <a:spcPts val="600"/>
          </a:spcBef>
          <a:spcAft>
            <a:spcPts val="0"/>
          </a:spcAft>
          <a:buClr>
            <a:srgbClr val="007272"/>
          </a:buClr>
          <a:buSzPct val="100000"/>
          <a:buFont typeface="Wingdings" charset="2"/>
          <a:buChar char="§"/>
          <a:defRPr sz="1400" kern="0" dirty="0" err="1">
            <a:solidFill>
              <a:srgbClr val="333333"/>
            </a:solidFill>
            <a:latin typeface="Segoe UI"/>
            <a:cs typeface="Segoe UI" charset="0"/>
            <a:sym typeface="segoe UI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heme2" id="{66535939-EE46-CE4B-9673-7E53660F77D8}" vid="{1630BAEB-7B10-504D-865C-A6D5AC3061CF}"/>
    </a:ext>
  </a:extLst>
</a:theme>
</file>

<file path=ppt/theme/theme6.xml><?xml version="1.0" encoding="utf-8"?>
<a:theme xmlns:a="http://schemas.openxmlformats.org/drawingml/2006/main" name="1_DNB_PRESENTASJONSMAL">
  <a:themeElements>
    <a:clrScheme name="DNB CB">
      <a:dk1>
        <a:srgbClr val="000000"/>
      </a:dk1>
      <a:lt1>
        <a:srgbClr val="FFFFFF"/>
      </a:lt1>
      <a:dk2>
        <a:srgbClr val="145559"/>
      </a:dk2>
      <a:lt2>
        <a:srgbClr val="A5E1D2"/>
      </a:lt2>
      <a:accent1>
        <a:srgbClr val="A5E1D2"/>
      </a:accent1>
      <a:accent2>
        <a:srgbClr val="007171"/>
      </a:accent2>
      <a:accent3>
        <a:srgbClr val="007171"/>
      </a:accent3>
      <a:accent4>
        <a:srgbClr val="145559"/>
      </a:accent4>
      <a:accent5>
        <a:srgbClr val="00343E"/>
      </a:accent5>
      <a:accent6>
        <a:srgbClr val="00AF80"/>
      </a:accent6>
      <a:hlink>
        <a:srgbClr val="FFFFFF"/>
      </a:hlink>
      <a:folHlink>
        <a:srgbClr val="FFFFFF"/>
      </a:folHlink>
    </a:clrScheme>
    <a:fontScheme name="DNB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White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254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0" i="0" u="none" strike="noStrike" cap="none" normalizeH="0" baseline="0" dirty="0" err="1">
            <a:ln>
              <a:noFill/>
            </a:ln>
            <a:solidFill>
              <a:schemeClr val="accent2"/>
            </a:solidFill>
            <a:effectLst/>
            <a:latin typeface="Segoe UI"/>
            <a:ea typeface="ヒラギノ角ゴ ProN W3" charset="0"/>
            <a:cs typeface="Segoe UI"/>
            <a:sym typeface="segoe UI" charset="0"/>
          </a:defRPr>
        </a:defPPr>
      </a:lst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</a:spPr>
      <a:bodyPr wrap="square" lIns="0" tIns="0" rIns="0" bIns="0" rtlCol="0">
        <a:spAutoFit/>
      </a:bodyPr>
      <a:lstStyle>
        <a:defPPr marL="216000" indent="-180000" algn="l" defTabSz="914400" eaLnBrk="0" hangingPunct="0">
          <a:spcBef>
            <a:spcPts val="600"/>
          </a:spcBef>
          <a:spcAft>
            <a:spcPts val="0"/>
          </a:spcAft>
          <a:buClr>
            <a:srgbClr val="007272"/>
          </a:buClr>
          <a:buSzPct val="100000"/>
          <a:buFont typeface="Wingdings" charset="2"/>
          <a:buChar char="§"/>
          <a:defRPr sz="1400" kern="0" dirty="0" err="1">
            <a:solidFill>
              <a:srgbClr val="333333"/>
            </a:solidFill>
            <a:latin typeface="Segoe UI"/>
            <a:cs typeface="Segoe UI" charset="0"/>
            <a:sym typeface="segoe UI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heme2" id="{66535939-EE46-CE4B-9673-7E53660F77D8}" vid="{1630BAEB-7B10-504D-865C-A6D5AC3061CF}"/>
    </a:ext>
  </a:extLst>
</a:theme>
</file>

<file path=ppt/theme/theme7.xml><?xml version="1.0" encoding="utf-8"?>
<a:theme xmlns:a="http://schemas.openxmlformats.org/drawingml/2006/main" name="1_Office Theme">
  <a:themeElements>
    <a:clrScheme name="KYTE FARGEPALETT">
      <a:dk1>
        <a:srgbClr val="000000"/>
      </a:dk1>
      <a:lt1>
        <a:srgbClr val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556B77"/>
      </a:accent6>
      <a:hlink>
        <a:srgbClr val="43627C"/>
      </a:hlink>
      <a:folHlink>
        <a:srgbClr val="2A3B46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1" id="{F2C0CD49-563C-2B44-92F7-2DB27AD9B0B8}" vid="{22E48207-6199-6F4D-B5AA-9875CEDF5889}"/>
    </a:ext>
  </a:extLst>
</a:theme>
</file>

<file path=ppt/theme/theme8.xml><?xml version="1.0" encoding="utf-8"?>
<a:theme xmlns:a="http://schemas.openxmlformats.org/drawingml/2006/main" name="2_Office-tema">
  <a:themeElements>
    <a:clrScheme name="Office-tem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-tema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3_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EY Color">
    <a:dk1>
      <a:srgbClr val="2E2E38"/>
    </a:dk1>
    <a:lt1>
      <a:sysClr val="window" lastClr="FFFFFF"/>
    </a:lt1>
    <a:dk2>
      <a:srgbClr val="FFE600"/>
    </a:dk2>
    <a:lt2>
      <a:srgbClr val="000000"/>
    </a:lt2>
    <a:accent1>
      <a:srgbClr val="2DB757"/>
    </a:accent1>
    <a:accent2>
      <a:srgbClr val="27ACAA"/>
    </a:accent2>
    <a:accent3>
      <a:srgbClr val="188CE5"/>
    </a:accent3>
    <a:accent4>
      <a:srgbClr val="3D108A"/>
    </a:accent4>
    <a:accent5>
      <a:srgbClr val="FF4136"/>
    </a:accent5>
    <a:accent6>
      <a:srgbClr val="FF6D00"/>
    </a:accent6>
    <a:hlink>
      <a:srgbClr val="0000FF"/>
    </a:hlink>
    <a:folHlink>
      <a:srgbClr val="800080"/>
    </a:folHlink>
  </a:clrScheme>
  <a:fontScheme name="Custom 1">
    <a:majorFont>
      <a:latin typeface="EYInterstate Light"/>
      <a:ea typeface=""/>
      <a:cs typeface=""/>
    </a:majorFont>
    <a:minorFont>
      <a:latin typeface="EYInterstate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BD6F9DB31B358459B6CAAF9AA01F660" ma:contentTypeVersion="13" ma:contentTypeDescription="Create a new document." ma:contentTypeScope="" ma:versionID="6dffbafabc195022eccff9d29cb224ea">
  <xsd:schema xmlns:xsd="http://www.w3.org/2001/XMLSchema" xmlns:xs="http://www.w3.org/2001/XMLSchema" xmlns:p="http://schemas.microsoft.com/office/2006/metadata/properties" xmlns:ns2="43e0f7bd-82d5-4f77-860d-3b069cb62479" xmlns:ns3="5f44fd50-94f7-48d8-8dac-82f0c2f5b702" targetNamespace="http://schemas.microsoft.com/office/2006/metadata/properties" ma:root="true" ma:fieldsID="cd213ee6057ab1d9964ac258bf546838" ns2:_="" ns3:_="">
    <xsd:import namespace="43e0f7bd-82d5-4f77-860d-3b069cb62479"/>
    <xsd:import namespace="5f44fd50-94f7-48d8-8dac-82f0c2f5b702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OCR" minOccurs="0"/>
                <xsd:element ref="ns3:MediaServiceEventHashCode" minOccurs="0"/>
                <xsd:element ref="ns3:MediaServiceGenerationTime" minOccurs="0"/>
                <xsd:element ref="ns3:MediaLengthInSeconds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e0f7bd-82d5-4f77-860d-3b069cb6247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f44fd50-94f7-48d8-8dac-82f0c2f5b70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4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C0F0346-C1A1-4B68-9C2E-D84692870944}">
  <ds:schemaRefs>
    <ds:schemaRef ds:uri="43e0f7bd-82d5-4f77-860d-3b069cb62479"/>
    <ds:schemaRef ds:uri="5f44fd50-94f7-48d8-8dac-82f0c2f5b70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8691939E-2069-4486-96C1-B6C1C5CC8CA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5B5263A-EE0E-46C2-90F5-F423E30E9608}">
  <ds:schemaRefs>
    <ds:schemaRef ds:uri="43e0f7bd-82d5-4f77-860d-3b069cb62479"/>
    <ds:schemaRef ds:uri="5f44fd50-94f7-48d8-8dac-82f0c2f5b70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56</TotalTime>
  <Words>2915</Words>
  <Application>Microsoft Office PowerPoint</Application>
  <PresentationFormat>Widescreen</PresentationFormat>
  <Paragraphs>492</Paragraphs>
  <Slides>74</Slides>
  <Notes>23</Notes>
  <HiddenSlides>0</HiddenSlides>
  <MMClips>0</MMClips>
  <ScaleCrop>false</ScaleCrop>
  <HeadingPairs>
    <vt:vector size="8" baseType="variant">
      <vt:variant>
        <vt:lpstr>Brukte skrifter</vt:lpstr>
      </vt:variant>
      <vt:variant>
        <vt:i4>20</vt:i4>
      </vt:variant>
      <vt:variant>
        <vt:lpstr>Tema</vt:lpstr>
      </vt:variant>
      <vt:variant>
        <vt:i4>24</vt:i4>
      </vt:variant>
      <vt:variant>
        <vt:lpstr>Innebygde OLE-servere</vt:lpstr>
      </vt:variant>
      <vt:variant>
        <vt:i4>2</vt:i4>
      </vt:variant>
      <vt:variant>
        <vt:lpstr>Lysbildetitler</vt:lpstr>
      </vt:variant>
      <vt:variant>
        <vt:i4>74</vt:i4>
      </vt:variant>
    </vt:vector>
  </HeadingPairs>
  <TitlesOfParts>
    <vt:vector size="120" baseType="lpstr">
      <vt:lpstr>Abadi Extra Light</vt:lpstr>
      <vt:lpstr>Arial</vt:lpstr>
      <vt:lpstr>Book Antiqua</vt:lpstr>
      <vt:lpstr>Calibri</vt:lpstr>
      <vt:lpstr>Calibri Light</vt:lpstr>
      <vt:lpstr>Century Gothic</vt:lpstr>
      <vt:lpstr>EYInterstate</vt:lpstr>
      <vt:lpstr>EYInterstate Light</vt:lpstr>
      <vt:lpstr>Georgia</vt:lpstr>
      <vt:lpstr>Helvetica Neue Light</vt:lpstr>
      <vt:lpstr>Helvetica Neue UltraLight</vt:lpstr>
      <vt:lpstr>Inter</vt:lpstr>
      <vt:lpstr>Mulish</vt:lpstr>
      <vt:lpstr>Segoe UI</vt:lpstr>
      <vt:lpstr>Segoe UI Semibold</vt:lpstr>
      <vt:lpstr>Setimo</vt:lpstr>
      <vt:lpstr>Setimo Light</vt:lpstr>
      <vt:lpstr>Verdana</vt:lpstr>
      <vt:lpstr>Wingdings</vt:lpstr>
      <vt:lpstr>Wingdings 3</vt:lpstr>
      <vt:lpstr>Office-tema</vt:lpstr>
      <vt:lpstr>1_Office-tema</vt:lpstr>
      <vt:lpstr>Blank</vt:lpstr>
      <vt:lpstr>Office Theme</vt:lpstr>
      <vt:lpstr>DNB_PRESENTASJONSMAL</vt:lpstr>
      <vt:lpstr>1_DNB_PRESENTASJONSMAL</vt:lpstr>
      <vt:lpstr>1_Office Theme</vt:lpstr>
      <vt:lpstr>2_Office-tema</vt:lpstr>
      <vt:lpstr>3_Office-tema</vt:lpstr>
      <vt:lpstr>4_Office-tema</vt:lpstr>
      <vt:lpstr>5_Office-tema</vt:lpstr>
      <vt:lpstr>1_EY light background</vt:lpstr>
      <vt:lpstr>3_EY light background</vt:lpstr>
      <vt:lpstr>5_EY light background</vt:lpstr>
      <vt:lpstr>PPT</vt:lpstr>
      <vt:lpstr>6_Office-tema</vt:lpstr>
      <vt:lpstr>Hvilebilde med logo</vt:lpstr>
      <vt:lpstr>Presentasjonsmal_Øygarden_kommune_4_3</vt:lpstr>
      <vt:lpstr>7_Office-tema</vt:lpstr>
      <vt:lpstr>2_EY light background</vt:lpstr>
      <vt:lpstr>8_Office-tema</vt:lpstr>
      <vt:lpstr>Ion</vt:lpstr>
      <vt:lpstr>1_Bergen-T3</vt:lpstr>
      <vt:lpstr>9_Office-tema</vt:lpstr>
      <vt:lpstr>think-cell Slide</vt:lpstr>
      <vt:lpstr>Worksheet</vt:lpstr>
      <vt:lpstr>PowerPoint-presentasjon</vt:lpstr>
      <vt:lpstr>AGENDA</vt:lpstr>
      <vt:lpstr>PowerPoint-presentasjon</vt:lpstr>
      <vt:lpstr>PowerPoint-presentasjon</vt:lpstr>
      <vt:lpstr>Oljeprisen</vt:lpstr>
      <vt:lpstr>BNP – Fastlands-Norge</vt:lpstr>
      <vt:lpstr>Arbeidsledighet Vestland – laveste ledighet på 14 år</vt:lpstr>
      <vt:lpstr>Befolkningsutvikling Bergen</vt:lpstr>
      <vt:lpstr>Arealtilførsel</vt:lpstr>
      <vt:lpstr>Arealtilførsel</vt:lpstr>
      <vt:lpstr>Arealendring 2016 - 2023</vt:lpstr>
      <vt:lpstr>PowerPoint-presentasjon</vt:lpstr>
      <vt:lpstr>Kontorledighet Bergen</vt:lpstr>
      <vt:lpstr>Leiemarkedet - ”FINN – indeksen”</vt:lpstr>
      <vt:lpstr>Leiemarkedet - oppsummert</vt:lpstr>
      <vt:lpstr>PowerPoint-presentasjon</vt:lpstr>
      <vt:lpstr>PowerPoint-presentasjon</vt:lpstr>
      <vt:lpstr>Leiepriser pr. kvm kontor Bergen – Oktober 2001</vt:lpstr>
      <vt:lpstr>Yieldnivåer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Transaksjonsmarkedet - oppsummert</vt:lpstr>
      <vt:lpstr>PowerPoint-presentasjon</vt:lpstr>
      <vt:lpstr>PowerPoint-presentasjon</vt:lpstr>
      <vt:lpstr>PowerPoint-presentasjon</vt:lpstr>
      <vt:lpstr>PowerPoint-presentasjon</vt:lpstr>
      <vt:lpstr>Målt etter verdiskapning er olje og gass størst med bygg, anlegg, eiendom som nummer 2</vt:lpstr>
      <vt:lpstr>Det er planlagt nyetableringer i hele regionen. Målt i fremtidig verdiskapning og sysselsetting ser vi at hovedvolumet er konsentrert rundt Fensfjorden</vt:lpstr>
      <vt:lpstr>Norges mest attraktive industriregion?   </vt:lpstr>
      <vt:lpstr>Visjonen om ein attraktiv og grøn småby</vt:lpstr>
      <vt:lpstr>Visjonen for Knarvik</vt:lpstr>
      <vt:lpstr>Befolkningsutvikling Nordhordland</vt:lpstr>
      <vt:lpstr>For å realisere overgangen til Nordhordland 2.0 kreves det en felles mobilisering for å forsere følgende identifiserte barrierer</vt:lpstr>
      <vt:lpstr>PowerPoint-presentasjon</vt:lpstr>
      <vt:lpstr>Visjon</vt:lpstr>
      <vt:lpstr>Befolkningsutvikling og prognose </vt:lpstr>
      <vt:lpstr>Næringsutvikling</vt:lpstr>
      <vt:lpstr>Kleppestøplanen</vt:lpstr>
      <vt:lpstr>Kildn </vt:lpstr>
      <vt:lpstr>PowerPoint-presentasjon</vt:lpstr>
      <vt:lpstr>Hanøytangen - Nordscrap West og Semco Maritime</vt:lpstr>
      <vt:lpstr>PowerPoint-presentasjon</vt:lpstr>
      <vt:lpstr>  </vt:lpstr>
      <vt:lpstr>PowerPoint-presentasjon</vt:lpstr>
      <vt:lpstr>PowerPoint-presentasjon</vt:lpstr>
      <vt:lpstr>Målt etter verdiskapning er olje og gass den største næringen i Øygarde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Sotrasambandet ferdig  juni 2027</vt:lpstr>
      <vt:lpstr>PowerPoint-presentasjon</vt:lpstr>
      <vt:lpstr>Transformasjon Straume – pågår med trykk.</vt:lpstr>
      <vt:lpstr>Visjonen om Bildetangen – Ein bydel i Sotra Kystby</vt:lpstr>
      <vt:lpstr>Straume næringspark – nesten fullt.</vt:lpstr>
      <vt:lpstr>PowerPoint-presentasjon</vt:lpstr>
      <vt:lpstr>RÅDAL - SVEGATJØRN</vt:lpstr>
      <vt:lpstr>PowerPoint-presentasjon</vt:lpstr>
      <vt:lpstr>PowerPoint-presentasjon</vt:lpstr>
      <vt:lpstr>PowerPoint-presentasjon</vt:lpstr>
      <vt:lpstr>PowerPoint-presentasjon</vt:lpstr>
      <vt:lpstr>OM IKKE I LYSEPARKEN, SÅ I BJØRNAFJORDEN !</vt:lpstr>
      <vt:lpstr>PowerPoint-presentasjon</vt:lpstr>
      <vt:lpstr>PowerPoint-presentasjon</vt:lpstr>
      <vt:lpstr>PowerPoint-presentasjon</vt:lpstr>
      <vt:lpstr>VI SPESIALISERER OSS PÅ  UTLEIE AV NÆRINGSLOKALE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Trond Lehmann Syversen</dc:creator>
  <cp:lastModifiedBy>Geir Nordstad</cp:lastModifiedBy>
  <cp:revision>1</cp:revision>
  <dcterms:created xsi:type="dcterms:W3CDTF">2021-10-20T08:19:12Z</dcterms:created>
  <dcterms:modified xsi:type="dcterms:W3CDTF">2022-05-04T15:15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BD6F9DB31B358459B6CAAF9AA01F660</vt:lpwstr>
  </property>
</Properties>
</file>